
<file path=[Content_Types].xml><?xml version="1.0" encoding="utf-8"?>
<Types xmlns="http://schemas.openxmlformats.org/package/2006/content-types">
  <Default Extension="bin" ContentType="image/png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tags/tag214.xml" ContentType="application/vnd.openxmlformats-officedocument.presentationml.tags+xml"/>
  <Override PartName="/ppt/notesSlides/notesSlide8.xml" ContentType="application/vnd.openxmlformats-officedocument.presentationml.notesSlide+xml"/>
  <Override PartName="/ppt/tags/tag215.xml" ContentType="application/vnd.openxmlformats-officedocument.presentationml.tags+xml"/>
  <Override PartName="/ppt/notesSlides/notesSlide9.xml" ContentType="application/vnd.openxmlformats-officedocument.presentationml.notesSlide+xml"/>
  <Override PartName="/ppt/tags/tag216.xml" ContentType="application/vnd.openxmlformats-officedocument.presentationml.tags+xml"/>
  <Override PartName="/ppt/notesSlides/notesSlide10.xml" ContentType="application/vnd.openxmlformats-officedocument.presentationml.notesSlide+xml"/>
  <Override PartName="/ppt/tags/tag217.xml" ContentType="application/vnd.openxmlformats-officedocument.presentationml.tags+xml"/>
  <Override PartName="/ppt/notesSlides/notesSlide11.xml" ContentType="application/vnd.openxmlformats-officedocument.presentationml.notesSlide+xml"/>
  <Override PartName="/ppt/tags/tag218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19.xml" ContentType="application/vnd.openxmlformats-officedocument.presentationml.tags+xml"/>
  <Override PartName="/ppt/notesSlides/notesSlide17.xml" ContentType="application/vnd.openxmlformats-officedocument.presentationml.notesSlide+xml"/>
  <Override PartName="/ppt/tags/tag220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7" r:id="rId5"/>
    <p:sldMasterId id="2147483716" r:id="rId6"/>
  </p:sldMasterIdLst>
  <p:notesMasterIdLst>
    <p:notesMasterId r:id="rId25"/>
  </p:notesMasterIdLst>
  <p:sldIdLst>
    <p:sldId id="257" r:id="rId7"/>
    <p:sldId id="347" r:id="rId8"/>
    <p:sldId id="384" r:id="rId9"/>
    <p:sldId id="272" r:id="rId10"/>
    <p:sldId id="271" r:id="rId11"/>
    <p:sldId id="1781" r:id="rId12"/>
    <p:sldId id="256" r:id="rId13"/>
    <p:sldId id="1796" r:id="rId14"/>
    <p:sldId id="1780" r:id="rId15"/>
    <p:sldId id="264" r:id="rId16"/>
    <p:sldId id="262" r:id="rId17"/>
    <p:sldId id="283" r:id="rId18"/>
    <p:sldId id="1778" r:id="rId19"/>
    <p:sldId id="285" r:id="rId20"/>
    <p:sldId id="1779" r:id="rId21"/>
    <p:sldId id="1782" r:id="rId22"/>
    <p:sldId id="258" r:id="rId23"/>
    <p:sldId id="259" r:id="rId24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47" autoAdjust="0"/>
    <p:restoredTop sz="76263" autoAdjust="0"/>
  </p:normalViewPr>
  <p:slideViewPr>
    <p:cSldViewPr snapToGrid="0">
      <p:cViewPr varScale="1">
        <p:scale>
          <a:sx n="85" d="100"/>
          <a:sy n="85" d="100"/>
        </p:scale>
        <p:origin x="-690" y="-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image" Target="../media/image27.jpg"/><Relationship Id="rId4" Type="http://schemas.openxmlformats.org/officeDocument/2006/relationships/image" Target="../media/image30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image" Target="../media/image27.jpg"/><Relationship Id="rId4" Type="http://schemas.openxmlformats.org/officeDocument/2006/relationships/image" Target="../media/image30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45405CE-7157-40A6-BCF8-63FCF6487150}" type="doc">
      <dgm:prSet loTypeId="urn:microsoft.com/office/officeart/2005/8/layout/cycle2" loCatId="cycl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nb-NO"/>
        </a:p>
      </dgm:t>
    </dgm:pt>
    <dgm:pt modelId="{41579FAF-66CB-49F2-874B-FB28285070E0}">
      <dgm:prSet phldrT="[Tekst]"/>
      <dgm:spPr>
        <a:ln>
          <a:solidFill>
            <a:srgbClr val="006EB6"/>
          </a:solidFill>
        </a:ln>
      </dgm:spPr>
      <dgm:t>
        <a:bodyPr/>
        <a:lstStyle/>
        <a:p>
          <a:r>
            <a:rPr lang="en-GB" noProof="0" dirty="0"/>
            <a:t>Economy</a:t>
          </a:r>
          <a:r>
            <a:rPr lang="en-GB" dirty="0"/>
            <a:t> of scale</a:t>
          </a:r>
        </a:p>
      </dgm:t>
    </dgm:pt>
    <dgm:pt modelId="{491E42F2-69CC-48C3-80D4-4F07EF984666}" type="parTrans" cxnId="{C51490ED-365E-4F47-AF64-4C73120694C6}">
      <dgm:prSet/>
      <dgm:spPr/>
      <dgm:t>
        <a:bodyPr/>
        <a:lstStyle/>
        <a:p>
          <a:endParaRPr lang="en-US" dirty="0"/>
        </a:p>
      </dgm:t>
    </dgm:pt>
    <dgm:pt modelId="{587431B4-08E1-4BFA-9343-9F1B28EFD12C}" type="sibTrans" cxnId="{C51490ED-365E-4F47-AF64-4C73120694C6}">
      <dgm:prSet/>
      <dgm:spPr>
        <a:solidFill>
          <a:srgbClr val="006EB6"/>
        </a:solidFill>
        <a:ln>
          <a:solidFill>
            <a:srgbClr val="006EB6"/>
          </a:solidFill>
        </a:ln>
      </dgm:spPr>
      <dgm:t>
        <a:bodyPr/>
        <a:lstStyle/>
        <a:p>
          <a:endParaRPr lang="en-US" dirty="0"/>
        </a:p>
      </dgm:t>
    </dgm:pt>
    <dgm:pt modelId="{70E0FBF9-5E74-49CD-A84C-14994E8D1E76}">
      <dgm:prSet phldrT="[Tekst]"/>
      <dgm:spPr>
        <a:ln>
          <a:solidFill>
            <a:srgbClr val="006EB6"/>
          </a:solidFill>
        </a:ln>
      </dgm:spPr>
      <dgm:t>
        <a:bodyPr/>
        <a:lstStyle/>
        <a:p>
          <a:r>
            <a:rPr lang="en-GB" dirty="0"/>
            <a:t>Branding</a:t>
          </a:r>
        </a:p>
      </dgm:t>
    </dgm:pt>
    <dgm:pt modelId="{F4B1BFC9-17FE-4FA6-9C25-1E8381DA6E4B}" type="parTrans" cxnId="{F8C550CB-B35A-4E87-9B06-66EC3232494B}">
      <dgm:prSet/>
      <dgm:spPr/>
      <dgm:t>
        <a:bodyPr/>
        <a:lstStyle/>
        <a:p>
          <a:endParaRPr lang="en-US" dirty="0"/>
        </a:p>
      </dgm:t>
    </dgm:pt>
    <dgm:pt modelId="{CC5B8328-B072-4A60-9D1E-C621CD2EB2BF}" type="sibTrans" cxnId="{F8C550CB-B35A-4E87-9B06-66EC3232494B}">
      <dgm:prSet/>
      <dgm:spPr>
        <a:solidFill>
          <a:srgbClr val="006EB6"/>
        </a:solidFill>
        <a:ln>
          <a:solidFill>
            <a:srgbClr val="006EB6"/>
          </a:solidFill>
        </a:ln>
      </dgm:spPr>
      <dgm:t>
        <a:bodyPr/>
        <a:lstStyle/>
        <a:p>
          <a:endParaRPr lang="en-US" dirty="0"/>
        </a:p>
      </dgm:t>
    </dgm:pt>
    <dgm:pt modelId="{0467B2C0-A585-482E-89C2-571EDCBF2C11}">
      <dgm:prSet phldrT="[Tekst]"/>
      <dgm:spPr>
        <a:ln>
          <a:solidFill>
            <a:srgbClr val="006EB6"/>
          </a:solidFill>
        </a:ln>
      </dgm:spPr>
      <dgm:t>
        <a:bodyPr/>
        <a:lstStyle/>
        <a:p>
          <a:r>
            <a:rPr lang="en-GB" dirty="0"/>
            <a:t>Economy of scope</a:t>
          </a:r>
        </a:p>
      </dgm:t>
    </dgm:pt>
    <dgm:pt modelId="{066129E6-B972-4E0D-BDEF-C6D3D2CB6C45}" type="parTrans" cxnId="{A705A61D-E50E-4494-824A-949FCA7D3944}">
      <dgm:prSet/>
      <dgm:spPr/>
      <dgm:t>
        <a:bodyPr/>
        <a:lstStyle/>
        <a:p>
          <a:endParaRPr lang="en-US" dirty="0"/>
        </a:p>
      </dgm:t>
    </dgm:pt>
    <dgm:pt modelId="{BD92B752-5220-4447-B736-CEAF7A8790FC}" type="sibTrans" cxnId="{A705A61D-E50E-4494-824A-949FCA7D3944}">
      <dgm:prSet/>
      <dgm:spPr>
        <a:solidFill>
          <a:srgbClr val="006EB6"/>
        </a:solidFill>
        <a:ln>
          <a:solidFill>
            <a:srgbClr val="006EB6"/>
          </a:solidFill>
        </a:ln>
      </dgm:spPr>
      <dgm:t>
        <a:bodyPr/>
        <a:lstStyle/>
        <a:p>
          <a:endParaRPr lang="en-US" dirty="0"/>
        </a:p>
      </dgm:t>
    </dgm:pt>
    <dgm:pt modelId="{3B428614-C443-46E1-BB71-0660C1946410}" type="pres">
      <dgm:prSet presAssocID="{245405CE-7157-40A6-BCF8-63FCF6487150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CA"/>
        </a:p>
      </dgm:t>
    </dgm:pt>
    <dgm:pt modelId="{4C505582-1A06-4A91-A50A-AED51D7B7DA6}" type="pres">
      <dgm:prSet presAssocID="{41579FAF-66CB-49F2-874B-FB28285070E0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F7938DC6-1D9D-46F8-9F2B-2E8C21D47035}" type="pres">
      <dgm:prSet presAssocID="{587431B4-08E1-4BFA-9343-9F1B28EFD12C}" presName="sibTrans" presStyleLbl="sibTrans2D1" presStyleIdx="0" presStyleCnt="3"/>
      <dgm:spPr/>
      <dgm:t>
        <a:bodyPr/>
        <a:lstStyle/>
        <a:p>
          <a:endParaRPr lang="fr-CA"/>
        </a:p>
      </dgm:t>
    </dgm:pt>
    <dgm:pt modelId="{19C8CA30-3D75-4CC4-85F8-DF2EE0AA67D1}" type="pres">
      <dgm:prSet presAssocID="{587431B4-08E1-4BFA-9343-9F1B28EFD12C}" presName="connectorText" presStyleLbl="sibTrans2D1" presStyleIdx="0" presStyleCnt="3"/>
      <dgm:spPr/>
      <dgm:t>
        <a:bodyPr/>
        <a:lstStyle/>
        <a:p>
          <a:endParaRPr lang="fr-CA"/>
        </a:p>
      </dgm:t>
    </dgm:pt>
    <dgm:pt modelId="{C93D7B84-7A00-4235-B453-D16D0C68351D}" type="pres">
      <dgm:prSet presAssocID="{70E0FBF9-5E74-49CD-A84C-14994E8D1E76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9017C7C3-0B4F-41F2-ABB1-D8A5AE87BF49}" type="pres">
      <dgm:prSet presAssocID="{CC5B8328-B072-4A60-9D1E-C621CD2EB2BF}" presName="sibTrans" presStyleLbl="sibTrans2D1" presStyleIdx="1" presStyleCnt="3"/>
      <dgm:spPr/>
      <dgm:t>
        <a:bodyPr/>
        <a:lstStyle/>
        <a:p>
          <a:endParaRPr lang="fr-CA"/>
        </a:p>
      </dgm:t>
    </dgm:pt>
    <dgm:pt modelId="{1A16309D-7E74-4612-B453-B2BEEAC47EB8}" type="pres">
      <dgm:prSet presAssocID="{CC5B8328-B072-4A60-9D1E-C621CD2EB2BF}" presName="connectorText" presStyleLbl="sibTrans2D1" presStyleIdx="1" presStyleCnt="3"/>
      <dgm:spPr/>
      <dgm:t>
        <a:bodyPr/>
        <a:lstStyle/>
        <a:p>
          <a:endParaRPr lang="fr-CA"/>
        </a:p>
      </dgm:t>
    </dgm:pt>
    <dgm:pt modelId="{74310E75-A4C9-4CC0-AD88-048F6978B051}" type="pres">
      <dgm:prSet presAssocID="{0467B2C0-A585-482E-89C2-571EDCBF2C11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FA5ED0C-E6B8-4EB6-8EB2-412B2F25A261}" type="pres">
      <dgm:prSet presAssocID="{BD92B752-5220-4447-B736-CEAF7A8790FC}" presName="sibTrans" presStyleLbl="sibTrans2D1" presStyleIdx="2" presStyleCnt="3"/>
      <dgm:spPr/>
      <dgm:t>
        <a:bodyPr/>
        <a:lstStyle/>
        <a:p>
          <a:endParaRPr lang="fr-CA"/>
        </a:p>
      </dgm:t>
    </dgm:pt>
    <dgm:pt modelId="{F5D653B7-BA95-4777-8762-BED3A0783CF3}" type="pres">
      <dgm:prSet presAssocID="{BD92B752-5220-4447-B736-CEAF7A8790FC}" presName="connectorText" presStyleLbl="sibTrans2D1" presStyleIdx="2" presStyleCnt="3"/>
      <dgm:spPr/>
      <dgm:t>
        <a:bodyPr/>
        <a:lstStyle/>
        <a:p>
          <a:endParaRPr lang="fr-CA"/>
        </a:p>
      </dgm:t>
    </dgm:pt>
  </dgm:ptLst>
  <dgm:cxnLst>
    <dgm:cxn modelId="{C51490ED-365E-4F47-AF64-4C73120694C6}" srcId="{245405CE-7157-40A6-BCF8-63FCF6487150}" destId="{41579FAF-66CB-49F2-874B-FB28285070E0}" srcOrd="0" destOrd="0" parTransId="{491E42F2-69CC-48C3-80D4-4F07EF984666}" sibTransId="{587431B4-08E1-4BFA-9343-9F1B28EFD12C}"/>
    <dgm:cxn modelId="{50C81612-E7DE-47DB-89AB-A7A154876060}" type="presOf" srcId="{587431B4-08E1-4BFA-9343-9F1B28EFD12C}" destId="{19C8CA30-3D75-4CC4-85F8-DF2EE0AA67D1}" srcOrd="1" destOrd="0" presId="urn:microsoft.com/office/officeart/2005/8/layout/cycle2"/>
    <dgm:cxn modelId="{F8C550CB-B35A-4E87-9B06-66EC3232494B}" srcId="{245405CE-7157-40A6-BCF8-63FCF6487150}" destId="{70E0FBF9-5E74-49CD-A84C-14994E8D1E76}" srcOrd="1" destOrd="0" parTransId="{F4B1BFC9-17FE-4FA6-9C25-1E8381DA6E4B}" sibTransId="{CC5B8328-B072-4A60-9D1E-C621CD2EB2BF}"/>
    <dgm:cxn modelId="{4EA6EBE0-F4AE-410F-BB0F-221608B72A73}" type="presOf" srcId="{587431B4-08E1-4BFA-9343-9F1B28EFD12C}" destId="{F7938DC6-1D9D-46F8-9F2B-2E8C21D47035}" srcOrd="0" destOrd="0" presId="urn:microsoft.com/office/officeart/2005/8/layout/cycle2"/>
    <dgm:cxn modelId="{A705A61D-E50E-4494-824A-949FCA7D3944}" srcId="{245405CE-7157-40A6-BCF8-63FCF6487150}" destId="{0467B2C0-A585-482E-89C2-571EDCBF2C11}" srcOrd="2" destOrd="0" parTransId="{066129E6-B972-4E0D-BDEF-C6D3D2CB6C45}" sibTransId="{BD92B752-5220-4447-B736-CEAF7A8790FC}"/>
    <dgm:cxn modelId="{BC764D02-9813-46D4-8D4E-7E0A1769EB4C}" type="presOf" srcId="{CC5B8328-B072-4A60-9D1E-C621CD2EB2BF}" destId="{9017C7C3-0B4F-41F2-ABB1-D8A5AE87BF49}" srcOrd="0" destOrd="0" presId="urn:microsoft.com/office/officeart/2005/8/layout/cycle2"/>
    <dgm:cxn modelId="{F723B26B-80D9-422E-967A-1D385A95306D}" type="presOf" srcId="{41579FAF-66CB-49F2-874B-FB28285070E0}" destId="{4C505582-1A06-4A91-A50A-AED51D7B7DA6}" srcOrd="0" destOrd="0" presId="urn:microsoft.com/office/officeart/2005/8/layout/cycle2"/>
    <dgm:cxn modelId="{6F01FBCD-2A1B-49E6-821A-7ECA1BC2A3FB}" type="presOf" srcId="{CC5B8328-B072-4A60-9D1E-C621CD2EB2BF}" destId="{1A16309D-7E74-4612-B453-B2BEEAC47EB8}" srcOrd="1" destOrd="0" presId="urn:microsoft.com/office/officeart/2005/8/layout/cycle2"/>
    <dgm:cxn modelId="{0FA3C592-FA12-4455-867F-61F397B7C6A5}" type="presOf" srcId="{BD92B752-5220-4447-B736-CEAF7A8790FC}" destId="{5FA5ED0C-E6B8-4EB6-8EB2-412B2F25A261}" srcOrd="0" destOrd="0" presId="urn:microsoft.com/office/officeart/2005/8/layout/cycle2"/>
    <dgm:cxn modelId="{74DB8CE8-CD3F-4A4D-BAAC-41C615E45C4E}" type="presOf" srcId="{BD92B752-5220-4447-B736-CEAF7A8790FC}" destId="{F5D653B7-BA95-4777-8762-BED3A0783CF3}" srcOrd="1" destOrd="0" presId="urn:microsoft.com/office/officeart/2005/8/layout/cycle2"/>
    <dgm:cxn modelId="{B0ACB9DD-92C2-49EA-9968-1C61912EC3D2}" type="presOf" srcId="{245405CE-7157-40A6-BCF8-63FCF6487150}" destId="{3B428614-C443-46E1-BB71-0660C1946410}" srcOrd="0" destOrd="0" presId="urn:microsoft.com/office/officeart/2005/8/layout/cycle2"/>
    <dgm:cxn modelId="{3E9893AD-67B9-4AD3-86DB-743355B39CF1}" type="presOf" srcId="{70E0FBF9-5E74-49CD-A84C-14994E8D1E76}" destId="{C93D7B84-7A00-4235-B453-D16D0C68351D}" srcOrd="0" destOrd="0" presId="urn:microsoft.com/office/officeart/2005/8/layout/cycle2"/>
    <dgm:cxn modelId="{C19B5184-91E9-4F76-8B05-DF72BBF0291F}" type="presOf" srcId="{0467B2C0-A585-482E-89C2-571EDCBF2C11}" destId="{74310E75-A4C9-4CC0-AD88-048F6978B051}" srcOrd="0" destOrd="0" presId="urn:microsoft.com/office/officeart/2005/8/layout/cycle2"/>
    <dgm:cxn modelId="{93D5797B-B617-4249-8F22-091F9D7C03D7}" type="presParOf" srcId="{3B428614-C443-46E1-BB71-0660C1946410}" destId="{4C505582-1A06-4A91-A50A-AED51D7B7DA6}" srcOrd="0" destOrd="0" presId="urn:microsoft.com/office/officeart/2005/8/layout/cycle2"/>
    <dgm:cxn modelId="{9CDFD9B5-B629-41E2-8742-42451B7EBFA0}" type="presParOf" srcId="{3B428614-C443-46E1-BB71-0660C1946410}" destId="{F7938DC6-1D9D-46F8-9F2B-2E8C21D47035}" srcOrd="1" destOrd="0" presId="urn:microsoft.com/office/officeart/2005/8/layout/cycle2"/>
    <dgm:cxn modelId="{762341EB-9EDD-45C1-945B-04E22DA75A3E}" type="presParOf" srcId="{F7938DC6-1D9D-46F8-9F2B-2E8C21D47035}" destId="{19C8CA30-3D75-4CC4-85F8-DF2EE0AA67D1}" srcOrd="0" destOrd="0" presId="urn:microsoft.com/office/officeart/2005/8/layout/cycle2"/>
    <dgm:cxn modelId="{ECBAC6D0-D70D-43B9-BC0F-95B83791EB13}" type="presParOf" srcId="{3B428614-C443-46E1-BB71-0660C1946410}" destId="{C93D7B84-7A00-4235-B453-D16D0C68351D}" srcOrd="2" destOrd="0" presId="urn:microsoft.com/office/officeart/2005/8/layout/cycle2"/>
    <dgm:cxn modelId="{FF68392E-DE1B-4309-8E5A-53D5386CC6E2}" type="presParOf" srcId="{3B428614-C443-46E1-BB71-0660C1946410}" destId="{9017C7C3-0B4F-41F2-ABB1-D8A5AE87BF49}" srcOrd="3" destOrd="0" presId="urn:microsoft.com/office/officeart/2005/8/layout/cycle2"/>
    <dgm:cxn modelId="{F0BC6D75-9AC4-404B-A9FF-3BBB421A7239}" type="presParOf" srcId="{9017C7C3-0B4F-41F2-ABB1-D8A5AE87BF49}" destId="{1A16309D-7E74-4612-B453-B2BEEAC47EB8}" srcOrd="0" destOrd="0" presId="urn:microsoft.com/office/officeart/2005/8/layout/cycle2"/>
    <dgm:cxn modelId="{45A38A79-CAE4-4CFD-8D43-928D6FA14957}" type="presParOf" srcId="{3B428614-C443-46E1-BB71-0660C1946410}" destId="{74310E75-A4C9-4CC0-AD88-048F6978B051}" srcOrd="4" destOrd="0" presId="urn:microsoft.com/office/officeart/2005/8/layout/cycle2"/>
    <dgm:cxn modelId="{A2983E63-8A7F-4613-B960-DB004141C373}" type="presParOf" srcId="{3B428614-C443-46E1-BB71-0660C1946410}" destId="{5FA5ED0C-E6B8-4EB6-8EB2-412B2F25A261}" srcOrd="5" destOrd="0" presId="urn:microsoft.com/office/officeart/2005/8/layout/cycle2"/>
    <dgm:cxn modelId="{BC43D5DD-393C-4BEA-9A57-EDDEF179BE6F}" type="presParOf" srcId="{5FA5ED0C-E6B8-4EB6-8EB2-412B2F25A261}" destId="{F5D653B7-BA95-4777-8762-BED3A0783CF3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4E001BC-7306-44AE-A317-3CCDAF36E4A8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</dgm:pt>
    <dgm:pt modelId="{F50549F4-196A-4B2C-ADC3-0D7B459C3964}">
      <dgm:prSet phldrT="[Tekst]" custT="1"/>
      <dgm:spPr/>
      <dgm:t>
        <a:bodyPr/>
        <a:lstStyle/>
        <a:p>
          <a:r>
            <a:rPr lang="en-GB" sz="2000" b="0" dirty="0">
              <a:solidFill>
                <a:schemeClr val="accent3"/>
              </a:solidFill>
            </a:rPr>
            <a:t>Prevention</a:t>
          </a:r>
        </a:p>
      </dgm:t>
    </dgm:pt>
    <dgm:pt modelId="{AA1D5D4E-A07D-4D75-B2A0-569863ADBA25}" type="parTrans" cxnId="{2DA353D8-7A05-4FB4-A3E7-C452BF626C1C}">
      <dgm:prSet/>
      <dgm:spPr/>
      <dgm:t>
        <a:bodyPr/>
        <a:lstStyle/>
        <a:p>
          <a:endParaRPr lang="en-GB"/>
        </a:p>
      </dgm:t>
    </dgm:pt>
    <dgm:pt modelId="{38FF8120-EEB5-4174-B1EA-2AED4E6BABF0}" type="sibTrans" cxnId="{2DA353D8-7A05-4FB4-A3E7-C452BF626C1C}">
      <dgm:prSet/>
      <dgm:spPr/>
      <dgm:t>
        <a:bodyPr/>
        <a:lstStyle/>
        <a:p>
          <a:endParaRPr lang="en-GB"/>
        </a:p>
      </dgm:t>
    </dgm:pt>
    <dgm:pt modelId="{0078ED5C-F19E-4FDB-9B3E-2AA6D0F22D62}">
      <dgm:prSet phldrT="[Tekst]" custT="1"/>
      <dgm:spPr/>
      <dgm:t>
        <a:bodyPr/>
        <a:lstStyle/>
        <a:p>
          <a:r>
            <a:rPr lang="en-GB" sz="2000" b="0" dirty="0">
              <a:solidFill>
                <a:schemeClr val="accent3"/>
              </a:solidFill>
            </a:rPr>
            <a:t>Healthy Cities</a:t>
          </a:r>
        </a:p>
      </dgm:t>
    </dgm:pt>
    <dgm:pt modelId="{E7C8DD92-D93A-4D4D-9B91-7D4E483E4612}" type="parTrans" cxnId="{8BB10B13-C98F-41D0-81F7-1E7BE62EF22F}">
      <dgm:prSet/>
      <dgm:spPr/>
      <dgm:t>
        <a:bodyPr/>
        <a:lstStyle/>
        <a:p>
          <a:endParaRPr lang="en-GB"/>
        </a:p>
      </dgm:t>
    </dgm:pt>
    <dgm:pt modelId="{A5D9030D-C9FE-4E6C-B7CB-E1AF13C2AB9E}" type="sibTrans" cxnId="{8BB10B13-C98F-41D0-81F7-1E7BE62EF22F}">
      <dgm:prSet/>
      <dgm:spPr/>
      <dgm:t>
        <a:bodyPr/>
        <a:lstStyle/>
        <a:p>
          <a:endParaRPr lang="en-GB"/>
        </a:p>
      </dgm:t>
    </dgm:pt>
    <dgm:pt modelId="{0F9DB559-0579-4295-AAAD-4BD8B1B8A9E7}">
      <dgm:prSet phldrT="[Tekst]" custT="1"/>
      <dgm:spPr/>
      <dgm:t>
        <a:bodyPr/>
        <a:lstStyle/>
        <a:p>
          <a:r>
            <a:rPr lang="en-GB" sz="2000" b="0" dirty="0">
              <a:solidFill>
                <a:schemeClr val="accent3"/>
              </a:solidFill>
            </a:rPr>
            <a:t>Value Chain Collaboration</a:t>
          </a:r>
        </a:p>
      </dgm:t>
    </dgm:pt>
    <dgm:pt modelId="{9EB385FF-7E6C-4CC8-97A0-B8087E919DA7}" type="parTrans" cxnId="{9C340F1E-D96E-4565-A342-C9AF619A8D96}">
      <dgm:prSet/>
      <dgm:spPr/>
      <dgm:t>
        <a:bodyPr/>
        <a:lstStyle/>
        <a:p>
          <a:endParaRPr lang="en-GB"/>
        </a:p>
      </dgm:t>
    </dgm:pt>
    <dgm:pt modelId="{F4476FDE-C88D-48C2-AD87-0BEB379193EB}" type="sibTrans" cxnId="{9C340F1E-D96E-4565-A342-C9AF619A8D96}">
      <dgm:prSet/>
      <dgm:spPr/>
      <dgm:t>
        <a:bodyPr/>
        <a:lstStyle/>
        <a:p>
          <a:endParaRPr lang="en-GB"/>
        </a:p>
      </dgm:t>
    </dgm:pt>
    <dgm:pt modelId="{CDD8E8FA-8CF2-40F6-9B07-ED4E993373C3}">
      <dgm:prSet phldrT="[Tekst]" custT="1"/>
      <dgm:spPr/>
      <dgm:t>
        <a:bodyPr/>
        <a:lstStyle/>
        <a:p>
          <a:r>
            <a:rPr lang="en-GB" sz="2000" b="0" dirty="0">
              <a:solidFill>
                <a:schemeClr val="accent3"/>
              </a:solidFill>
            </a:rPr>
            <a:t>Bridging Nordic Data Initiative</a:t>
          </a:r>
        </a:p>
      </dgm:t>
    </dgm:pt>
    <dgm:pt modelId="{9C1F80FB-4377-4A21-AE16-E08DB762AB55}" type="sibTrans" cxnId="{C6629197-C515-495F-9E41-93779F9D3B1C}">
      <dgm:prSet/>
      <dgm:spPr/>
      <dgm:t>
        <a:bodyPr/>
        <a:lstStyle/>
        <a:p>
          <a:endParaRPr lang="en-GB"/>
        </a:p>
      </dgm:t>
    </dgm:pt>
    <dgm:pt modelId="{0D0C4345-6E5C-477E-938E-0DA3454EC63F}" type="parTrans" cxnId="{C6629197-C515-495F-9E41-93779F9D3B1C}">
      <dgm:prSet/>
      <dgm:spPr/>
      <dgm:t>
        <a:bodyPr/>
        <a:lstStyle/>
        <a:p>
          <a:endParaRPr lang="en-GB"/>
        </a:p>
      </dgm:t>
    </dgm:pt>
    <dgm:pt modelId="{27579BF6-1BB3-44B0-BDAE-E8E85F8CDBEE}" type="pres">
      <dgm:prSet presAssocID="{C4E001BC-7306-44AE-A317-3CCDAF36E4A8}" presName="Name0" presStyleCnt="0">
        <dgm:presLayoutVars>
          <dgm:dir/>
          <dgm:resizeHandles val="exact"/>
        </dgm:presLayoutVars>
      </dgm:prSet>
      <dgm:spPr/>
    </dgm:pt>
    <dgm:pt modelId="{DA3445AC-747D-4C07-AE8E-EA134DC1026D}" type="pres">
      <dgm:prSet presAssocID="{C4E001BC-7306-44AE-A317-3CCDAF36E4A8}" presName="fgShape" presStyleLbl="fgShp" presStyleIdx="0" presStyleCnt="1" custFlipHor="1" custScaleX="21544" custScaleY="57149" custLinFactNeighborX="-41057" custLinFactNeighborY="-4699"/>
      <dgm:spPr>
        <a:solidFill>
          <a:schemeClr val="accent3"/>
        </a:solidFill>
        <a:ln w="19050">
          <a:solidFill>
            <a:schemeClr val="accent3"/>
          </a:solidFill>
        </a:ln>
      </dgm:spPr>
    </dgm:pt>
    <dgm:pt modelId="{BA0488CE-B1E7-4FC9-BDD1-4DD49CE4E6AB}" type="pres">
      <dgm:prSet presAssocID="{C4E001BC-7306-44AE-A317-3CCDAF36E4A8}" presName="linComp" presStyleCnt="0"/>
      <dgm:spPr/>
    </dgm:pt>
    <dgm:pt modelId="{8DF63689-7C62-41C2-98DB-9A4F90A3C6B7}" type="pres">
      <dgm:prSet presAssocID="{CDD8E8FA-8CF2-40F6-9B07-ED4E993373C3}" presName="compNode" presStyleCnt="0"/>
      <dgm:spPr/>
    </dgm:pt>
    <dgm:pt modelId="{9307A9E4-005B-46C2-A742-3C73DD9C4173}" type="pres">
      <dgm:prSet presAssocID="{CDD8E8FA-8CF2-40F6-9B07-ED4E993373C3}" presName="bkgdShape" presStyleLbl="node1" presStyleIdx="0" presStyleCnt="4" custLinFactNeighborX="-95" custLinFactNeighborY="578"/>
      <dgm:spPr/>
      <dgm:t>
        <a:bodyPr/>
        <a:lstStyle/>
        <a:p>
          <a:endParaRPr lang="fr-CA"/>
        </a:p>
      </dgm:t>
    </dgm:pt>
    <dgm:pt modelId="{9BC3E250-EAF0-43CE-BAFA-9817099FAC6F}" type="pres">
      <dgm:prSet presAssocID="{CDD8E8FA-8CF2-40F6-9B07-ED4E993373C3}" presName="node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E7E477C5-41A1-4D47-B717-F70C4007A0D8}" type="pres">
      <dgm:prSet presAssocID="{CDD8E8FA-8CF2-40F6-9B07-ED4E993373C3}" presName="invisiNode" presStyleLbl="node1" presStyleIdx="0" presStyleCnt="4"/>
      <dgm:spPr/>
    </dgm:pt>
    <dgm:pt modelId="{83ACB475-A3A6-4F2C-AC5F-FBB86D8B7228}" type="pres">
      <dgm:prSet presAssocID="{CDD8E8FA-8CF2-40F6-9B07-ED4E993373C3}" presName="imagNode" presStyleLbl="fgImgPlace1" presStyleIdx="0" presStyleCnt="4" custLinFactNeighborX="1127" custLinFactNeighborY="1651"/>
      <dgm:spPr>
        <a:blipFill>
          <a:blip xmlns:r="http://schemas.openxmlformats.org/officeDocument/2006/relationships" r:embed="rId1"/>
          <a:srcRect/>
          <a:stretch>
            <a:fillRect/>
          </a:stretch>
        </a:blipFill>
        <a:ln>
          <a:solidFill>
            <a:schemeClr val="accent3"/>
          </a:solidFill>
        </a:ln>
      </dgm:spPr>
    </dgm:pt>
    <dgm:pt modelId="{ECD5517D-C9B7-4F0F-BDC9-FA4F08206B8D}" type="pres">
      <dgm:prSet presAssocID="{9C1F80FB-4377-4A21-AE16-E08DB762AB55}" presName="sibTrans" presStyleLbl="sibTrans2D1" presStyleIdx="0" presStyleCnt="0"/>
      <dgm:spPr/>
      <dgm:t>
        <a:bodyPr/>
        <a:lstStyle/>
        <a:p>
          <a:endParaRPr lang="fr-CA"/>
        </a:p>
      </dgm:t>
    </dgm:pt>
    <dgm:pt modelId="{EDCC9635-F48A-4E2E-84CE-D49CDD6D5E18}" type="pres">
      <dgm:prSet presAssocID="{F50549F4-196A-4B2C-ADC3-0D7B459C3964}" presName="compNode" presStyleCnt="0"/>
      <dgm:spPr/>
    </dgm:pt>
    <dgm:pt modelId="{36D5915B-839A-4E27-A9E6-67A6037C50D2}" type="pres">
      <dgm:prSet presAssocID="{F50549F4-196A-4B2C-ADC3-0D7B459C3964}" presName="bkgdShape" presStyleLbl="node1" presStyleIdx="1" presStyleCnt="4"/>
      <dgm:spPr/>
      <dgm:t>
        <a:bodyPr/>
        <a:lstStyle/>
        <a:p>
          <a:endParaRPr lang="fr-CA"/>
        </a:p>
      </dgm:t>
    </dgm:pt>
    <dgm:pt modelId="{03788C97-EDBE-445D-8BB7-D8F1EAF17B48}" type="pres">
      <dgm:prSet presAssocID="{F50549F4-196A-4B2C-ADC3-0D7B459C3964}" presName="node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D55D4DA-05D4-4BE7-B76A-14B6DD00E6D9}" type="pres">
      <dgm:prSet presAssocID="{F50549F4-196A-4B2C-ADC3-0D7B459C3964}" presName="invisiNode" presStyleLbl="node1" presStyleIdx="1" presStyleCnt="4"/>
      <dgm:spPr/>
    </dgm:pt>
    <dgm:pt modelId="{AFA6D25D-1B2C-478A-852D-96DB577AA6B5}" type="pres">
      <dgm:prSet presAssocID="{F50549F4-196A-4B2C-ADC3-0D7B459C3964}" presName="imagNode" presStyleLbl="fgImgPlace1" presStyleIdx="1" presStyleCnt="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>
          <a:solidFill>
            <a:schemeClr val="accent3"/>
          </a:solidFill>
        </a:ln>
      </dgm:spPr>
    </dgm:pt>
    <dgm:pt modelId="{2C3AACCD-5A2C-422D-9258-A13663EFC6E9}" type="pres">
      <dgm:prSet presAssocID="{38FF8120-EEB5-4174-B1EA-2AED4E6BABF0}" presName="sibTrans" presStyleLbl="sibTrans2D1" presStyleIdx="0" presStyleCnt="0"/>
      <dgm:spPr/>
      <dgm:t>
        <a:bodyPr/>
        <a:lstStyle/>
        <a:p>
          <a:endParaRPr lang="fr-CA"/>
        </a:p>
      </dgm:t>
    </dgm:pt>
    <dgm:pt modelId="{E816C30F-36F1-42DB-AB73-D8AB906767FB}" type="pres">
      <dgm:prSet presAssocID="{0078ED5C-F19E-4FDB-9B3E-2AA6D0F22D62}" presName="compNode" presStyleCnt="0"/>
      <dgm:spPr/>
    </dgm:pt>
    <dgm:pt modelId="{6D84050D-234B-4F80-9627-67D945F61CDE}" type="pres">
      <dgm:prSet presAssocID="{0078ED5C-F19E-4FDB-9B3E-2AA6D0F22D62}" presName="bkgdShape" presStyleLbl="node1" presStyleIdx="2" presStyleCnt="4" custLinFactNeighborX="-666"/>
      <dgm:spPr/>
      <dgm:t>
        <a:bodyPr/>
        <a:lstStyle/>
        <a:p>
          <a:endParaRPr lang="fr-CA"/>
        </a:p>
      </dgm:t>
    </dgm:pt>
    <dgm:pt modelId="{EB647A2B-BAAF-4DC3-85AF-E84074F0C92A}" type="pres">
      <dgm:prSet presAssocID="{0078ED5C-F19E-4FDB-9B3E-2AA6D0F22D62}" presName="node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73B79AE2-D151-4962-9F26-A4DAA97E001E}" type="pres">
      <dgm:prSet presAssocID="{0078ED5C-F19E-4FDB-9B3E-2AA6D0F22D62}" presName="invisiNode" presStyleLbl="node1" presStyleIdx="2" presStyleCnt="4"/>
      <dgm:spPr/>
    </dgm:pt>
    <dgm:pt modelId="{E1B127C6-5415-426C-920B-EFDC77538FA0}" type="pres">
      <dgm:prSet presAssocID="{0078ED5C-F19E-4FDB-9B3E-2AA6D0F22D62}" presName="imagNode" presStyleLbl="fgImgPlace1" presStyleIdx="2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000" r="-8000"/>
          </a:stretch>
        </a:blipFill>
        <a:ln>
          <a:solidFill>
            <a:schemeClr val="accent3"/>
          </a:solidFill>
        </a:ln>
      </dgm:spPr>
    </dgm:pt>
    <dgm:pt modelId="{B563E394-8EC6-44A8-8524-1B0D75B50026}" type="pres">
      <dgm:prSet presAssocID="{A5D9030D-C9FE-4E6C-B7CB-E1AF13C2AB9E}" presName="sibTrans" presStyleLbl="sibTrans2D1" presStyleIdx="0" presStyleCnt="0"/>
      <dgm:spPr/>
      <dgm:t>
        <a:bodyPr/>
        <a:lstStyle/>
        <a:p>
          <a:endParaRPr lang="fr-CA"/>
        </a:p>
      </dgm:t>
    </dgm:pt>
    <dgm:pt modelId="{E745B81F-8171-446E-AF67-05C32817C06C}" type="pres">
      <dgm:prSet presAssocID="{0F9DB559-0579-4295-AAAD-4BD8B1B8A9E7}" presName="compNode" presStyleCnt="0"/>
      <dgm:spPr/>
    </dgm:pt>
    <dgm:pt modelId="{6A697B1A-25B3-4DE3-B6D0-B571170DBC25}" type="pres">
      <dgm:prSet presAssocID="{0F9DB559-0579-4295-AAAD-4BD8B1B8A9E7}" presName="bkgdShape" presStyleLbl="node1" presStyleIdx="3" presStyleCnt="4"/>
      <dgm:spPr/>
      <dgm:t>
        <a:bodyPr/>
        <a:lstStyle/>
        <a:p>
          <a:endParaRPr lang="fr-CA"/>
        </a:p>
      </dgm:t>
    </dgm:pt>
    <dgm:pt modelId="{6428C471-8804-48AC-8902-E6040E22ACBB}" type="pres">
      <dgm:prSet presAssocID="{0F9DB559-0579-4295-AAAD-4BD8B1B8A9E7}" presName="node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33BACE6F-A4E5-4167-ADAE-24A6482CFEDE}" type="pres">
      <dgm:prSet presAssocID="{0F9DB559-0579-4295-AAAD-4BD8B1B8A9E7}" presName="invisiNode" presStyleLbl="node1" presStyleIdx="3" presStyleCnt="4"/>
      <dgm:spPr/>
    </dgm:pt>
    <dgm:pt modelId="{94984AB8-0372-4A5A-994A-D0BB8287CA6D}" type="pres">
      <dgm:prSet presAssocID="{0F9DB559-0579-4295-AAAD-4BD8B1B8A9E7}" presName="imagNode" presStyleLbl="fgImgPlace1" presStyleIdx="3" presStyleCnt="4" custLinFactNeighborX="0" custLinFactNeighborY="7286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>
          <a:solidFill>
            <a:schemeClr val="accent3"/>
          </a:solidFill>
        </a:ln>
      </dgm:spPr>
    </dgm:pt>
  </dgm:ptLst>
  <dgm:cxnLst>
    <dgm:cxn modelId="{FB73E822-6F9A-49CB-B39B-C498450E09B1}" type="presOf" srcId="{F50549F4-196A-4B2C-ADC3-0D7B459C3964}" destId="{03788C97-EDBE-445D-8BB7-D8F1EAF17B48}" srcOrd="1" destOrd="0" presId="urn:microsoft.com/office/officeart/2005/8/layout/hList7"/>
    <dgm:cxn modelId="{C6629197-C515-495F-9E41-93779F9D3B1C}" srcId="{C4E001BC-7306-44AE-A317-3CCDAF36E4A8}" destId="{CDD8E8FA-8CF2-40F6-9B07-ED4E993373C3}" srcOrd="0" destOrd="0" parTransId="{0D0C4345-6E5C-477E-938E-0DA3454EC63F}" sibTransId="{9C1F80FB-4377-4A21-AE16-E08DB762AB55}"/>
    <dgm:cxn modelId="{BB5082EA-E423-4538-A269-2FC07C010985}" type="presOf" srcId="{0F9DB559-0579-4295-AAAD-4BD8B1B8A9E7}" destId="{6A697B1A-25B3-4DE3-B6D0-B571170DBC25}" srcOrd="0" destOrd="0" presId="urn:microsoft.com/office/officeart/2005/8/layout/hList7"/>
    <dgm:cxn modelId="{1A783A94-2311-4C46-B51F-3C7B174360AB}" type="presOf" srcId="{C4E001BC-7306-44AE-A317-3CCDAF36E4A8}" destId="{27579BF6-1BB3-44B0-BDAE-E8E85F8CDBEE}" srcOrd="0" destOrd="0" presId="urn:microsoft.com/office/officeart/2005/8/layout/hList7"/>
    <dgm:cxn modelId="{7C5E07A6-BAE9-4FE3-84AD-D98C15EC8625}" type="presOf" srcId="{F50549F4-196A-4B2C-ADC3-0D7B459C3964}" destId="{36D5915B-839A-4E27-A9E6-67A6037C50D2}" srcOrd="0" destOrd="0" presId="urn:microsoft.com/office/officeart/2005/8/layout/hList7"/>
    <dgm:cxn modelId="{868B800C-75E5-44DD-B4F9-581930CB1727}" type="presOf" srcId="{0078ED5C-F19E-4FDB-9B3E-2AA6D0F22D62}" destId="{EB647A2B-BAAF-4DC3-85AF-E84074F0C92A}" srcOrd="1" destOrd="0" presId="urn:microsoft.com/office/officeart/2005/8/layout/hList7"/>
    <dgm:cxn modelId="{B99717CE-7827-43BF-94A2-F88FAA6E92CC}" type="presOf" srcId="{38FF8120-EEB5-4174-B1EA-2AED4E6BABF0}" destId="{2C3AACCD-5A2C-422D-9258-A13663EFC6E9}" srcOrd="0" destOrd="0" presId="urn:microsoft.com/office/officeart/2005/8/layout/hList7"/>
    <dgm:cxn modelId="{BABAE437-2E69-4150-9F3C-ADE5B2B99F55}" type="presOf" srcId="{CDD8E8FA-8CF2-40F6-9B07-ED4E993373C3}" destId="{9307A9E4-005B-46C2-A742-3C73DD9C4173}" srcOrd="0" destOrd="0" presId="urn:microsoft.com/office/officeart/2005/8/layout/hList7"/>
    <dgm:cxn modelId="{D49A5265-7C68-4785-BF7F-7FEE87B1373B}" type="presOf" srcId="{9C1F80FB-4377-4A21-AE16-E08DB762AB55}" destId="{ECD5517D-C9B7-4F0F-BDC9-FA4F08206B8D}" srcOrd="0" destOrd="0" presId="urn:microsoft.com/office/officeart/2005/8/layout/hList7"/>
    <dgm:cxn modelId="{8BB10B13-C98F-41D0-81F7-1E7BE62EF22F}" srcId="{C4E001BC-7306-44AE-A317-3CCDAF36E4A8}" destId="{0078ED5C-F19E-4FDB-9B3E-2AA6D0F22D62}" srcOrd="2" destOrd="0" parTransId="{E7C8DD92-D93A-4D4D-9B91-7D4E483E4612}" sibTransId="{A5D9030D-C9FE-4E6C-B7CB-E1AF13C2AB9E}"/>
    <dgm:cxn modelId="{CF7881A9-6BF8-41AA-B5C5-F614CC405F97}" type="presOf" srcId="{A5D9030D-C9FE-4E6C-B7CB-E1AF13C2AB9E}" destId="{B563E394-8EC6-44A8-8524-1B0D75B50026}" srcOrd="0" destOrd="0" presId="urn:microsoft.com/office/officeart/2005/8/layout/hList7"/>
    <dgm:cxn modelId="{2EE8A58E-9068-4741-A562-63988279143C}" type="presOf" srcId="{0F9DB559-0579-4295-AAAD-4BD8B1B8A9E7}" destId="{6428C471-8804-48AC-8902-E6040E22ACBB}" srcOrd="1" destOrd="0" presId="urn:microsoft.com/office/officeart/2005/8/layout/hList7"/>
    <dgm:cxn modelId="{9C340F1E-D96E-4565-A342-C9AF619A8D96}" srcId="{C4E001BC-7306-44AE-A317-3CCDAF36E4A8}" destId="{0F9DB559-0579-4295-AAAD-4BD8B1B8A9E7}" srcOrd="3" destOrd="0" parTransId="{9EB385FF-7E6C-4CC8-97A0-B8087E919DA7}" sibTransId="{F4476FDE-C88D-48C2-AD87-0BEB379193EB}"/>
    <dgm:cxn modelId="{4BCE3ABB-21EC-449A-8E31-A3A8F0FB1B4F}" type="presOf" srcId="{0078ED5C-F19E-4FDB-9B3E-2AA6D0F22D62}" destId="{6D84050D-234B-4F80-9627-67D945F61CDE}" srcOrd="0" destOrd="0" presId="urn:microsoft.com/office/officeart/2005/8/layout/hList7"/>
    <dgm:cxn modelId="{373B113C-724D-4250-9DEB-ED0B4E69EAEE}" type="presOf" srcId="{CDD8E8FA-8CF2-40F6-9B07-ED4E993373C3}" destId="{9BC3E250-EAF0-43CE-BAFA-9817099FAC6F}" srcOrd="1" destOrd="0" presId="urn:microsoft.com/office/officeart/2005/8/layout/hList7"/>
    <dgm:cxn modelId="{2DA353D8-7A05-4FB4-A3E7-C452BF626C1C}" srcId="{C4E001BC-7306-44AE-A317-3CCDAF36E4A8}" destId="{F50549F4-196A-4B2C-ADC3-0D7B459C3964}" srcOrd="1" destOrd="0" parTransId="{AA1D5D4E-A07D-4D75-B2A0-569863ADBA25}" sibTransId="{38FF8120-EEB5-4174-B1EA-2AED4E6BABF0}"/>
    <dgm:cxn modelId="{EB4EA832-EFB8-49A4-A39E-20F42CE6CEE6}" type="presParOf" srcId="{27579BF6-1BB3-44B0-BDAE-E8E85F8CDBEE}" destId="{DA3445AC-747D-4C07-AE8E-EA134DC1026D}" srcOrd="0" destOrd="0" presId="urn:microsoft.com/office/officeart/2005/8/layout/hList7"/>
    <dgm:cxn modelId="{B9A1B291-1AD6-43A9-BC89-5B1F5849E161}" type="presParOf" srcId="{27579BF6-1BB3-44B0-BDAE-E8E85F8CDBEE}" destId="{BA0488CE-B1E7-4FC9-BDD1-4DD49CE4E6AB}" srcOrd="1" destOrd="0" presId="urn:microsoft.com/office/officeart/2005/8/layout/hList7"/>
    <dgm:cxn modelId="{35868150-155E-4EB1-8671-F1A694B78A67}" type="presParOf" srcId="{BA0488CE-B1E7-4FC9-BDD1-4DD49CE4E6AB}" destId="{8DF63689-7C62-41C2-98DB-9A4F90A3C6B7}" srcOrd="0" destOrd="0" presId="urn:microsoft.com/office/officeart/2005/8/layout/hList7"/>
    <dgm:cxn modelId="{41566F37-7BD5-4EDA-8E4D-1537F8AE7041}" type="presParOf" srcId="{8DF63689-7C62-41C2-98DB-9A4F90A3C6B7}" destId="{9307A9E4-005B-46C2-A742-3C73DD9C4173}" srcOrd="0" destOrd="0" presId="urn:microsoft.com/office/officeart/2005/8/layout/hList7"/>
    <dgm:cxn modelId="{2CA30A5E-03BB-49A3-9ABD-5AC194DB08B8}" type="presParOf" srcId="{8DF63689-7C62-41C2-98DB-9A4F90A3C6B7}" destId="{9BC3E250-EAF0-43CE-BAFA-9817099FAC6F}" srcOrd="1" destOrd="0" presId="urn:microsoft.com/office/officeart/2005/8/layout/hList7"/>
    <dgm:cxn modelId="{03079DA6-A042-47CE-81F7-8BC12B7C3D1B}" type="presParOf" srcId="{8DF63689-7C62-41C2-98DB-9A4F90A3C6B7}" destId="{E7E477C5-41A1-4D47-B717-F70C4007A0D8}" srcOrd="2" destOrd="0" presId="urn:microsoft.com/office/officeart/2005/8/layout/hList7"/>
    <dgm:cxn modelId="{52B9C0FE-9F10-459F-9CC6-958F8F6B4F3F}" type="presParOf" srcId="{8DF63689-7C62-41C2-98DB-9A4F90A3C6B7}" destId="{83ACB475-A3A6-4F2C-AC5F-FBB86D8B7228}" srcOrd="3" destOrd="0" presId="urn:microsoft.com/office/officeart/2005/8/layout/hList7"/>
    <dgm:cxn modelId="{259F185C-0C49-4624-9EB9-60E4C9B29400}" type="presParOf" srcId="{BA0488CE-B1E7-4FC9-BDD1-4DD49CE4E6AB}" destId="{ECD5517D-C9B7-4F0F-BDC9-FA4F08206B8D}" srcOrd="1" destOrd="0" presId="urn:microsoft.com/office/officeart/2005/8/layout/hList7"/>
    <dgm:cxn modelId="{F83E1385-A960-4085-A6B8-3F333D47139F}" type="presParOf" srcId="{BA0488CE-B1E7-4FC9-BDD1-4DD49CE4E6AB}" destId="{EDCC9635-F48A-4E2E-84CE-D49CDD6D5E18}" srcOrd="2" destOrd="0" presId="urn:microsoft.com/office/officeart/2005/8/layout/hList7"/>
    <dgm:cxn modelId="{00D5021E-39CD-4632-A070-C302192E2F11}" type="presParOf" srcId="{EDCC9635-F48A-4E2E-84CE-D49CDD6D5E18}" destId="{36D5915B-839A-4E27-A9E6-67A6037C50D2}" srcOrd="0" destOrd="0" presId="urn:microsoft.com/office/officeart/2005/8/layout/hList7"/>
    <dgm:cxn modelId="{78EB07EE-0CEA-4198-96ED-9632CBDCB494}" type="presParOf" srcId="{EDCC9635-F48A-4E2E-84CE-D49CDD6D5E18}" destId="{03788C97-EDBE-445D-8BB7-D8F1EAF17B48}" srcOrd="1" destOrd="0" presId="urn:microsoft.com/office/officeart/2005/8/layout/hList7"/>
    <dgm:cxn modelId="{FC820801-183B-49D4-A4AE-ECBEFE4814A0}" type="presParOf" srcId="{EDCC9635-F48A-4E2E-84CE-D49CDD6D5E18}" destId="{5D55D4DA-05D4-4BE7-B76A-14B6DD00E6D9}" srcOrd="2" destOrd="0" presId="urn:microsoft.com/office/officeart/2005/8/layout/hList7"/>
    <dgm:cxn modelId="{376A2880-6093-49D5-8A09-1D6A8C33C0B5}" type="presParOf" srcId="{EDCC9635-F48A-4E2E-84CE-D49CDD6D5E18}" destId="{AFA6D25D-1B2C-478A-852D-96DB577AA6B5}" srcOrd="3" destOrd="0" presId="urn:microsoft.com/office/officeart/2005/8/layout/hList7"/>
    <dgm:cxn modelId="{222E5932-A603-4ECA-B57A-F5A1F2027B41}" type="presParOf" srcId="{BA0488CE-B1E7-4FC9-BDD1-4DD49CE4E6AB}" destId="{2C3AACCD-5A2C-422D-9258-A13663EFC6E9}" srcOrd="3" destOrd="0" presId="urn:microsoft.com/office/officeart/2005/8/layout/hList7"/>
    <dgm:cxn modelId="{548BD5F1-2EA6-4585-B1A3-422E103FEB12}" type="presParOf" srcId="{BA0488CE-B1E7-4FC9-BDD1-4DD49CE4E6AB}" destId="{E816C30F-36F1-42DB-AB73-D8AB906767FB}" srcOrd="4" destOrd="0" presId="urn:microsoft.com/office/officeart/2005/8/layout/hList7"/>
    <dgm:cxn modelId="{8FA75768-C188-404D-B6EA-EFE2D09A441C}" type="presParOf" srcId="{E816C30F-36F1-42DB-AB73-D8AB906767FB}" destId="{6D84050D-234B-4F80-9627-67D945F61CDE}" srcOrd="0" destOrd="0" presId="urn:microsoft.com/office/officeart/2005/8/layout/hList7"/>
    <dgm:cxn modelId="{6B822D52-274C-4190-868B-0A2854081617}" type="presParOf" srcId="{E816C30F-36F1-42DB-AB73-D8AB906767FB}" destId="{EB647A2B-BAAF-4DC3-85AF-E84074F0C92A}" srcOrd="1" destOrd="0" presId="urn:microsoft.com/office/officeart/2005/8/layout/hList7"/>
    <dgm:cxn modelId="{52608626-1856-4F52-858D-DCE0D2609990}" type="presParOf" srcId="{E816C30F-36F1-42DB-AB73-D8AB906767FB}" destId="{73B79AE2-D151-4962-9F26-A4DAA97E001E}" srcOrd="2" destOrd="0" presId="urn:microsoft.com/office/officeart/2005/8/layout/hList7"/>
    <dgm:cxn modelId="{7EE2EBDD-109E-4503-833A-B78FF52D4FEE}" type="presParOf" srcId="{E816C30F-36F1-42DB-AB73-D8AB906767FB}" destId="{E1B127C6-5415-426C-920B-EFDC77538FA0}" srcOrd="3" destOrd="0" presId="urn:microsoft.com/office/officeart/2005/8/layout/hList7"/>
    <dgm:cxn modelId="{C454F3BF-90A3-471F-A9AE-07C613E22933}" type="presParOf" srcId="{BA0488CE-B1E7-4FC9-BDD1-4DD49CE4E6AB}" destId="{B563E394-8EC6-44A8-8524-1B0D75B50026}" srcOrd="5" destOrd="0" presId="urn:microsoft.com/office/officeart/2005/8/layout/hList7"/>
    <dgm:cxn modelId="{C8CC4E35-5377-4793-A6DE-38CCF76F8F37}" type="presParOf" srcId="{BA0488CE-B1E7-4FC9-BDD1-4DD49CE4E6AB}" destId="{E745B81F-8171-446E-AF67-05C32817C06C}" srcOrd="6" destOrd="0" presId="urn:microsoft.com/office/officeart/2005/8/layout/hList7"/>
    <dgm:cxn modelId="{907B0462-D621-4DED-87D9-1650C969ED27}" type="presParOf" srcId="{E745B81F-8171-446E-AF67-05C32817C06C}" destId="{6A697B1A-25B3-4DE3-B6D0-B571170DBC25}" srcOrd="0" destOrd="0" presId="urn:microsoft.com/office/officeart/2005/8/layout/hList7"/>
    <dgm:cxn modelId="{AA7CDC05-F9C3-46E6-B51F-C7652F83C5CC}" type="presParOf" srcId="{E745B81F-8171-446E-AF67-05C32817C06C}" destId="{6428C471-8804-48AC-8902-E6040E22ACBB}" srcOrd="1" destOrd="0" presId="urn:microsoft.com/office/officeart/2005/8/layout/hList7"/>
    <dgm:cxn modelId="{33DDAA4F-6A26-4D9B-A809-16D4D4E35927}" type="presParOf" srcId="{E745B81F-8171-446E-AF67-05C32817C06C}" destId="{33BACE6F-A4E5-4167-ADAE-24A6482CFEDE}" srcOrd="2" destOrd="0" presId="urn:microsoft.com/office/officeart/2005/8/layout/hList7"/>
    <dgm:cxn modelId="{BEEB311D-B70D-4737-993D-A2623C8B8376}" type="presParOf" srcId="{E745B81F-8171-446E-AF67-05C32817C06C}" destId="{94984AB8-0372-4A5A-994A-D0BB8287CA6D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505582-1A06-4A91-A50A-AED51D7B7DA6}">
      <dsp:nvSpPr>
        <dsp:cNvPr id="0" name=""/>
        <dsp:cNvSpPr/>
      </dsp:nvSpPr>
      <dsp:spPr>
        <a:xfrm>
          <a:off x="1358948" y="25942"/>
          <a:ext cx="1807512" cy="180751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6EB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noProof="0" dirty="0"/>
            <a:t>Economy</a:t>
          </a:r>
          <a:r>
            <a:rPr lang="en-GB" sz="2400" kern="1200" dirty="0"/>
            <a:t> of scale</a:t>
          </a:r>
        </a:p>
      </dsp:txBody>
      <dsp:txXfrm>
        <a:off x="1623652" y="290646"/>
        <a:ext cx="1278104" cy="1278104"/>
      </dsp:txXfrm>
    </dsp:sp>
    <dsp:sp modelId="{F7938DC6-1D9D-46F8-9F2B-2E8C21D47035}">
      <dsp:nvSpPr>
        <dsp:cNvPr id="0" name=""/>
        <dsp:cNvSpPr/>
      </dsp:nvSpPr>
      <dsp:spPr>
        <a:xfrm rot="3600000">
          <a:off x="2694152" y="1788749"/>
          <a:ext cx="481255" cy="610035"/>
        </a:xfrm>
        <a:prstGeom prst="rightArrow">
          <a:avLst>
            <a:gd name="adj1" fmla="val 60000"/>
            <a:gd name="adj2" fmla="val 50000"/>
          </a:avLst>
        </a:prstGeom>
        <a:solidFill>
          <a:srgbClr val="006EB6"/>
        </a:solidFill>
        <a:ln>
          <a:solidFill>
            <a:srgbClr val="006EB6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900" kern="1200" dirty="0"/>
        </a:p>
      </dsp:txBody>
      <dsp:txXfrm>
        <a:off x="2730246" y="1848239"/>
        <a:ext cx="336879" cy="366021"/>
      </dsp:txXfrm>
    </dsp:sp>
    <dsp:sp modelId="{C93D7B84-7A00-4235-B453-D16D0C68351D}">
      <dsp:nvSpPr>
        <dsp:cNvPr id="0" name=""/>
        <dsp:cNvSpPr/>
      </dsp:nvSpPr>
      <dsp:spPr>
        <a:xfrm>
          <a:off x="2716719" y="2377670"/>
          <a:ext cx="1807512" cy="180751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6EB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/>
            <a:t>Branding</a:t>
          </a:r>
        </a:p>
      </dsp:txBody>
      <dsp:txXfrm>
        <a:off x="2981423" y="2642374"/>
        <a:ext cx="1278104" cy="1278104"/>
      </dsp:txXfrm>
    </dsp:sp>
    <dsp:sp modelId="{9017C7C3-0B4F-41F2-ABB1-D8A5AE87BF49}">
      <dsp:nvSpPr>
        <dsp:cNvPr id="0" name=""/>
        <dsp:cNvSpPr/>
      </dsp:nvSpPr>
      <dsp:spPr>
        <a:xfrm rot="10800000">
          <a:off x="2035697" y="2976409"/>
          <a:ext cx="481255" cy="610035"/>
        </a:xfrm>
        <a:prstGeom prst="rightArrow">
          <a:avLst>
            <a:gd name="adj1" fmla="val 60000"/>
            <a:gd name="adj2" fmla="val 50000"/>
          </a:avLst>
        </a:prstGeom>
        <a:solidFill>
          <a:srgbClr val="006EB6"/>
        </a:solidFill>
        <a:ln>
          <a:solidFill>
            <a:srgbClr val="006EB6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900" kern="1200" dirty="0"/>
        </a:p>
      </dsp:txBody>
      <dsp:txXfrm rot="10800000">
        <a:off x="2180073" y="3098416"/>
        <a:ext cx="336879" cy="366021"/>
      </dsp:txXfrm>
    </dsp:sp>
    <dsp:sp modelId="{74310E75-A4C9-4CC0-AD88-048F6978B051}">
      <dsp:nvSpPr>
        <dsp:cNvPr id="0" name=""/>
        <dsp:cNvSpPr/>
      </dsp:nvSpPr>
      <dsp:spPr>
        <a:xfrm>
          <a:off x="1177" y="2377670"/>
          <a:ext cx="1807512" cy="180751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6EB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/>
            <a:t>Economy of scope</a:t>
          </a:r>
        </a:p>
      </dsp:txBody>
      <dsp:txXfrm>
        <a:off x="265881" y="2642374"/>
        <a:ext cx="1278104" cy="1278104"/>
      </dsp:txXfrm>
    </dsp:sp>
    <dsp:sp modelId="{5FA5ED0C-E6B8-4EB6-8EB2-412B2F25A261}">
      <dsp:nvSpPr>
        <dsp:cNvPr id="0" name=""/>
        <dsp:cNvSpPr/>
      </dsp:nvSpPr>
      <dsp:spPr>
        <a:xfrm rot="18000000">
          <a:off x="1336381" y="1812340"/>
          <a:ext cx="481255" cy="610035"/>
        </a:xfrm>
        <a:prstGeom prst="rightArrow">
          <a:avLst>
            <a:gd name="adj1" fmla="val 60000"/>
            <a:gd name="adj2" fmla="val 50000"/>
          </a:avLst>
        </a:prstGeom>
        <a:solidFill>
          <a:srgbClr val="006EB6"/>
        </a:solidFill>
        <a:ln>
          <a:solidFill>
            <a:srgbClr val="006EB6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900" kern="1200" dirty="0"/>
        </a:p>
      </dsp:txBody>
      <dsp:txXfrm>
        <a:off x="1372475" y="1996864"/>
        <a:ext cx="336879" cy="36602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07A9E4-005B-46C2-A742-3C73DD9C4173}">
      <dsp:nvSpPr>
        <dsp:cNvPr id="0" name=""/>
        <dsp:cNvSpPr/>
      </dsp:nvSpPr>
      <dsp:spPr>
        <a:xfrm>
          <a:off x="10" y="0"/>
          <a:ext cx="2569852" cy="43513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0" kern="1200" dirty="0">
              <a:solidFill>
                <a:schemeClr val="accent3"/>
              </a:solidFill>
            </a:rPr>
            <a:t>Bridging Nordic Data Initiative</a:t>
          </a:r>
        </a:p>
      </dsp:txBody>
      <dsp:txXfrm>
        <a:off x="10" y="1740535"/>
        <a:ext cx="2569852" cy="1740535"/>
      </dsp:txXfrm>
    </dsp:sp>
    <dsp:sp modelId="{83ACB475-A3A6-4F2C-AC5F-FBB86D8B7228}">
      <dsp:nvSpPr>
        <dsp:cNvPr id="0" name=""/>
        <dsp:cNvSpPr/>
      </dsp:nvSpPr>
      <dsp:spPr>
        <a:xfrm>
          <a:off x="579210" y="285003"/>
          <a:ext cx="1448995" cy="1448995"/>
        </a:xfrm>
        <a:prstGeom prst="ellipse">
          <a:avLst/>
        </a:prstGeom>
        <a:blipFill>
          <a:blip xmlns:r="http://schemas.openxmlformats.org/officeDocument/2006/relationships" r:embed="rId1"/>
          <a:srcRect/>
          <a:stretch>
            <a:fillRect/>
          </a:stretch>
        </a:blipFill>
        <a:ln w="127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D5915B-839A-4E27-A9E6-67A6037C50D2}">
      <dsp:nvSpPr>
        <dsp:cNvPr id="0" name=""/>
        <dsp:cNvSpPr/>
      </dsp:nvSpPr>
      <dsp:spPr>
        <a:xfrm>
          <a:off x="2649399" y="0"/>
          <a:ext cx="2569852" cy="43513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0" kern="1200" dirty="0">
              <a:solidFill>
                <a:schemeClr val="accent3"/>
              </a:solidFill>
            </a:rPr>
            <a:t>Prevention</a:t>
          </a:r>
        </a:p>
      </dsp:txBody>
      <dsp:txXfrm>
        <a:off x="2649399" y="1740535"/>
        <a:ext cx="2569852" cy="1740535"/>
      </dsp:txXfrm>
    </dsp:sp>
    <dsp:sp modelId="{AFA6D25D-1B2C-478A-852D-96DB577AA6B5}">
      <dsp:nvSpPr>
        <dsp:cNvPr id="0" name=""/>
        <dsp:cNvSpPr/>
      </dsp:nvSpPr>
      <dsp:spPr>
        <a:xfrm>
          <a:off x="3209828" y="261080"/>
          <a:ext cx="1448995" cy="1448995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84050D-234B-4F80-9627-67D945F61CDE}">
      <dsp:nvSpPr>
        <dsp:cNvPr id="0" name=""/>
        <dsp:cNvSpPr/>
      </dsp:nvSpPr>
      <dsp:spPr>
        <a:xfrm>
          <a:off x="5279232" y="0"/>
          <a:ext cx="2569852" cy="43513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0" kern="1200" dirty="0">
              <a:solidFill>
                <a:schemeClr val="accent3"/>
              </a:solidFill>
            </a:rPr>
            <a:t>Healthy Cities</a:t>
          </a:r>
        </a:p>
      </dsp:txBody>
      <dsp:txXfrm>
        <a:off x="5279232" y="1740535"/>
        <a:ext cx="2569852" cy="1740535"/>
      </dsp:txXfrm>
    </dsp:sp>
    <dsp:sp modelId="{E1B127C6-5415-426C-920B-EFDC77538FA0}">
      <dsp:nvSpPr>
        <dsp:cNvPr id="0" name=""/>
        <dsp:cNvSpPr/>
      </dsp:nvSpPr>
      <dsp:spPr>
        <a:xfrm>
          <a:off x="5856776" y="261080"/>
          <a:ext cx="1448995" cy="1448995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000" r="-8000"/>
          </a:stretch>
        </a:blipFill>
        <a:ln w="127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697B1A-25B3-4DE3-B6D0-B571170DBC25}">
      <dsp:nvSpPr>
        <dsp:cNvPr id="0" name=""/>
        <dsp:cNvSpPr/>
      </dsp:nvSpPr>
      <dsp:spPr>
        <a:xfrm>
          <a:off x="7943295" y="0"/>
          <a:ext cx="2569852" cy="43513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0" kern="1200" dirty="0">
              <a:solidFill>
                <a:schemeClr val="accent3"/>
              </a:solidFill>
            </a:rPr>
            <a:t>Value Chain Collaboration</a:t>
          </a:r>
        </a:p>
      </dsp:txBody>
      <dsp:txXfrm>
        <a:off x="7943295" y="1740535"/>
        <a:ext cx="2569852" cy="1740535"/>
      </dsp:txXfrm>
    </dsp:sp>
    <dsp:sp modelId="{94984AB8-0372-4A5A-994A-D0BB8287CA6D}">
      <dsp:nvSpPr>
        <dsp:cNvPr id="0" name=""/>
        <dsp:cNvSpPr/>
      </dsp:nvSpPr>
      <dsp:spPr>
        <a:xfrm>
          <a:off x="8503724" y="366654"/>
          <a:ext cx="1448995" cy="1448995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3445AC-747D-4C07-AE8E-EA134DC1026D}">
      <dsp:nvSpPr>
        <dsp:cNvPr id="0" name=""/>
        <dsp:cNvSpPr/>
      </dsp:nvSpPr>
      <dsp:spPr>
        <a:xfrm flipH="1">
          <a:off x="243680" y="3590244"/>
          <a:ext cx="2084242" cy="373011"/>
        </a:xfrm>
        <a:prstGeom prst="leftRightArrow">
          <a:avLst/>
        </a:prstGeom>
        <a:solidFill>
          <a:schemeClr val="accent3"/>
        </a:solidFill>
        <a:ln w="1905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5C7A81-220D-428F-91E4-AB3A6110F949}" type="datetimeFigureOut">
              <a:rPr lang="da-DK" smtClean="0"/>
              <a:t>15-10-2019</a:t>
            </a:fld>
            <a:endParaRPr lang="da-DK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da-DK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A5E212-22B1-4CA0-A2A8-BD9DE40808ED}" type="slidenum">
              <a:rPr lang="da-DK" smtClean="0"/>
              <a:t>‹N°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025645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2066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73848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533B81-5D40-4F4F-9F61-5185C07E33CF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319144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18857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455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02874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69265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533B81-5D40-4F4F-9F61-5185C07E33CF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755145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01803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28437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8194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72636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82566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1552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65039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23900" indent="-368300">
              <a:buFont typeface="Corbel" panose="020B0503020204020204" pitchFamily="34" charset="0"/>
              <a:buChar char="—"/>
              <a:tabLst>
                <a:tab pos="723900" algn="l"/>
              </a:tabLst>
            </a:pPr>
            <a:endParaRPr lang="sv-S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663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Three goals – </a:t>
            </a:r>
            <a:r>
              <a:rPr lang="en-US" dirty="0"/>
              <a:t>two strategies for each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95670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208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bin"/><Relationship Id="rId3" Type="http://schemas.openxmlformats.org/officeDocument/2006/relationships/image" Target="../media/image5.bin"/><Relationship Id="rId7" Type="http://schemas.openxmlformats.org/officeDocument/2006/relationships/image" Target="../media/image9.bin"/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bin"/><Relationship Id="rId5" Type="http://schemas.openxmlformats.org/officeDocument/2006/relationships/image" Target="../media/image7.bin"/><Relationship Id="rId10" Type="http://schemas.openxmlformats.org/officeDocument/2006/relationships/image" Target="../media/image12.bin"/><Relationship Id="rId4" Type="http://schemas.openxmlformats.org/officeDocument/2006/relationships/image" Target="../media/image6.bin"/><Relationship Id="rId9" Type="http://schemas.openxmlformats.org/officeDocument/2006/relationships/image" Target="../media/image1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bin"/><Relationship Id="rId3" Type="http://schemas.openxmlformats.org/officeDocument/2006/relationships/image" Target="../media/image5.bin"/><Relationship Id="rId7" Type="http://schemas.openxmlformats.org/officeDocument/2006/relationships/image" Target="../media/image9.bin"/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bin"/><Relationship Id="rId5" Type="http://schemas.openxmlformats.org/officeDocument/2006/relationships/image" Target="../media/image7.bin"/><Relationship Id="rId10" Type="http://schemas.openxmlformats.org/officeDocument/2006/relationships/image" Target="../media/image12.bin"/><Relationship Id="rId4" Type="http://schemas.openxmlformats.org/officeDocument/2006/relationships/image" Target="../media/image6.bin"/><Relationship Id="rId9" Type="http://schemas.openxmlformats.org/officeDocument/2006/relationships/image" Target="../media/image11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bin"/><Relationship Id="rId3" Type="http://schemas.openxmlformats.org/officeDocument/2006/relationships/image" Target="../media/image5.bin"/><Relationship Id="rId7" Type="http://schemas.openxmlformats.org/officeDocument/2006/relationships/image" Target="../media/image9.bin"/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bin"/><Relationship Id="rId5" Type="http://schemas.openxmlformats.org/officeDocument/2006/relationships/image" Target="../media/image7.bin"/><Relationship Id="rId10" Type="http://schemas.openxmlformats.org/officeDocument/2006/relationships/image" Target="../media/image12.bin"/><Relationship Id="rId4" Type="http://schemas.openxmlformats.org/officeDocument/2006/relationships/image" Target="../media/image6.bin"/><Relationship Id="rId9" Type="http://schemas.openxmlformats.org/officeDocument/2006/relationships/image" Target="../media/image11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EBE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834" y="675392"/>
            <a:ext cx="5467917" cy="4766558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Håkan Lind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rgbClr val="006EB6"/>
                </a:solidFill>
              </a:defRPr>
            </a:lvl1pPr>
          </a:lstStyle>
          <a:p>
            <a:r>
              <a:rPr lang="en-GB"/>
              <a:t>3 January 2019</a:t>
            </a: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39" y="5949951"/>
            <a:ext cx="1691442" cy="50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209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000" b="1" i="1" baseline="0">
                <a:solidFill>
                  <a:srgbClr val="ADCFF1"/>
                </a:solidFill>
              </a:defRPr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>
                <a:solidFill>
                  <a:srgbClr val="ADCFF1"/>
                </a:solidFill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6" name="Freeform 5"/>
          <p:cNvSpPr>
            <a:spLocks noEditPoints="1"/>
          </p:cNvSpPr>
          <p:nvPr userDrawn="1"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rgbClr val="AECE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r>
              <a:rPr lang="en-GB"/>
              <a:t>03/01/2019</a:t>
            </a:r>
          </a:p>
        </p:txBody>
      </p:sp>
      <p:sp>
        <p:nvSpPr>
          <p:cNvPr id="6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27739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Char char="​"/>
              <a:defRPr sz="4000" b="1" i="1"/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/>
            </a:lvl2pPr>
          </a:lstStyle>
          <a:p>
            <a:pPr lvl="0"/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6152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, teks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376126"/>
            <a:ext cx="2676479" cy="205776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baseline="0"/>
            </a:lvl1pPr>
            <a:lvl2pPr marL="288000" indent="-288000">
              <a:lnSpc>
                <a:spcPct val="95000"/>
              </a:lnSpc>
              <a:buFont typeface="Corbel" panose="020B0503020204020204" pitchFamily="34" charset="0"/>
              <a:buChar char="—"/>
              <a:defRPr sz="1800"/>
            </a:lvl2pPr>
            <a:lvl3pPr marL="540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3pPr>
            <a:lvl4pPr marL="792000" indent="-252000">
              <a:lnSpc>
                <a:spcPct val="95000"/>
              </a:lnSpc>
              <a:buFont typeface="Arial" panose="020B0604020202020204" pitchFamily="34" charset="0"/>
              <a:buChar char="‒"/>
              <a:defRPr sz="1800"/>
            </a:lvl4pPr>
            <a:lvl5pPr marL="1044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5pPr>
            <a:lvl6pPr>
              <a:lnSpc>
                <a:spcPct val="95000"/>
              </a:lnSpc>
              <a:defRPr sz="1800"/>
            </a:lvl6pPr>
            <a:lvl7pPr>
              <a:lnSpc>
                <a:spcPct val="95000"/>
              </a:lnSpc>
              <a:defRPr sz="1800"/>
            </a:lvl7pPr>
            <a:lvl8pPr>
              <a:lnSpc>
                <a:spcPct val="95000"/>
              </a:lnSpc>
              <a:defRPr sz="1800"/>
            </a:lvl8pPr>
            <a:lvl9pPr>
              <a:lnSpc>
                <a:spcPct val="95000"/>
              </a:lnSpc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GB"/>
              <a:t>Click to add chart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7" y="4433887"/>
            <a:ext cx="2700337" cy="1575135"/>
          </a:xfrm>
        </p:spPr>
        <p:txBody>
          <a:bodyPr anchor="b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394074" y="1409699"/>
            <a:ext cx="8099424" cy="4550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025118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377192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 + note, ligh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37715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278565" cy="1285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</p:spTree>
    <p:extLst>
      <p:ext uri="{BB962C8B-B14F-4D97-AF65-F5344CB8AC3E}">
        <p14:creationId xmlns:p14="http://schemas.microsoft.com/office/powerpoint/2010/main" val="28678150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920240"/>
            <a:ext cx="4698964" cy="4029710"/>
          </a:xfrm>
        </p:spPr>
        <p:txBody>
          <a:bodyPr/>
          <a:lstStyle>
            <a:lvl1pPr>
              <a:lnSpc>
                <a:spcPct val="95000"/>
              </a:lnSpc>
              <a:defRPr sz="2200">
                <a:solidFill>
                  <a:srgbClr val="ADCFF1"/>
                </a:solidFill>
              </a:defRPr>
            </a:lvl1pPr>
            <a:lvl2pPr>
              <a:lnSpc>
                <a:spcPct val="95000"/>
              </a:lnSpc>
              <a:defRPr sz="2200">
                <a:solidFill>
                  <a:srgbClr val="ADCFF1"/>
                </a:solidFill>
              </a:defRPr>
            </a:lvl2pPr>
            <a:lvl3pPr>
              <a:lnSpc>
                <a:spcPct val="95000"/>
              </a:lnSpc>
              <a:defRPr sz="2200">
                <a:solidFill>
                  <a:srgbClr val="ADCFF1"/>
                </a:solidFill>
              </a:defRPr>
            </a:lvl3pPr>
            <a:lvl4pPr>
              <a:lnSpc>
                <a:spcPct val="95000"/>
              </a:lnSpc>
              <a:defRPr sz="2200">
                <a:solidFill>
                  <a:srgbClr val="ADCFF1"/>
                </a:solidFill>
              </a:defRPr>
            </a:lvl4pPr>
            <a:lvl5pPr>
              <a:lnSpc>
                <a:spcPct val="95000"/>
              </a:lnSpc>
              <a:defRPr sz="2200">
                <a:solidFill>
                  <a:srgbClr val="ADCFF1"/>
                </a:solidFill>
              </a:defRPr>
            </a:lvl5pPr>
            <a:lvl6pPr>
              <a:lnSpc>
                <a:spcPct val="95000"/>
              </a:lnSpc>
              <a:defRPr sz="1800">
                <a:solidFill>
                  <a:srgbClr val="ADCFF1"/>
                </a:solidFill>
              </a:defRPr>
            </a:lvl6pPr>
            <a:lvl7pPr>
              <a:lnSpc>
                <a:spcPct val="95000"/>
              </a:lnSpc>
              <a:defRPr sz="1800">
                <a:solidFill>
                  <a:srgbClr val="ADCFF1"/>
                </a:solidFill>
              </a:defRPr>
            </a:lvl7pPr>
            <a:lvl8pPr>
              <a:lnSpc>
                <a:spcPct val="95000"/>
              </a:lnSpc>
              <a:defRPr sz="1800">
                <a:solidFill>
                  <a:srgbClr val="ADCFF1"/>
                </a:solidFill>
              </a:defRPr>
            </a:lvl8pPr>
            <a:lvl9pPr>
              <a:lnSpc>
                <a:spcPct val="95000"/>
              </a:lnSpc>
              <a:defRPr sz="1800">
                <a:solidFill>
                  <a:srgbClr val="ADCFF1"/>
                </a:solidFill>
              </a:defRPr>
            </a:lvl9pPr>
          </a:lstStyle>
          <a:p>
            <a:pPr lvl="0"/>
            <a:r>
              <a:rPr lang="en-GB"/>
              <a:t>Click to add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4736133" cy="1285875"/>
          </a:xfrm>
        </p:spPr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8"/>
            <a:ext cx="325438" cy="328613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22353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72465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7795777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7740144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794750" y="0"/>
            <a:ext cx="3394463" cy="68580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0118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0" y="3425824"/>
            <a:ext cx="6094413" cy="3432175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7" name="FLD_Foot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8421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476515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Håkan Lind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  <a:noFill/>
        </p:spPr>
        <p:txBody>
          <a:bodyPr/>
          <a:lstStyle>
            <a:lvl1pPr>
              <a:defRPr sz="1350">
                <a:solidFill>
                  <a:srgbClr val="ADCFF1"/>
                </a:solidFill>
              </a:defRPr>
            </a:lvl1pPr>
          </a:lstStyle>
          <a:p>
            <a:r>
              <a:rPr lang="en-GB"/>
              <a:t>3 January 2019</a:t>
            </a: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39" y="5949951"/>
            <a:ext cx="1691442" cy="50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3731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3425823"/>
            <a:ext cx="2699950" cy="34344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794751" y="3425823"/>
            <a:ext cx="3394462" cy="3434400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7" name="FLD_Footer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40927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89601" cy="6858000"/>
          </a:xfrm>
          <a:solidFill>
            <a:schemeClr val="bg1">
              <a:lumMod val="85000"/>
            </a:schemeClr>
          </a:solidFill>
        </p:spPr>
        <p:txBody>
          <a:bodyPr tIns="972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437845" cy="134633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7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11153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  <p:sp>
        <p:nvSpPr>
          <p:cNvPr id="11" name="USR_Name"/>
          <p:cNvSpPr>
            <a:spLocks noGrp="1"/>
          </p:cNvSpPr>
          <p:nvPr>
            <p:ph type="body" sz="quarter" idx="13" hasCustomPrompt="1"/>
          </p:nvPr>
        </p:nvSpPr>
        <p:spPr>
          <a:xfrm>
            <a:off x="3394074" y="1915152"/>
            <a:ext cx="8099423" cy="601488"/>
          </a:xfrm>
        </p:spPr>
        <p:txBody>
          <a:bodyPr anchor="b" anchorCtr="0"/>
          <a:lstStyle>
            <a:lvl1pPr marL="0" indent="0">
              <a:buFontTx/>
              <a:buNone/>
              <a:defRPr sz="2800" b="1"/>
            </a:lvl1pPr>
          </a:lstStyle>
          <a:p>
            <a:pPr lvl="0"/>
            <a:r>
              <a:rPr lang="en-GB"/>
              <a:t>Håkan Lind</a:t>
            </a:r>
          </a:p>
        </p:txBody>
      </p:sp>
      <p:sp>
        <p:nvSpPr>
          <p:cNvPr id="14" name="USR_Title"/>
          <p:cNvSpPr>
            <a:spLocks noGrp="1"/>
          </p:cNvSpPr>
          <p:nvPr>
            <p:ph type="body" sz="quarter" idx="14" hasCustomPrompt="1"/>
          </p:nvPr>
        </p:nvSpPr>
        <p:spPr>
          <a:xfrm>
            <a:off x="3394075" y="2630186"/>
            <a:ext cx="8099421" cy="445700"/>
          </a:xfr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Senior Innovation Adviser</a:t>
            </a:r>
          </a:p>
        </p:txBody>
      </p:sp>
      <p:sp>
        <p:nvSpPr>
          <p:cNvPr id="16" name="USR_Email"/>
          <p:cNvSpPr>
            <a:spLocks noGrp="1"/>
          </p:cNvSpPr>
          <p:nvPr>
            <p:ph type="body" sz="quarter" idx="15" hasCustomPrompt="1"/>
          </p:nvPr>
        </p:nvSpPr>
        <p:spPr>
          <a:xfrm>
            <a:off x="3394074" y="3166672"/>
            <a:ext cx="8099425" cy="484188"/>
          </a:xfrm>
        </p:spPr>
        <p:txBody>
          <a:bodyPr/>
          <a:lstStyle>
            <a:lvl1pPr marL="0" indent="0">
              <a:buNone/>
              <a:defRPr sz="2800" b="1" baseline="0"/>
            </a:lvl1pPr>
          </a:lstStyle>
          <a:p>
            <a:pPr lvl="0"/>
            <a:r>
              <a:rPr lang="en-GB"/>
              <a:t>h.lind@nordicinnovation.org</a:t>
            </a:r>
          </a:p>
        </p:txBody>
      </p:sp>
      <p:sp>
        <p:nvSpPr>
          <p:cNvPr id="17" name="USR_DirectPhone"/>
          <p:cNvSpPr>
            <a:spLocks noGrp="1"/>
          </p:cNvSpPr>
          <p:nvPr>
            <p:ph type="body" sz="quarter" idx="16" hasCustomPrompt="1"/>
          </p:nvPr>
        </p:nvSpPr>
        <p:spPr>
          <a:xfrm>
            <a:off x="3394074" y="3607704"/>
            <a:ext cx="8099425" cy="484188"/>
          </a:xfrm>
        </p:spPr>
        <p:txBody>
          <a:bodyPr/>
          <a:lstStyle>
            <a:lvl1pPr marL="0" indent="0">
              <a:buNone/>
              <a:defRPr sz="2800" b="1" baseline="0"/>
            </a:lvl1pPr>
          </a:lstStyle>
          <a:p>
            <a:pPr lvl="0"/>
            <a:r>
              <a:rPr lang="en-GB"/>
              <a:t>+4790724533</a:t>
            </a:r>
          </a:p>
        </p:txBody>
      </p:sp>
      <p:sp>
        <p:nvSpPr>
          <p:cNvPr id="20" name="OFF_companyname"/>
          <p:cNvSpPr>
            <a:spLocks noGrp="1"/>
          </p:cNvSpPr>
          <p:nvPr>
            <p:ph type="body" sz="quarter" idx="18" hasCustomPrompt="1"/>
          </p:nvPr>
        </p:nvSpPr>
        <p:spPr>
          <a:xfrm>
            <a:off x="3394078" y="4426564"/>
            <a:ext cx="8099422" cy="330367"/>
          </a:xfrm>
        </p:spPr>
        <p:txBody>
          <a:bodyPr anchor="b" anchorCtr="0"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GB"/>
              <a:t>Nordic Innovation</a:t>
            </a:r>
          </a:p>
        </p:txBody>
      </p:sp>
      <p:sp>
        <p:nvSpPr>
          <p:cNvPr id="19" name="USR_Address"/>
          <p:cNvSpPr>
            <a:spLocks noGrp="1"/>
          </p:cNvSpPr>
          <p:nvPr>
            <p:ph type="body" sz="quarter" idx="17" hasCustomPrompt="1"/>
          </p:nvPr>
        </p:nvSpPr>
        <p:spPr>
          <a:xfrm>
            <a:off x="3394074" y="4757888"/>
            <a:ext cx="8099422" cy="330367"/>
          </a:xfrm>
        </p:spPr>
        <p:txBody>
          <a:bodyPr anchor="t" anchorCtr="0"/>
          <a:lstStyle>
            <a:lvl1pPr marL="0" indent="0">
              <a:buNone/>
              <a:defRPr sz="1800"/>
            </a:lvl1pPr>
          </a:lstStyle>
          <a:p>
            <a:pPr lvl="0"/>
            <a:r>
              <a:rPr lang="en-GB"/>
              <a:t>Click to add address</a:t>
            </a:r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26414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792000" anchor="ctr" anchorCtr="0"/>
          <a:lstStyle>
            <a:lvl1pPr marL="0" indent="0" algn="ctr">
              <a:buNone/>
              <a:tabLst>
                <a:tab pos="1700213" algn="l"/>
              </a:tabLst>
              <a:defRPr sz="2200" baseline="0">
                <a:solidFill>
                  <a:srgbClr val="ADCFF1"/>
                </a:solidFill>
              </a:defRPr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LAN_Thanks"/>
          <p:cNvSpPr>
            <a:spLocks noGrp="1"/>
          </p:cNvSpPr>
          <p:nvPr>
            <p:ph type="title" hasCustomPrompt="1"/>
          </p:nvPr>
        </p:nvSpPr>
        <p:spPr>
          <a:xfrm>
            <a:off x="3326400" y="1639401"/>
            <a:ext cx="8167098" cy="1490661"/>
          </a:xfrm>
        </p:spPr>
        <p:txBody>
          <a:bodyPr anchor="t" anchorCtr="0"/>
          <a:lstStyle>
            <a:lvl1pPr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/>
              <a:t>Thanks.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9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33421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00268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3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48331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 userDrawn="1"/>
        </p:nvSpPr>
        <p:spPr>
          <a:xfrm>
            <a:off x="663759" y="375883"/>
            <a:ext cx="10931524" cy="614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ser guide – delete</a:t>
            </a:r>
            <a:r>
              <a:rPr lang="en-GB" sz="4800" baseline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 before use</a:t>
            </a:r>
            <a:endParaRPr lang="en-GB" sz="4800">
              <a:solidFill>
                <a:schemeClr val="accent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/>
          </p:cNvSpPr>
          <p:nvPr userDrawn="1"/>
        </p:nvSpPr>
        <p:spPr bwMode="gray">
          <a:xfrm>
            <a:off x="7456919" y="3114505"/>
            <a:ext cx="2160000" cy="113877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ck mark next to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ing of guides</a:t>
            </a:r>
            <a:endParaRPr lang="en-GB"/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7456919" y="1409700"/>
            <a:ext cx="2160000" cy="158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</a:t>
            </a:r>
            <a:b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ll the corrections with you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on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r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  <a:endParaRPr lang="en-GB"/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4359622" y="1409700"/>
            <a:ext cx="2160000" cy="78483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pictureplaceholder and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/>
              <a:t>insert picture via </a:t>
            </a:r>
            <a:r>
              <a:rPr lang="en-GB" sz="900" b="1"/>
              <a:t>Add Images</a:t>
            </a:r>
            <a:r>
              <a:rPr lang="en-GB" sz="900"/>
              <a:t>-button </a:t>
            </a:r>
            <a:br>
              <a:rPr lang="en-GB" sz="900"/>
            </a:br>
            <a:r>
              <a:rPr lang="en-GB" sz="900"/>
              <a:t>in the </a:t>
            </a:r>
            <a:r>
              <a:rPr lang="en-GB" sz="900" b="1"/>
              <a:t>Nordic Innovation-</a:t>
            </a:r>
            <a:r>
              <a:rPr lang="en-GB" sz="900" baseline="0"/>
              <a:t>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Box 12"/>
          <p:cNvSpPr txBox="1">
            <a:spLocks noChangeArrowheads="1"/>
          </p:cNvSpPr>
          <p:nvPr userDrawn="1"/>
        </p:nvSpPr>
        <p:spPr bwMode="auto">
          <a:xfrm>
            <a:off x="4359622" y="2220228"/>
            <a:ext cx="2160000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cture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/>
              <a:t>Nordic Innovation</a:t>
            </a:r>
            <a:r>
              <a:rPr lang="en-GB" sz="900" b="0" baseline="0">
                <a:latin typeface="+mn-lt"/>
              </a:rPr>
              <a:t>-TAB </a:t>
            </a:r>
            <a:br>
              <a:rPr lang="en-GB" sz="900" b="0" baseline="0">
                <a:latin typeface="+mn-lt"/>
              </a:rPr>
            </a:br>
            <a:r>
              <a:rPr lang="en-GB" sz="900" b="0" baseline="0">
                <a:latin typeface="+mn-lt"/>
              </a:rPr>
              <a:t>and 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Tools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rop down </a:t>
            </a:r>
            <a:b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, choose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change</a:t>
            </a: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size</a:t>
            </a: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b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or </a:t>
            </a:r>
            <a: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f the picture</a:t>
            </a:r>
            <a:endParaRPr lang="en-GB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</a:t>
            </a:r>
            <a:r>
              <a:rPr lang="en-GB" alt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icture</a:t>
            </a:r>
            <a:endParaRPr lang="en-GB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</a:t>
            </a: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ext Box 48"/>
          <p:cNvSpPr txBox="1">
            <a:spLocks noChangeArrowheads="1"/>
          </p:cNvSpPr>
          <p:nvPr userDrawn="1"/>
        </p:nvSpPr>
        <p:spPr bwMode="auto">
          <a:xfrm>
            <a:off x="693739" y="3277385"/>
            <a:ext cx="2160000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 new slide</a:t>
            </a:r>
            <a:endParaRPr lang="en-GB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AutoShape 4"/>
          <p:cNvSpPr>
            <a:spLocks/>
          </p:cNvSpPr>
          <p:nvPr userDrawn="1"/>
        </p:nvSpPr>
        <p:spPr bwMode="gray">
          <a:xfrm>
            <a:off x="706058" y="4709084"/>
            <a:ext cx="2160000" cy="86177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9" name="Text Box 48"/>
          <p:cNvSpPr txBox="1">
            <a:spLocks noChangeArrowheads="1"/>
          </p:cNvSpPr>
          <p:nvPr userDrawn="1"/>
        </p:nvSpPr>
        <p:spPr bwMode="auto">
          <a:xfrm>
            <a:off x="693740" y="1409700"/>
            <a:ext cx="2486866" cy="160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if you want regula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. Click ENTER and then Bullet-button for correct bullet.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 level to the next level</a:t>
            </a:r>
            <a:endParaRPr lang="en-GB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36522" y="5109345"/>
            <a:ext cx="492452" cy="200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38544" y="3538594"/>
            <a:ext cx="324764" cy="578237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3034534" y="4208198"/>
            <a:ext cx="593368" cy="192211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05150" y="2651636"/>
            <a:ext cx="549328" cy="285228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4130" y="3299068"/>
            <a:ext cx="359695" cy="3353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033346" y="1652716"/>
            <a:ext cx="297872" cy="1833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44130" y="1609684"/>
            <a:ext cx="379911" cy="5194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244130" y="2375882"/>
            <a:ext cx="397317" cy="5880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0"/>
          <a:srcRect t="37299" r="32484" b="50317"/>
          <a:stretch/>
        </p:blipFill>
        <p:spPr>
          <a:xfrm>
            <a:off x="6284541" y="3015268"/>
            <a:ext cx="605090" cy="13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546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>
              <a:solidFill>
                <a:schemeClr val="tx1"/>
              </a:solidFill>
            </a:endParaRPr>
          </a:p>
        </p:txBody>
      </p:sp>
      <p:sp>
        <p:nvSpPr>
          <p:cNvPr id="9" name="#nordicsolutions"/>
          <p:cNvSpPr/>
          <p:nvPr userDrawn="1"/>
        </p:nvSpPr>
        <p:spPr>
          <a:xfrm>
            <a:off x="9345600" y="3708000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000" y="1627200"/>
            <a:ext cx="8664083" cy="381475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rgbClr val="F4294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12943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rgbClr val="F4294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Mette </a:t>
            </a:r>
            <a:r>
              <a:rPr lang="en-GB" err="1"/>
              <a:t>Agger</a:t>
            </a:r>
            <a:r>
              <a:rPr lang="en-GB"/>
              <a:t> Tang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6094413" y="6292743"/>
            <a:ext cx="5399087" cy="176724"/>
          </a:xfrm>
        </p:spPr>
        <p:txBody>
          <a:bodyPr/>
          <a:lstStyle>
            <a:lvl1pPr>
              <a:defRPr sz="1350">
                <a:solidFill>
                  <a:srgbClr val="F42941"/>
                </a:solidFill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/>
              <a:t> 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</p:spTree>
    <p:extLst>
      <p:ext uri="{BB962C8B-B14F-4D97-AF65-F5344CB8AC3E}">
        <p14:creationId xmlns:p14="http://schemas.microsoft.com/office/powerpoint/2010/main" val="13418358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amme"/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>
              <a:solidFill>
                <a:schemeClr val="tx1"/>
              </a:solidFill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11865600" cy="6534000"/>
          </a:xfrm>
          <a:custGeom>
            <a:avLst/>
            <a:gdLst>
              <a:gd name="connsiteX0" fmla="*/ 0 w 11865600"/>
              <a:gd name="connsiteY0" fmla="*/ 0 h 6534000"/>
              <a:gd name="connsiteX1" fmla="*/ 11865600 w 11865600"/>
              <a:gd name="connsiteY1" fmla="*/ 0 h 6534000"/>
              <a:gd name="connsiteX2" fmla="*/ 11865600 w 11865600"/>
              <a:gd name="connsiteY2" fmla="*/ 3546000 h 6534000"/>
              <a:gd name="connsiteX3" fmla="*/ 9183600 w 11865600"/>
              <a:gd name="connsiteY3" fmla="*/ 3546000 h 6534000"/>
              <a:gd name="connsiteX4" fmla="*/ 9183600 w 11865600"/>
              <a:gd name="connsiteY4" fmla="*/ 4537674 h 6534000"/>
              <a:gd name="connsiteX5" fmla="*/ 11865600 w 11865600"/>
              <a:gd name="connsiteY5" fmla="*/ 4537674 h 6534000"/>
              <a:gd name="connsiteX6" fmla="*/ 11865600 w 11865600"/>
              <a:gd name="connsiteY6" fmla="*/ 6534000 h 6534000"/>
              <a:gd name="connsiteX7" fmla="*/ 0 w 118656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65600" h="6534000">
                <a:moveTo>
                  <a:pt x="0" y="0"/>
                </a:moveTo>
                <a:lnTo>
                  <a:pt x="11865600" y="0"/>
                </a:lnTo>
                <a:lnTo>
                  <a:pt x="11865600" y="3546000"/>
                </a:lnTo>
                <a:lnTo>
                  <a:pt x="9183600" y="3546000"/>
                </a:lnTo>
                <a:lnTo>
                  <a:pt x="9183600" y="4537674"/>
                </a:lnTo>
                <a:lnTo>
                  <a:pt x="11865600" y="4537674"/>
                </a:lnTo>
                <a:lnTo>
                  <a:pt x="11865600" y="6534000"/>
                </a:lnTo>
                <a:lnTo>
                  <a:pt x="0" y="6534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baseline="0"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000" y="1627200"/>
            <a:ext cx="8101014" cy="777905"/>
          </a:xfrm>
        </p:spPr>
        <p:txBody>
          <a:bodyPr anchor="t" anchorCtr="0">
            <a:spAutoFit/>
          </a:bodyPr>
          <a:lstStyle>
            <a:lvl1pPr algn="l">
              <a:lnSpc>
                <a:spcPct val="83000"/>
              </a:lnSpc>
              <a:defRPr sz="6000">
                <a:solidFill>
                  <a:srgbClr val="F4294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12943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rgbClr val="F4294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Mette </a:t>
            </a:r>
            <a:r>
              <a:rPr lang="en-GB" err="1"/>
              <a:t>Agger</a:t>
            </a:r>
            <a:r>
              <a:rPr lang="en-GB"/>
              <a:t> Tang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6094413" y="6292743"/>
            <a:ext cx="5399087" cy="176724"/>
          </a:xfrm>
        </p:spPr>
        <p:txBody>
          <a:bodyPr/>
          <a:lstStyle>
            <a:lvl1pPr>
              <a:defRPr sz="1350">
                <a:solidFill>
                  <a:srgbClr val="F42941"/>
                </a:solidFill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9434" y="6163200"/>
            <a:ext cx="3600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4" name="#nordicsolutions"/>
          <p:cNvSpPr/>
          <p:nvPr userDrawn="1"/>
        </p:nvSpPr>
        <p:spPr>
          <a:xfrm>
            <a:off x="9345600" y="3708000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98014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ggrund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11865600" cy="6534000"/>
          </a:xfrm>
          <a:custGeom>
            <a:avLst/>
            <a:gdLst>
              <a:gd name="connsiteX0" fmla="*/ 0 w 11865600"/>
              <a:gd name="connsiteY0" fmla="*/ 0 h 6534000"/>
              <a:gd name="connsiteX1" fmla="*/ 11865600 w 11865600"/>
              <a:gd name="connsiteY1" fmla="*/ 0 h 6534000"/>
              <a:gd name="connsiteX2" fmla="*/ 11865600 w 11865600"/>
              <a:gd name="connsiteY2" fmla="*/ 6534000 h 6534000"/>
              <a:gd name="connsiteX3" fmla="*/ 0 w 11865600"/>
              <a:gd name="connsiteY3" fmla="*/ 6534000 h 6534000"/>
              <a:gd name="connsiteX4" fmla="*/ 0 w 11865600"/>
              <a:gd name="connsiteY4" fmla="*/ 5128458 h 6534000"/>
              <a:gd name="connsiteX5" fmla="*/ 5932413 w 11865600"/>
              <a:gd name="connsiteY5" fmla="*/ 5128458 h 6534000"/>
              <a:gd name="connsiteX6" fmla="*/ 5932413 w 11865600"/>
              <a:gd name="connsiteY6" fmla="*/ 768729 h 6534000"/>
              <a:gd name="connsiteX7" fmla="*/ 0 w 11865600"/>
              <a:gd name="connsiteY7" fmla="*/ 768729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65600" h="6534000">
                <a:moveTo>
                  <a:pt x="0" y="0"/>
                </a:moveTo>
                <a:lnTo>
                  <a:pt x="11865600" y="0"/>
                </a:lnTo>
                <a:lnTo>
                  <a:pt x="11865600" y="6534000"/>
                </a:lnTo>
                <a:lnTo>
                  <a:pt x="0" y="6534000"/>
                </a:lnTo>
                <a:lnTo>
                  <a:pt x="0" y="5128458"/>
                </a:lnTo>
                <a:lnTo>
                  <a:pt x="5932413" y="5128458"/>
                </a:lnTo>
                <a:lnTo>
                  <a:pt x="5932413" y="768729"/>
                </a:lnTo>
                <a:lnTo>
                  <a:pt x="0" y="76872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baseline="0"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000" y="1627200"/>
            <a:ext cx="5207349" cy="1532727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3000"/>
              </a:lnSpc>
              <a:defRPr sz="6000">
                <a:solidFill>
                  <a:srgbClr val="FFF0BE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9434" y="6163200"/>
            <a:ext cx="3600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6094413" y="6290786"/>
            <a:ext cx="5399087" cy="176724"/>
          </a:xfrm>
        </p:spPr>
        <p:txBody>
          <a:bodyPr/>
          <a:lstStyle>
            <a:lvl1pPr>
              <a:defRPr sz="1350">
                <a:solidFill>
                  <a:srgbClr val="F42941"/>
                </a:solidFill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3" name="#nordicsolutions"/>
          <p:cNvSpPr/>
          <p:nvPr userDrawn="1"/>
        </p:nvSpPr>
        <p:spPr>
          <a:xfrm>
            <a:off x="550800" y="3708000"/>
            <a:ext cx="2843917" cy="991674"/>
          </a:xfrm>
          <a:prstGeom prst="rect">
            <a:avLst/>
          </a:prstGeom>
          <a:solidFill>
            <a:srgbClr val="F42941"/>
          </a:solidFill>
          <a:ln>
            <a:solidFill>
              <a:srgbClr val="F429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  <p:sp>
        <p:nvSpPr>
          <p:cNvPr id="17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12943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rgbClr val="F4294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Mette </a:t>
            </a:r>
            <a:r>
              <a:rPr lang="en-GB" err="1"/>
              <a:t>Agger</a:t>
            </a:r>
            <a:r>
              <a:rPr lang="en-GB"/>
              <a:t> Tang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</p:spTree>
    <p:extLst>
      <p:ext uri="{BB962C8B-B14F-4D97-AF65-F5344CB8AC3E}">
        <p14:creationId xmlns:p14="http://schemas.microsoft.com/office/powerpoint/2010/main" val="15412995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Håkan Lind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rgbClr val="006EB6"/>
                </a:solidFill>
              </a:defRPr>
            </a:lvl1pPr>
          </a:lstStyle>
          <a:p>
            <a:r>
              <a:rPr lang="en-GB"/>
              <a:t>3 January 2019</a:t>
            </a: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4800" y="5950800"/>
            <a:ext cx="1692000" cy="5076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441232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add title in max 1 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18010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096496"/>
            <a:ext cx="10799760" cy="3853454"/>
          </a:xfrm>
        </p:spPr>
        <p:txBody>
          <a:bodyPr/>
          <a:lstStyle>
            <a:lvl1pPr marL="0" indent="0">
              <a:lnSpc>
                <a:spcPct val="98000"/>
              </a:lnSpc>
              <a:buFont typeface="Open Sans" panose="020B0606030504020204" pitchFamily="34" charset="0"/>
              <a:buChar char="​"/>
              <a:defRPr sz="2800"/>
            </a:lvl1pPr>
            <a:lvl2pPr marL="468000" indent="-468000">
              <a:lnSpc>
                <a:spcPct val="98000"/>
              </a:lnSpc>
              <a:buFont typeface="Arial" panose="020B0604020202020204" pitchFamily="34" charset="0"/>
              <a:buChar char="―"/>
              <a:defRPr sz="2800"/>
            </a:lvl2pPr>
            <a:lvl3pPr marL="720000" indent="-252000">
              <a:lnSpc>
                <a:spcPct val="98000"/>
              </a:lnSpc>
              <a:buFont typeface="Symbol" panose="05050102010706020507" pitchFamily="18" charset="2"/>
              <a:buChar char=""/>
              <a:defRPr sz="2800"/>
            </a:lvl3pPr>
            <a:lvl4pPr marL="972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4pPr>
            <a:lvl5pPr marL="1224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5pPr>
            <a:lvl6pPr marL="1476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6pPr>
            <a:lvl7pPr marL="1728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7pPr>
            <a:lvl8pPr marL="1980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8pPr>
            <a:lvl9pPr marL="2232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9pPr>
          </a:lstStyle>
          <a:p>
            <a:pPr lvl="0"/>
            <a:r>
              <a:rPr lang="en-GB"/>
              <a:t>Click to add intro text</a:t>
            </a:r>
          </a:p>
          <a:p>
            <a:pPr lvl="1"/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18935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3738" y="2162340"/>
            <a:ext cx="10799761" cy="37876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/>
              <a:t>Click to add text or conte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5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66986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5932800" cy="6534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162000"/>
            <a:ext cx="5936400" cy="3265200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94800" y="3427200"/>
            <a:ext cx="2701151" cy="3268800"/>
          </a:xfrm>
          <a:solidFill>
            <a:schemeClr val="bg1">
              <a:lumMod val="75000"/>
            </a:schemeClr>
          </a:solidFill>
        </p:spPr>
        <p:txBody>
          <a:bodyPr tIns="0" bIns="1548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6" hasCustomPrompt="1"/>
          </p:nvPr>
        </p:nvSpPr>
        <p:spPr>
          <a:xfrm>
            <a:off x="8794750" y="3427200"/>
            <a:ext cx="3240000" cy="3268800"/>
          </a:xfrm>
          <a:custGeom>
            <a:avLst/>
            <a:gdLst>
              <a:gd name="connsiteX0" fmla="*/ 0 w 3240000"/>
              <a:gd name="connsiteY0" fmla="*/ 0 h 3268800"/>
              <a:gd name="connsiteX1" fmla="*/ 3240000 w 3240000"/>
              <a:gd name="connsiteY1" fmla="*/ 0 h 3268800"/>
              <a:gd name="connsiteX2" fmla="*/ 3240000 w 3240000"/>
              <a:gd name="connsiteY2" fmla="*/ 1685228 h 3268800"/>
              <a:gd name="connsiteX3" fmla="*/ 550850 w 3240000"/>
              <a:gd name="connsiteY3" fmla="*/ 1685228 h 3268800"/>
              <a:gd name="connsiteX4" fmla="*/ 550850 w 3240000"/>
              <a:gd name="connsiteY4" fmla="*/ 2676902 h 3268800"/>
              <a:gd name="connsiteX5" fmla="*/ 3240000 w 3240000"/>
              <a:gd name="connsiteY5" fmla="*/ 2676902 h 3268800"/>
              <a:gd name="connsiteX6" fmla="*/ 3240000 w 3240000"/>
              <a:gd name="connsiteY6" fmla="*/ 3268800 h 3268800"/>
              <a:gd name="connsiteX7" fmla="*/ 0 w 3240000"/>
              <a:gd name="connsiteY7" fmla="*/ 3268800 h 326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40000" h="3268800">
                <a:moveTo>
                  <a:pt x="0" y="0"/>
                </a:moveTo>
                <a:lnTo>
                  <a:pt x="3240000" y="0"/>
                </a:lnTo>
                <a:lnTo>
                  <a:pt x="3240000" y="1685228"/>
                </a:lnTo>
                <a:lnTo>
                  <a:pt x="550850" y="1685228"/>
                </a:lnTo>
                <a:lnTo>
                  <a:pt x="550850" y="2676902"/>
                </a:lnTo>
                <a:lnTo>
                  <a:pt x="3240000" y="2676902"/>
                </a:lnTo>
                <a:lnTo>
                  <a:pt x="3240000" y="3268800"/>
                </a:lnTo>
                <a:lnTo>
                  <a:pt x="0" y="32688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0" bIns="154800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6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</p:spTree>
    <p:extLst>
      <p:ext uri="{BB962C8B-B14F-4D97-AF65-F5344CB8AC3E}">
        <p14:creationId xmlns:p14="http://schemas.microsoft.com/office/powerpoint/2010/main" val="29113841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3468" y="1353254"/>
            <a:ext cx="8152869" cy="3080633"/>
          </a:xfrm>
        </p:spPr>
        <p:txBody>
          <a:bodyPr/>
          <a:lstStyle>
            <a:lvl1pPr>
              <a:lnSpc>
                <a:spcPct val="83000"/>
              </a:lnSpc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Use bold for highlighted text, other text regular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51044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12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accent1"/>
                </a:solidFill>
              </a:rPr>
              <a:t>#</a:t>
            </a:r>
            <a:r>
              <a:rPr lang="en-GB" sz="2200" b="1" err="1">
                <a:solidFill>
                  <a:schemeClr val="accent1"/>
                </a:solidFill>
              </a:rPr>
              <a:t>nordicsolutions</a:t>
            </a:r>
            <a:r>
              <a:rPr lang="en-GB" sz="2200" b="1">
                <a:solidFill>
                  <a:schemeClr val="accent1"/>
                </a:solidFill>
              </a:rPr>
              <a:t/>
            </a:r>
            <a:br>
              <a:rPr lang="en-GB" sz="2200" b="1">
                <a:solidFill>
                  <a:schemeClr val="accent1"/>
                </a:solidFill>
              </a:rPr>
            </a:br>
            <a:r>
              <a:rPr lang="en-GB" sz="2200" b="1">
                <a:solidFill>
                  <a:schemeClr val="accent1"/>
                </a:solidFill>
              </a:rPr>
              <a:t>to global challenges</a:t>
            </a:r>
          </a:p>
        </p:txBody>
      </p:sp>
      <p:sp>
        <p:nvSpPr>
          <p:cNvPr id="13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>
              <a:solidFill>
                <a:schemeClr val="tx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04690"/>
            <a:ext cx="10799762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Open Sans" panose="020B0606030504020204" pitchFamily="34" charset="0"/>
              <a:buChar char="​"/>
              <a:defRPr sz="4000" b="1" i="1">
                <a:solidFill>
                  <a:schemeClr val="bg2"/>
                </a:solidFill>
              </a:defRPr>
            </a:lvl1pPr>
            <a:lvl2pPr marL="0" indent="0">
              <a:spcBef>
                <a:spcPts val="1800"/>
              </a:spcBef>
              <a:buFont typeface="Open Sans" panose="020B0606030504020204" pitchFamily="34" charset="0"/>
              <a:buChar char="​"/>
              <a:defRPr>
                <a:solidFill>
                  <a:schemeClr val="bg2"/>
                </a:solidFill>
              </a:defRPr>
            </a:lvl2pPr>
          </a:lstStyle>
          <a:p>
            <a:pPr lvl="0"/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68962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17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  <p:sp>
        <p:nvSpPr>
          <p:cNvPr id="11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>
              <a:solidFill>
                <a:schemeClr val="tx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04690"/>
            <a:ext cx="10799762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Open Sans" panose="020B0606030504020204" pitchFamily="34" charset="0"/>
              <a:buChar char="​"/>
              <a:defRPr sz="4000" b="1" i="1">
                <a:solidFill>
                  <a:srgbClr val="F42941"/>
                </a:solidFill>
              </a:defRPr>
            </a:lvl1pPr>
            <a:lvl2pPr marL="0" indent="0">
              <a:spcBef>
                <a:spcPts val="1800"/>
              </a:spcBef>
              <a:buFont typeface="Open Sans" panose="020B0606030504020204" pitchFamily="34" charset="0"/>
              <a:buChar char="​"/>
              <a:defRPr>
                <a:solidFill>
                  <a:srgbClr val="F42941"/>
                </a:solidFill>
              </a:defRPr>
            </a:lvl2pPr>
          </a:lstStyle>
          <a:p>
            <a:pPr lvl="0"/>
            <a:r>
              <a:rPr lang="en-GB"/>
              <a:t>Insert quotation text in several lines. Insert name or source: Click ENTER for new line, click TAB, insert name/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855440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, teks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>
              <a:solidFill>
                <a:schemeClr val="tx1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10836932" cy="101867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376126"/>
            <a:ext cx="2676479" cy="205776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None/>
              <a:tabLst/>
              <a:defRPr sz="1800" b="1" baseline="0"/>
            </a:lvl1pPr>
            <a:lvl2pPr marL="288000" indent="-288000">
              <a:lnSpc>
                <a:spcPct val="95000"/>
              </a:lnSpc>
              <a:buFont typeface="Corbel" panose="020B0503020204020204" pitchFamily="34" charset="0"/>
              <a:buChar char="—"/>
              <a:defRPr sz="1800"/>
            </a:lvl2pPr>
            <a:lvl3pPr marL="540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3pPr>
            <a:lvl4pPr marL="792000" indent="-252000">
              <a:lnSpc>
                <a:spcPct val="95000"/>
              </a:lnSpc>
              <a:buFont typeface="Arial" panose="020B0604020202020204" pitchFamily="34" charset="0"/>
              <a:buChar char="‒"/>
              <a:defRPr sz="1800"/>
            </a:lvl4pPr>
            <a:lvl5pPr marL="1044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5pPr>
            <a:lvl6pPr>
              <a:lnSpc>
                <a:spcPct val="95000"/>
              </a:lnSpc>
              <a:defRPr sz="1800"/>
            </a:lvl6pPr>
            <a:lvl7pPr>
              <a:lnSpc>
                <a:spcPct val="95000"/>
              </a:lnSpc>
              <a:defRPr sz="1800"/>
            </a:lvl7pPr>
            <a:lvl8pPr>
              <a:lnSpc>
                <a:spcPct val="95000"/>
              </a:lnSpc>
              <a:defRPr sz="1800"/>
            </a:lvl8pPr>
            <a:lvl9pPr>
              <a:lnSpc>
                <a:spcPct val="95000"/>
              </a:lnSpc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Char char="​"/>
              <a:tabLst/>
              <a:defRPr/>
            </a:pPr>
            <a:r>
              <a:rPr lang="en-GB"/>
              <a:t>Click to add chart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7" y="4433887"/>
            <a:ext cx="2700337" cy="1575135"/>
          </a:xfrm>
        </p:spPr>
        <p:txBody>
          <a:bodyPr anchor="b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394074" y="1409699"/>
            <a:ext cx="8099424" cy="4550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3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95492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, tekst + not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  <p:sp>
        <p:nvSpPr>
          <p:cNvPr id="13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>
              <a:solidFill>
                <a:schemeClr val="tx1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10836932" cy="101867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376126"/>
            <a:ext cx="2676479" cy="205776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None/>
              <a:tabLst/>
              <a:defRPr sz="1800" b="1" baseline="0"/>
            </a:lvl1pPr>
            <a:lvl2pPr marL="288000" indent="-288000">
              <a:lnSpc>
                <a:spcPct val="95000"/>
              </a:lnSpc>
              <a:buFont typeface="Corbel" panose="020B0503020204020204" pitchFamily="34" charset="0"/>
              <a:buChar char="—"/>
              <a:defRPr sz="1800"/>
            </a:lvl2pPr>
            <a:lvl3pPr marL="540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3pPr>
            <a:lvl4pPr marL="792000" indent="-252000">
              <a:lnSpc>
                <a:spcPct val="95000"/>
              </a:lnSpc>
              <a:buFont typeface="Arial" panose="020B0604020202020204" pitchFamily="34" charset="0"/>
              <a:buChar char="‒"/>
              <a:defRPr sz="1800"/>
            </a:lvl4pPr>
            <a:lvl5pPr marL="1044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5pPr>
            <a:lvl6pPr>
              <a:lnSpc>
                <a:spcPct val="95000"/>
              </a:lnSpc>
              <a:defRPr sz="1800"/>
            </a:lvl6pPr>
            <a:lvl7pPr>
              <a:lnSpc>
                <a:spcPct val="95000"/>
              </a:lnSpc>
              <a:defRPr sz="1800"/>
            </a:lvl7pPr>
            <a:lvl8pPr>
              <a:lnSpc>
                <a:spcPct val="95000"/>
              </a:lnSpc>
              <a:defRPr sz="1800"/>
            </a:lvl8pPr>
            <a:lvl9pPr>
              <a:lnSpc>
                <a:spcPct val="95000"/>
              </a:lnSpc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Char char="​"/>
              <a:tabLst/>
              <a:defRPr/>
            </a:pPr>
            <a:r>
              <a:rPr lang="en-GB"/>
              <a:t>Click to add chart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7" y="4433887"/>
            <a:ext cx="2700337" cy="1575135"/>
          </a:xfrm>
        </p:spPr>
        <p:txBody>
          <a:bodyPr anchor="b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394075" y="1409699"/>
            <a:ext cx="5400676" cy="4550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4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288868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>
              <a:solidFill>
                <a:schemeClr val="tx1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 in max 1 line</a:t>
            </a:r>
            <a:endParaRPr lang="en-GB" noProof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/>
              <a:t>Click to add note tex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82059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41776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Håkan Lind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794752" y="6321576"/>
            <a:ext cx="2698748" cy="176724"/>
          </a:xfrm>
        </p:spPr>
        <p:txBody>
          <a:bodyPr/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r>
              <a:rPr lang="en-GB"/>
              <a:t>3 January 2019</a:t>
            </a: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4800" y="5950800"/>
            <a:ext cx="1692000" cy="5076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917148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5932800" cy="6534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162000"/>
            <a:ext cx="5936400" cy="6534000"/>
          </a:xfrm>
          <a:custGeom>
            <a:avLst/>
            <a:gdLst>
              <a:gd name="connsiteX0" fmla="*/ 0 w 5936400"/>
              <a:gd name="connsiteY0" fmla="*/ 0 h 6534000"/>
              <a:gd name="connsiteX1" fmla="*/ 5936400 w 5936400"/>
              <a:gd name="connsiteY1" fmla="*/ 0 h 6534000"/>
              <a:gd name="connsiteX2" fmla="*/ 5936400 w 5936400"/>
              <a:gd name="connsiteY2" fmla="*/ 4950428 h 6534000"/>
              <a:gd name="connsiteX3" fmla="*/ 3250799 w 5936400"/>
              <a:gd name="connsiteY3" fmla="*/ 4950428 h 6534000"/>
              <a:gd name="connsiteX4" fmla="*/ 3250799 w 5936400"/>
              <a:gd name="connsiteY4" fmla="*/ 5942102 h 6534000"/>
              <a:gd name="connsiteX5" fmla="*/ 5936400 w 5936400"/>
              <a:gd name="connsiteY5" fmla="*/ 5942102 h 6534000"/>
              <a:gd name="connsiteX6" fmla="*/ 5936400 w 5936400"/>
              <a:gd name="connsiteY6" fmla="*/ 6534000 h 6534000"/>
              <a:gd name="connsiteX7" fmla="*/ 0 w 59364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36400" h="6534000">
                <a:moveTo>
                  <a:pt x="0" y="0"/>
                </a:moveTo>
                <a:lnTo>
                  <a:pt x="5936400" y="0"/>
                </a:lnTo>
                <a:lnTo>
                  <a:pt x="5936400" y="4950428"/>
                </a:lnTo>
                <a:lnTo>
                  <a:pt x="3250799" y="4950428"/>
                </a:lnTo>
                <a:lnTo>
                  <a:pt x="3250799" y="5942102"/>
                </a:lnTo>
                <a:lnTo>
                  <a:pt x="5936400" y="5942102"/>
                </a:lnTo>
                <a:lnTo>
                  <a:pt x="5936400" y="6534000"/>
                </a:lnTo>
                <a:lnTo>
                  <a:pt x="0" y="653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tIns="118800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278565" cy="1285875"/>
          </a:xfrm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4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</p:spTree>
    <p:extLst>
      <p:ext uri="{BB962C8B-B14F-4D97-AF65-F5344CB8AC3E}">
        <p14:creationId xmlns:p14="http://schemas.microsoft.com/office/powerpoint/2010/main" val="13726594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ggrund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18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4736133" cy="1285875"/>
          </a:xfrm>
        </p:spPr>
        <p:txBody>
          <a:bodyPr/>
          <a:lstStyle>
            <a:lvl1pPr>
              <a:defRPr>
                <a:solidFill>
                  <a:srgbClr val="FFF0BE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920240"/>
            <a:ext cx="4698964" cy="4029710"/>
          </a:xfrm>
        </p:spPr>
        <p:txBody>
          <a:bodyPr/>
          <a:lstStyle>
            <a:lvl1pPr>
              <a:lnSpc>
                <a:spcPct val="95000"/>
              </a:lnSpc>
              <a:defRPr sz="2200">
                <a:solidFill>
                  <a:srgbClr val="FFF0BE"/>
                </a:solidFill>
              </a:defRPr>
            </a:lvl1pPr>
            <a:lvl2pPr>
              <a:lnSpc>
                <a:spcPct val="95000"/>
              </a:lnSpc>
              <a:defRPr sz="2200">
                <a:solidFill>
                  <a:srgbClr val="FFF0BE"/>
                </a:solidFill>
              </a:defRPr>
            </a:lvl2pPr>
            <a:lvl3pPr>
              <a:lnSpc>
                <a:spcPct val="95000"/>
              </a:lnSpc>
              <a:defRPr sz="2200">
                <a:solidFill>
                  <a:srgbClr val="FFF0BE"/>
                </a:solidFill>
              </a:defRPr>
            </a:lvl3pPr>
            <a:lvl4pPr>
              <a:lnSpc>
                <a:spcPct val="95000"/>
              </a:lnSpc>
              <a:defRPr sz="2200">
                <a:solidFill>
                  <a:srgbClr val="FFF0BE"/>
                </a:solidFill>
              </a:defRPr>
            </a:lvl4pPr>
            <a:lvl5pPr>
              <a:lnSpc>
                <a:spcPct val="95000"/>
              </a:lnSpc>
              <a:defRPr sz="2200">
                <a:solidFill>
                  <a:srgbClr val="FFF0BE"/>
                </a:solidFill>
              </a:defRPr>
            </a:lvl5pPr>
            <a:lvl6pPr>
              <a:lnSpc>
                <a:spcPct val="95000"/>
              </a:lnSpc>
              <a:defRPr sz="1800">
                <a:solidFill>
                  <a:srgbClr val="ADCFF1"/>
                </a:solidFill>
              </a:defRPr>
            </a:lvl6pPr>
            <a:lvl7pPr>
              <a:lnSpc>
                <a:spcPct val="95000"/>
              </a:lnSpc>
              <a:defRPr sz="1800">
                <a:solidFill>
                  <a:srgbClr val="ADCFF1"/>
                </a:solidFill>
              </a:defRPr>
            </a:lvl7pPr>
            <a:lvl8pPr>
              <a:lnSpc>
                <a:spcPct val="95000"/>
              </a:lnSpc>
              <a:defRPr sz="1800">
                <a:solidFill>
                  <a:srgbClr val="ADCFF1"/>
                </a:solidFill>
              </a:defRPr>
            </a:lvl8pPr>
            <a:lvl9pPr>
              <a:lnSpc>
                <a:spcPct val="95000"/>
              </a:lnSpc>
              <a:defRPr sz="1800">
                <a:solidFill>
                  <a:srgbClr val="ADCFF1"/>
                </a:solidFill>
              </a:defRPr>
            </a:lvl9pPr>
          </a:lstStyle>
          <a:p>
            <a:pPr lvl="0"/>
            <a:r>
              <a:rPr lang="en-GB"/>
              <a:t>Click to add char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FF0B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162000"/>
            <a:ext cx="5936400" cy="6534000"/>
          </a:xfrm>
          <a:custGeom>
            <a:avLst/>
            <a:gdLst>
              <a:gd name="connsiteX0" fmla="*/ 0 w 5936400"/>
              <a:gd name="connsiteY0" fmla="*/ 0 h 6534000"/>
              <a:gd name="connsiteX1" fmla="*/ 5936400 w 5936400"/>
              <a:gd name="connsiteY1" fmla="*/ 0 h 6534000"/>
              <a:gd name="connsiteX2" fmla="*/ 5936400 w 5936400"/>
              <a:gd name="connsiteY2" fmla="*/ 4950428 h 6534000"/>
              <a:gd name="connsiteX3" fmla="*/ 3250799 w 5936400"/>
              <a:gd name="connsiteY3" fmla="*/ 4950428 h 6534000"/>
              <a:gd name="connsiteX4" fmla="*/ 3250799 w 5936400"/>
              <a:gd name="connsiteY4" fmla="*/ 5942102 h 6534000"/>
              <a:gd name="connsiteX5" fmla="*/ 5936400 w 5936400"/>
              <a:gd name="connsiteY5" fmla="*/ 5942102 h 6534000"/>
              <a:gd name="connsiteX6" fmla="*/ 5936400 w 5936400"/>
              <a:gd name="connsiteY6" fmla="*/ 6534000 h 6534000"/>
              <a:gd name="connsiteX7" fmla="*/ 0 w 59364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36400" h="6534000">
                <a:moveTo>
                  <a:pt x="0" y="0"/>
                </a:moveTo>
                <a:lnTo>
                  <a:pt x="5936400" y="0"/>
                </a:lnTo>
                <a:lnTo>
                  <a:pt x="5936400" y="4950428"/>
                </a:lnTo>
                <a:lnTo>
                  <a:pt x="3250799" y="4950428"/>
                </a:lnTo>
                <a:lnTo>
                  <a:pt x="3250799" y="5942102"/>
                </a:lnTo>
                <a:lnTo>
                  <a:pt x="5936400" y="5942102"/>
                </a:lnTo>
                <a:lnTo>
                  <a:pt x="5936400" y="6534000"/>
                </a:lnTo>
                <a:lnTo>
                  <a:pt x="0" y="6534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118800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</p:spTree>
    <p:extLst>
      <p:ext uri="{BB962C8B-B14F-4D97-AF65-F5344CB8AC3E}">
        <p14:creationId xmlns:p14="http://schemas.microsoft.com/office/powerpoint/2010/main" val="126921425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ggrund"/>
          <p:cNvSpPr/>
          <p:nvPr userDrawn="1"/>
        </p:nvSpPr>
        <p:spPr>
          <a:xfrm>
            <a:off x="6094412" y="0"/>
            <a:ext cx="6097587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 hasCustomPrompt="1"/>
          </p:nvPr>
        </p:nvSpPr>
        <p:spPr>
          <a:xfrm>
            <a:off x="6094801" y="162000"/>
            <a:ext cx="5936400" cy="6534000"/>
          </a:xfrm>
          <a:custGeom>
            <a:avLst/>
            <a:gdLst>
              <a:gd name="connsiteX0" fmla="*/ 0 w 5936400"/>
              <a:gd name="connsiteY0" fmla="*/ 0 h 6534000"/>
              <a:gd name="connsiteX1" fmla="*/ 5936400 w 5936400"/>
              <a:gd name="connsiteY1" fmla="*/ 0 h 6534000"/>
              <a:gd name="connsiteX2" fmla="*/ 5936400 w 5936400"/>
              <a:gd name="connsiteY2" fmla="*/ 4950428 h 6534000"/>
              <a:gd name="connsiteX3" fmla="*/ 3250799 w 5936400"/>
              <a:gd name="connsiteY3" fmla="*/ 4950428 h 6534000"/>
              <a:gd name="connsiteX4" fmla="*/ 3250799 w 5936400"/>
              <a:gd name="connsiteY4" fmla="*/ 5942102 h 6534000"/>
              <a:gd name="connsiteX5" fmla="*/ 5936400 w 5936400"/>
              <a:gd name="connsiteY5" fmla="*/ 5942102 h 6534000"/>
              <a:gd name="connsiteX6" fmla="*/ 5936400 w 5936400"/>
              <a:gd name="connsiteY6" fmla="*/ 6534000 h 6534000"/>
              <a:gd name="connsiteX7" fmla="*/ 0 w 59364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36400" h="6534000">
                <a:moveTo>
                  <a:pt x="0" y="0"/>
                </a:moveTo>
                <a:lnTo>
                  <a:pt x="5936400" y="0"/>
                </a:lnTo>
                <a:lnTo>
                  <a:pt x="5936400" y="4950428"/>
                </a:lnTo>
                <a:lnTo>
                  <a:pt x="3250799" y="4950428"/>
                </a:lnTo>
                <a:lnTo>
                  <a:pt x="3250799" y="5942102"/>
                </a:lnTo>
                <a:lnTo>
                  <a:pt x="5936400" y="5942102"/>
                </a:lnTo>
                <a:lnTo>
                  <a:pt x="5936400" y="6534000"/>
                </a:lnTo>
                <a:lnTo>
                  <a:pt x="0" y="6534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118800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7" name="FLD_Footer" hidden="1"/>
          <p:cNvSpPr>
            <a:spLocks noGrp="1"/>
          </p:cNvSpPr>
          <p:nvPr>
            <p:ph type="ftr" sz="quarter" idx="17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4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</p:spTree>
    <p:extLst>
      <p:ext uri="{BB962C8B-B14F-4D97-AF65-F5344CB8AC3E}">
        <p14:creationId xmlns:p14="http://schemas.microsoft.com/office/powerpoint/2010/main" val="42155317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ggrund"/>
          <p:cNvSpPr/>
          <p:nvPr userDrawn="1"/>
        </p:nvSpPr>
        <p:spPr>
          <a:xfrm>
            <a:off x="8794750" y="0"/>
            <a:ext cx="3397249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14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7795777" cy="128587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7740144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 hasCustomPrompt="1"/>
          </p:nvPr>
        </p:nvSpPr>
        <p:spPr>
          <a:xfrm>
            <a:off x="8794750" y="162000"/>
            <a:ext cx="3236400" cy="6534000"/>
          </a:xfrm>
          <a:custGeom>
            <a:avLst/>
            <a:gdLst>
              <a:gd name="connsiteX0" fmla="*/ 0 w 3236400"/>
              <a:gd name="connsiteY0" fmla="*/ 0 h 6534000"/>
              <a:gd name="connsiteX1" fmla="*/ 3236400 w 3236400"/>
              <a:gd name="connsiteY1" fmla="*/ 0 h 6534000"/>
              <a:gd name="connsiteX2" fmla="*/ 3236400 w 3236400"/>
              <a:gd name="connsiteY2" fmla="*/ 4950428 h 6534000"/>
              <a:gd name="connsiteX3" fmla="*/ 550850 w 3236400"/>
              <a:gd name="connsiteY3" fmla="*/ 4950428 h 6534000"/>
              <a:gd name="connsiteX4" fmla="*/ 550850 w 3236400"/>
              <a:gd name="connsiteY4" fmla="*/ 5942102 h 6534000"/>
              <a:gd name="connsiteX5" fmla="*/ 3236400 w 3236400"/>
              <a:gd name="connsiteY5" fmla="*/ 5942102 h 6534000"/>
              <a:gd name="connsiteX6" fmla="*/ 3236400 w 3236400"/>
              <a:gd name="connsiteY6" fmla="*/ 6534000 h 6534000"/>
              <a:gd name="connsiteX7" fmla="*/ 0 w 32364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36400" h="6534000">
                <a:moveTo>
                  <a:pt x="0" y="0"/>
                </a:moveTo>
                <a:lnTo>
                  <a:pt x="3236400" y="0"/>
                </a:lnTo>
                <a:lnTo>
                  <a:pt x="3236400" y="4950428"/>
                </a:lnTo>
                <a:lnTo>
                  <a:pt x="550850" y="4950428"/>
                </a:lnTo>
                <a:lnTo>
                  <a:pt x="550850" y="5942102"/>
                </a:lnTo>
                <a:lnTo>
                  <a:pt x="3236400" y="5942102"/>
                </a:lnTo>
                <a:lnTo>
                  <a:pt x="3236400" y="6534000"/>
                </a:lnTo>
                <a:lnTo>
                  <a:pt x="0" y="6534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1440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89905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ggrund"/>
          <p:cNvSpPr/>
          <p:nvPr userDrawn="1"/>
        </p:nvSpPr>
        <p:spPr>
          <a:xfrm>
            <a:off x="6094412" y="0"/>
            <a:ext cx="6097587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15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162000"/>
            <a:ext cx="5925600" cy="3265200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0" y="3425824"/>
            <a:ext cx="5925600" cy="3268800"/>
          </a:xfrm>
          <a:custGeom>
            <a:avLst/>
            <a:gdLst>
              <a:gd name="connsiteX0" fmla="*/ 0 w 5925600"/>
              <a:gd name="connsiteY0" fmla="*/ 0 h 3268800"/>
              <a:gd name="connsiteX1" fmla="*/ 5925600 w 5925600"/>
              <a:gd name="connsiteY1" fmla="*/ 0 h 3268800"/>
              <a:gd name="connsiteX2" fmla="*/ 5925600 w 5925600"/>
              <a:gd name="connsiteY2" fmla="*/ 1686604 h 3268800"/>
              <a:gd name="connsiteX3" fmla="*/ 3250800 w 5925600"/>
              <a:gd name="connsiteY3" fmla="*/ 1686604 h 3268800"/>
              <a:gd name="connsiteX4" fmla="*/ 3250800 w 5925600"/>
              <a:gd name="connsiteY4" fmla="*/ 2678278 h 3268800"/>
              <a:gd name="connsiteX5" fmla="*/ 5925600 w 5925600"/>
              <a:gd name="connsiteY5" fmla="*/ 2678278 h 3268800"/>
              <a:gd name="connsiteX6" fmla="*/ 5925600 w 5925600"/>
              <a:gd name="connsiteY6" fmla="*/ 3268800 h 3268800"/>
              <a:gd name="connsiteX7" fmla="*/ 0 w 5925600"/>
              <a:gd name="connsiteY7" fmla="*/ 3268800 h 326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25600" h="3268800">
                <a:moveTo>
                  <a:pt x="0" y="0"/>
                </a:moveTo>
                <a:lnTo>
                  <a:pt x="5925600" y="0"/>
                </a:lnTo>
                <a:lnTo>
                  <a:pt x="5925600" y="1686604"/>
                </a:lnTo>
                <a:lnTo>
                  <a:pt x="3250800" y="1686604"/>
                </a:lnTo>
                <a:lnTo>
                  <a:pt x="3250800" y="2678278"/>
                </a:lnTo>
                <a:lnTo>
                  <a:pt x="5925600" y="2678278"/>
                </a:lnTo>
                <a:lnTo>
                  <a:pt x="5925600" y="3268800"/>
                </a:lnTo>
                <a:lnTo>
                  <a:pt x="0" y="32688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0" bIns="1188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7" name="FLD_Footer" hidden="1"/>
          <p:cNvSpPr>
            <a:spLocks noGrp="1"/>
          </p:cNvSpPr>
          <p:nvPr>
            <p:ph type="ftr" sz="quarter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8" name="Slide Number Placeholder 7" hidden="1"/>
          <p:cNvSpPr>
            <a:spLocks noGrp="1"/>
          </p:cNvSpPr>
          <p:nvPr>
            <p:ph type="sldNum" sz="quarter" idx="19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52624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rund"/>
          <p:cNvSpPr/>
          <p:nvPr userDrawn="1"/>
        </p:nvSpPr>
        <p:spPr>
          <a:xfrm>
            <a:off x="6094412" y="0"/>
            <a:ext cx="6097587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16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162000"/>
            <a:ext cx="5925600" cy="3265200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3425823"/>
            <a:ext cx="2699950" cy="3268800"/>
          </a:xfrm>
          <a:solidFill>
            <a:schemeClr val="bg1">
              <a:lumMod val="85000"/>
            </a:schemeClr>
          </a:solidFill>
        </p:spPr>
        <p:txBody>
          <a:bodyPr tIns="0" bIns="158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7" hasCustomPrompt="1"/>
          </p:nvPr>
        </p:nvSpPr>
        <p:spPr>
          <a:xfrm>
            <a:off x="8794751" y="3425823"/>
            <a:ext cx="3236400" cy="3268800"/>
          </a:xfrm>
          <a:custGeom>
            <a:avLst/>
            <a:gdLst>
              <a:gd name="connsiteX0" fmla="*/ 0 w 3236400"/>
              <a:gd name="connsiteY0" fmla="*/ 0 h 3268800"/>
              <a:gd name="connsiteX1" fmla="*/ 3236400 w 3236400"/>
              <a:gd name="connsiteY1" fmla="*/ 0 h 3268800"/>
              <a:gd name="connsiteX2" fmla="*/ 3236400 w 3236400"/>
              <a:gd name="connsiteY2" fmla="*/ 1686605 h 3268800"/>
              <a:gd name="connsiteX3" fmla="*/ 550849 w 3236400"/>
              <a:gd name="connsiteY3" fmla="*/ 1686605 h 3268800"/>
              <a:gd name="connsiteX4" fmla="*/ 550849 w 3236400"/>
              <a:gd name="connsiteY4" fmla="*/ 2678279 h 3268800"/>
              <a:gd name="connsiteX5" fmla="*/ 3236400 w 3236400"/>
              <a:gd name="connsiteY5" fmla="*/ 2678279 h 3268800"/>
              <a:gd name="connsiteX6" fmla="*/ 3236400 w 3236400"/>
              <a:gd name="connsiteY6" fmla="*/ 3268800 h 3268800"/>
              <a:gd name="connsiteX7" fmla="*/ 0 w 3236400"/>
              <a:gd name="connsiteY7" fmla="*/ 3268800 h 326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36400" h="3268800">
                <a:moveTo>
                  <a:pt x="0" y="0"/>
                </a:moveTo>
                <a:lnTo>
                  <a:pt x="3236400" y="0"/>
                </a:lnTo>
                <a:lnTo>
                  <a:pt x="3236400" y="1686605"/>
                </a:lnTo>
                <a:lnTo>
                  <a:pt x="550849" y="1686605"/>
                </a:lnTo>
                <a:lnTo>
                  <a:pt x="550849" y="2678279"/>
                </a:lnTo>
                <a:lnTo>
                  <a:pt x="3236400" y="2678279"/>
                </a:lnTo>
                <a:lnTo>
                  <a:pt x="3236400" y="3268800"/>
                </a:lnTo>
                <a:lnTo>
                  <a:pt x="0" y="32688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tIns="0" bIns="1584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7" name="FLD_Footer" hidden="1"/>
          <p:cNvSpPr>
            <a:spLocks noGrp="1"/>
          </p:cNvSpPr>
          <p:nvPr>
            <p:ph type="ftr" sz="quarter" idx="19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8" name="Slide Number Placeholder 7" hidden="1"/>
          <p:cNvSpPr>
            <a:spLocks noGrp="1"/>
          </p:cNvSpPr>
          <p:nvPr>
            <p:ph type="sldNum" sz="quarter" idx="2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80697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13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11865600" cy="6534000"/>
          </a:xfrm>
          <a:custGeom>
            <a:avLst/>
            <a:gdLst>
              <a:gd name="connsiteX0" fmla="*/ 0 w 11865600"/>
              <a:gd name="connsiteY0" fmla="*/ 0 h 6534000"/>
              <a:gd name="connsiteX1" fmla="*/ 11865600 w 11865600"/>
              <a:gd name="connsiteY1" fmla="*/ 0 h 6534000"/>
              <a:gd name="connsiteX2" fmla="*/ 11865600 w 11865600"/>
              <a:gd name="connsiteY2" fmla="*/ 4950428 h 6534000"/>
              <a:gd name="connsiteX3" fmla="*/ 9183600 w 11865600"/>
              <a:gd name="connsiteY3" fmla="*/ 4950428 h 6534000"/>
              <a:gd name="connsiteX4" fmla="*/ 9183600 w 11865600"/>
              <a:gd name="connsiteY4" fmla="*/ 5942102 h 6534000"/>
              <a:gd name="connsiteX5" fmla="*/ 11865600 w 11865600"/>
              <a:gd name="connsiteY5" fmla="*/ 5942102 h 6534000"/>
              <a:gd name="connsiteX6" fmla="*/ 11865600 w 11865600"/>
              <a:gd name="connsiteY6" fmla="*/ 6534000 h 6534000"/>
              <a:gd name="connsiteX7" fmla="*/ 0 w 118656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65600" h="6534000">
                <a:moveTo>
                  <a:pt x="0" y="0"/>
                </a:moveTo>
                <a:lnTo>
                  <a:pt x="11865600" y="0"/>
                </a:lnTo>
                <a:lnTo>
                  <a:pt x="11865600" y="4950428"/>
                </a:lnTo>
                <a:lnTo>
                  <a:pt x="9183600" y="4950428"/>
                </a:lnTo>
                <a:lnTo>
                  <a:pt x="9183600" y="5942102"/>
                </a:lnTo>
                <a:lnTo>
                  <a:pt x="11865600" y="5942102"/>
                </a:lnTo>
                <a:lnTo>
                  <a:pt x="11865600" y="6534000"/>
                </a:lnTo>
                <a:lnTo>
                  <a:pt x="0" y="6534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437845" cy="1346332"/>
          </a:xfrm>
        </p:spPr>
        <p:txBody>
          <a:bodyPr/>
          <a:lstStyle>
            <a:lvl1pPr>
              <a:defRPr baseline="0">
                <a:solidFill>
                  <a:srgbClr val="F4294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7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49582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siness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22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accent1"/>
                </a:solidFill>
              </a:rPr>
              <a:t>#</a:t>
            </a:r>
            <a:r>
              <a:rPr lang="en-GB" sz="2200" b="1" err="1">
                <a:solidFill>
                  <a:schemeClr val="accent1"/>
                </a:solidFill>
              </a:rPr>
              <a:t>nordicsolutions</a:t>
            </a:r>
            <a:r>
              <a:rPr lang="en-GB" sz="2200" b="1">
                <a:solidFill>
                  <a:schemeClr val="accent1"/>
                </a:solidFill>
              </a:rPr>
              <a:t/>
            </a:r>
            <a:br>
              <a:rPr lang="en-GB" sz="2200" b="1">
                <a:solidFill>
                  <a:schemeClr val="accent1"/>
                </a:solidFill>
              </a:rPr>
            </a:br>
            <a:r>
              <a:rPr lang="en-GB" sz="2200" b="1">
                <a:solidFill>
                  <a:schemeClr val="accent1"/>
                </a:solidFill>
              </a:rPr>
              <a:t>to global challenges</a:t>
            </a:r>
          </a:p>
        </p:txBody>
      </p:sp>
      <p:sp>
        <p:nvSpPr>
          <p:cNvPr id="11" name="USR_Name"/>
          <p:cNvSpPr>
            <a:spLocks noGrp="1"/>
          </p:cNvSpPr>
          <p:nvPr>
            <p:ph type="body" sz="quarter" idx="13" hasCustomPrompt="1"/>
          </p:nvPr>
        </p:nvSpPr>
        <p:spPr>
          <a:xfrm>
            <a:off x="3394074" y="1915152"/>
            <a:ext cx="8099423" cy="601488"/>
          </a:xfrm>
        </p:spPr>
        <p:txBody>
          <a:bodyPr anchor="b" anchorCtr="0"/>
          <a:lstStyle>
            <a:lvl1pPr marL="0" indent="0">
              <a:buFontTx/>
              <a:buNone/>
              <a:defRPr sz="2800" b="1">
                <a:solidFill>
                  <a:srgbClr val="FFF0BE"/>
                </a:solidFill>
              </a:defRPr>
            </a:lvl1pPr>
          </a:lstStyle>
          <a:p>
            <a:pPr lvl="0"/>
            <a:r>
              <a:rPr lang="en-GB"/>
              <a:t>Mette </a:t>
            </a:r>
            <a:r>
              <a:rPr lang="en-GB" err="1"/>
              <a:t>Agger</a:t>
            </a:r>
            <a:r>
              <a:rPr lang="en-GB"/>
              <a:t> Tang</a:t>
            </a:r>
          </a:p>
        </p:txBody>
      </p:sp>
      <p:sp>
        <p:nvSpPr>
          <p:cNvPr id="14" name="USR_Title"/>
          <p:cNvSpPr>
            <a:spLocks noGrp="1"/>
          </p:cNvSpPr>
          <p:nvPr>
            <p:ph type="body" sz="quarter" idx="14" hasCustomPrompt="1"/>
          </p:nvPr>
        </p:nvSpPr>
        <p:spPr>
          <a:xfrm>
            <a:off x="3394075" y="2630186"/>
            <a:ext cx="8099421" cy="445700"/>
          </a:xfrm>
        </p:spPr>
        <p:txBody>
          <a:bodyPr/>
          <a:lstStyle>
            <a:lvl1pPr marL="0" indent="0">
              <a:buNone/>
              <a:defRPr sz="2800">
                <a:solidFill>
                  <a:srgbClr val="FFF0BE"/>
                </a:solidFill>
              </a:defRPr>
            </a:lvl1pPr>
          </a:lstStyle>
          <a:p>
            <a:pPr lvl="0"/>
            <a:r>
              <a:rPr lang="en-GB" err="1"/>
              <a:t>Grafisk</a:t>
            </a:r>
            <a:r>
              <a:rPr lang="en-GB"/>
              <a:t> designer</a:t>
            </a:r>
          </a:p>
        </p:txBody>
      </p:sp>
      <p:sp>
        <p:nvSpPr>
          <p:cNvPr id="16" name="USR_Email"/>
          <p:cNvSpPr>
            <a:spLocks noGrp="1"/>
          </p:cNvSpPr>
          <p:nvPr>
            <p:ph type="body" sz="quarter" idx="15" hasCustomPrompt="1"/>
          </p:nvPr>
        </p:nvSpPr>
        <p:spPr>
          <a:xfrm>
            <a:off x="3394074" y="3166672"/>
            <a:ext cx="8099425" cy="484188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rgbClr val="FFF0BE"/>
                </a:solidFill>
              </a:defRPr>
            </a:lvl1pPr>
          </a:lstStyle>
          <a:p>
            <a:pPr lvl="0"/>
            <a:r>
              <a:rPr lang="en-GB"/>
              <a:t>mettan@norden.org</a:t>
            </a:r>
          </a:p>
        </p:txBody>
      </p:sp>
      <p:sp>
        <p:nvSpPr>
          <p:cNvPr id="17" name="USR_DirectPhone"/>
          <p:cNvSpPr>
            <a:spLocks noGrp="1"/>
          </p:cNvSpPr>
          <p:nvPr>
            <p:ph type="body" sz="quarter" idx="16" hasCustomPrompt="1"/>
          </p:nvPr>
        </p:nvSpPr>
        <p:spPr>
          <a:xfrm>
            <a:off x="3394074" y="3607704"/>
            <a:ext cx="8099425" cy="484188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rgbClr val="FFF0BE"/>
                </a:solidFill>
              </a:defRPr>
            </a:lvl1pPr>
          </a:lstStyle>
          <a:p>
            <a:pPr lvl="0"/>
            <a:r>
              <a:rPr lang="en-GB"/>
              <a:t>+45 60 39 42 08</a:t>
            </a:r>
          </a:p>
        </p:txBody>
      </p:sp>
      <p:sp>
        <p:nvSpPr>
          <p:cNvPr id="20" name="OFF_companyname"/>
          <p:cNvSpPr>
            <a:spLocks noGrp="1"/>
          </p:cNvSpPr>
          <p:nvPr>
            <p:ph type="body" sz="quarter" idx="18" hasCustomPrompt="1"/>
          </p:nvPr>
        </p:nvSpPr>
        <p:spPr>
          <a:xfrm>
            <a:off x="3394078" y="4426564"/>
            <a:ext cx="8099422" cy="330367"/>
          </a:xfrm>
        </p:spPr>
        <p:txBody>
          <a:bodyPr anchor="b" anchorCtr="0"/>
          <a:lstStyle>
            <a:lvl1pPr marL="0" indent="0">
              <a:buNone/>
              <a:defRPr sz="1800" b="1">
                <a:solidFill>
                  <a:srgbClr val="FFF0BE"/>
                </a:solidFill>
              </a:defRPr>
            </a:lvl1pPr>
          </a:lstStyle>
          <a:p>
            <a:pPr lvl="0"/>
            <a:r>
              <a:rPr lang="en-GB"/>
              <a:t>Nordisk </a:t>
            </a:r>
            <a:r>
              <a:rPr lang="en-GB" err="1"/>
              <a:t>Minsterråd</a:t>
            </a:r>
            <a:endParaRPr lang="en-GB"/>
          </a:p>
        </p:txBody>
      </p:sp>
      <p:sp>
        <p:nvSpPr>
          <p:cNvPr id="19" name="USR_Address"/>
          <p:cNvSpPr>
            <a:spLocks noGrp="1"/>
          </p:cNvSpPr>
          <p:nvPr>
            <p:ph type="body" sz="quarter" idx="17" hasCustomPrompt="1"/>
          </p:nvPr>
        </p:nvSpPr>
        <p:spPr>
          <a:xfrm>
            <a:off x="3394074" y="4757888"/>
            <a:ext cx="8099422" cy="330367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rgbClr val="FFF0BE"/>
                </a:solidFill>
              </a:defRPr>
            </a:lvl1pPr>
          </a:lstStyle>
          <a:p>
            <a:pPr lvl="0"/>
            <a:r>
              <a:rPr lang="en-GB" err="1"/>
              <a:t>Ved</a:t>
            </a:r>
            <a:r>
              <a:rPr lang="en-GB"/>
              <a:t> </a:t>
            </a:r>
            <a:r>
              <a:rPr lang="en-GB" err="1"/>
              <a:t>Stranden</a:t>
            </a:r>
            <a:r>
              <a:rPr lang="en-GB"/>
              <a:t> 18, </a:t>
            </a:r>
            <a:r>
              <a:rPr lang="en-GB" err="1"/>
              <a:t>Københav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0BE"/>
                </a:solidFill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0BE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3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349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FF0B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/>
              <a:t> </a:t>
            </a:r>
          </a:p>
        </p:txBody>
      </p:sp>
      <p:sp>
        <p:nvSpPr>
          <p:cNvPr id="15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0940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11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>
              <a:solidFill>
                <a:schemeClr val="tx1"/>
              </a:solidFill>
            </a:endParaRPr>
          </a:p>
        </p:txBody>
      </p:sp>
      <p:sp>
        <p:nvSpPr>
          <p:cNvPr id="15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accent1"/>
                </a:solidFill>
              </a:rPr>
              <a:t>#</a:t>
            </a:r>
            <a:r>
              <a:rPr lang="en-GB" sz="2200" b="1" err="1">
                <a:solidFill>
                  <a:schemeClr val="accent1"/>
                </a:solidFill>
              </a:rPr>
              <a:t>nordicsolutions</a:t>
            </a:r>
            <a:r>
              <a:rPr lang="en-GB" sz="2200" b="1">
                <a:solidFill>
                  <a:schemeClr val="accent1"/>
                </a:solidFill>
              </a:rPr>
              <a:t/>
            </a:r>
            <a:br>
              <a:rPr lang="en-GB" sz="2200" b="1">
                <a:solidFill>
                  <a:schemeClr val="accent1"/>
                </a:solidFill>
              </a:rPr>
            </a:br>
            <a:r>
              <a:rPr lang="en-GB" sz="2200" b="1">
                <a:solidFill>
                  <a:schemeClr val="accent1"/>
                </a:solidFill>
              </a:rPr>
              <a:t>to global challenges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11865600" cy="6534000"/>
          </a:xfrm>
          <a:custGeom>
            <a:avLst/>
            <a:gdLst>
              <a:gd name="connsiteX0" fmla="*/ 0 w 11865600"/>
              <a:gd name="connsiteY0" fmla="*/ 0 h 6534000"/>
              <a:gd name="connsiteX1" fmla="*/ 11865600 w 11865600"/>
              <a:gd name="connsiteY1" fmla="*/ 0 h 6534000"/>
              <a:gd name="connsiteX2" fmla="*/ 11865600 w 11865600"/>
              <a:gd name="connsiteY2" fmla="*/ 4950428 h 6534000"/>
              <a:gd name="connsiteX3" fmla="*/ 9183600 w 11865600"/>
              <a:gd name="connsiteY3" fmla="*/ 4950428 h 6534000"/>
              <a:gd name="connsiteX4" fmla="*/ 9183600 w 11865600"/>
              <a:gd name="connsiteY4" fmla="*/ 5942102 h 6534000"/>
              <a:gd name="connsiteX5" fmla="*/ 11865600 w 11865600"/>
              <a:gd name="connsiteY5" fmla="*/ 5942102 h 6534000"/>
              <a:gd name="connsiteX6" fmla="*/ 11865600 w 11865600"/>
              <a:gd name="connsiteY6" fmla="*/ 6534000 h 6534000"/>
              <a:gd name="connsiteX7" fmla="*/ 0 w 118656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65600" h="6534000">
                <a:moveTo>
                  <a:pt x="0" y="0"/>
                </a:moveTo>
                <a:lnTo>
                  <a:pt x="11865600" y="0"/>
                </a:lnTo>
                <a:lnTo>
                  <a:pt x="11865600" y="4950428"/>
                </a:lnTo>
                <a:lnTo>
                  <a:pt x="9183600" y="4950428"/>
                </a:lnTo>
                <a:lnTo>
                  <a:pt x="9183600" y="5942102"/>
                </a:lnTo>
                <a:lnTo>
                  <a:pt x="11865600" y="5942102"/>
                </a:lnTo>
                <a:lnTo>
                  <a:pt x="11865600" y="6534000"/>
                </a:lnTo>
                <a:lnTo>
                  <a:pt x="0" y="6534000"/>
                </a:lnTo>
                <a:close/>
              </a:path>
            </a:pathLst>
          </a:custGeom>
          <a:solidFill>
            <a:srgbClr val="F42941"/>
          </a:solidFill>
        </p:spPr>
        <p:txBody>
          <a:bodyPr wrap="square" tIns="792000" anchor="ctr" anchorCtr="0">
            <a:noAutofit/>
          </a:bodyPr>
          <a:lstStyle>
            <a:lvl1pPr marL="0" indent="0" algn="ctr">
              <a:buNone/>
              <a:tabLst>
                <a:tab pos="1700213" algn="l"/>
              </a:tabLst>
              <a:defRPr sz="2200" baseline="0">
                <a:solidFill>
                  <a:srgbClr val="FFF0BE"/>
                </a:solidFill>
              </a:defRPr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LAN_Thanks"/>
          <p:cNvSpPr>
            <a:spLocks noGrp="1"/>
          </p:cNvSpPr>
          <p:nvPr>
            <p:ph type="title" hasCustomPrompt="1"/>
          </p:nvPr>
        </p:nvSpPr>
        <p:spPr>
          <a:xfrm>
            <a:off x="3326400" y="1639401"/>
            <a:ext cx="8167098" cy="1490661"/>
          </a:xfrm>
        </p:spPr>
        <p:txBody>
          <a:bodyPr anchor="t" anchorCtr="0"/>
          <a:lstStyle>
            <a:lvl1pPr>
              <a:defRPr sz="7800">
                <a:solidFill>
                  <a:srgbClr val="FFF0BE"/>
                </a:solidFill>
              </a:defRPr>
            </a:lvl1pPr>
          </a:lstStyle>
          <a:p>
            <a:r>
              <a:rPr lang="en-GB" err="1"/>
              <a:t>Tak</a:t>
            </a:r>
            <a:r>
              <a:rPr lang="en-GB"/>
              <a:t>.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9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0BE"/>
                </a:solidFill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0BE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9434" y="6163200"/>
            <a:ext cx="3600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380791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15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>
              <a:solidFill>
                <a:schemeClr val="tx1"/>
              </a:solidFill>
            </a:endParaRP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11865600" cy="6534000"/>
          </a:xfrm>
          <a:custGeom>
            <a:avLst/>
            <a:gdLst>
              <a:gd name="connsiteX0" fmla="*/ 0 w 11865600"/>
              <a:gd name="connsiteY0" fmla="*/ 0 h 6534000"/>
              <a:gd name="connsiteX1" fmla="*/ 11865600 w 11865600"/>
              <a:gd name="connsiteY1" fmla="*/ 0 h 6534000"/>
              <a:gd name="connsiteX2" fmla="*/ 11865600 w 11865600"/>
              <a:gd name="connsiteY2" fmla="*/ 4950428 h 6534000"/>
              <a:gd name="connsiteX3" fmla="*/ 9183600 w 11865600"/>
              <a:gd name="connsiteY3" fmla="*/ 4950428 h 6534000"/>
              <a:gd name="connsiteX4" fmla="*/ 9183600 w 11865600"/>
              <a:gd name="connsiteY4" fmla="*/ 5942102 h 6534000"/>
              <a:gd name="connsiteX5" fmla="*/ 11865600 w 11865600"/>
              <a:gd name="connsiteY5" fmla="*/ 5942102 h 6534000"/>
              <a:gd name="connsiteX6" fmla="*/ 11865600 w 11865600"/>
              <a:gd name="connsiteY6" fmla="*/ 6534000 h 6534000"/>
              <a:gd name="connsiteX7" fmla="*/ 0 w 118656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65600" h="6534000">
                <a:moveTo>
                  <a:pt x="0" y="0"/>
                </a:moveTo>
                <a:lnTo>
                  <a:pt x="11865600" y="0"/>
                </a:lnTo>
                <a:lnTo>
                  <a:pt x="11865600" y="4950428"/>
                </a:lnTo>
                <a:lnTo>
                  <a:pt x="9183600" y="4950428"/>
                </a:lnTo>
                <a:lnTo>
                  <a:pt x="9183600" y="5942102"/>
                </a:lnTo>
                <a:lnTo>
                  <a:pt x="11865600" y="5942102"/>
                </a:lnTo>
                <a:lnTo>
                  <a:pt x="11865600" y="6534000"/>
                </a:lnTo>
                <a:lnTo>
                  <a:pt x="0" y="6534000"/>
                </a:lnTo>
                <a:close/>
              </a:path>
            </a:pathLst>
          </a:custGeom>
          <a:solidFill>
            <a:srgbClr val="FFF0BE"/>
          </a:solidFill>
        </p:spPr>
        <p:txBody>
          <a:bodyPr wrap="square" tIns="792000" anchor="ctr" anchorCtr="0">
            <a:noAutofit/>
          </a:bodyPr>
          <a:lstStyle>
            <a:lvl1pPr marL="0" indent="0" algn="ctr">
              <a:buNone/>
              <a:tabLst>
                <a:tab pos="1700213" algn="l"/>
              </a:tabLst>
              <a:defRPr sz="2200" baseline="0">
                <a:solidFill>
                  <a:srgbClr val="FFF0BE"/>
                </a:solidFill>
              </a:defRPr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2" name="LAN_Thanks"/>
          <p:cNvSpPr>
            <a:spLocks noGrp="1"/>
          </p:cNvSpPr>
          <p:nvPr>
            <p:ph type="title" hasCustomPrompt="1"/>
          </p:nvPr>
        </p:nvSpPr>
        <p:spPr>
          <a:xfrm>
            <a:off x="3326400" y="1639401"/>
            <a:ext cx="8167098" cy="1490661"/>
          </a:xfrm>
        </p:spPr>
        <p:txBody>
          <a:bodyPr anchor="t" anchorCtr="0"/>
          <a:lstStyle>
            <a:lvl1pPr>
              <a:defRPr sz="7800">
                <a:solidFill>
                  <a:srgbClr val="F42941"/>
                </a:solidFill>
              </a:defRPr>
            </a:lvl1pPr>
          </a:lstStyle>
          <a:p>
            <a:r>
              <a:rPr lang="en-GB" err="1"/>
              <a:t>Tak</a:t>
            </a:r>
            <a:r>
              <a:rPr lang="en-GB"/>
              <a:t>.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9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3" name="Freeform 5"/>
          <p:cNvSpPr>
            <a:spLocks noChangeAspect="1" noEditPoints="1"/>
          </p:cNvSpPr>
          <p:nvPr userDrawn="1"/>
        </p:nvSpPr>
        <p:spPr bwMode="auto">
          <a:xfrm>
            <a:off x="699434" y="6282000"/>
            <a:ext cx="360349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FF0B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/>
              <a:t> 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9434" y="6163200"/>
            <a:ext cx="3600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7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</p:spTree>
    <p:extLst>
      <p:ext uri="{BB962C8B-B14F-4D97-AF65-F5344CB8AC3E}">
        <p14:creationId xmlns:p14="http://schemas.microsoft.com/office/powerpoint/2010/main" val="3900593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add title in max 1 line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498088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480083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N°›</a:t>
            </a:fld>
            <a:endParaRPr lang="en-GB"/>
          </a:p>
        </p:txBody>
      </p:sp>
      <p:sp>
        <p:nvSpPr>
          <p:cNvPr id="7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/>
              <a:t> </a:t>
            </a:r>
          </a:p>
        </p:txBody>
      </p:sp>
      <p:sp>
        <p:nvSpPr>
          <p:cNvPr id="8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0748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3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05355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 userDrawn="1"/>
        </p:nvSpPr>
        <p:spPr>
          <a:xfrm>
            <a:off x="663759" y="375883"/>
            <a:ext cx="10931524" cy="614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User guide – delete</a:t>
            </a:r>
            <a:r>
              <a:rPr lang="en-GB" sz="480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 before use</a:t>
            </a:r>
            <a:endParaRPr lang="en-GB" sz="48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/>
          </p:cNvSpPr>
          <p:nvPr userDrawn="1"/>
        </p:nvSpPr>
        <p:spPr bwMode="gray">
          <a:xfrm>
            <a:off x="7456919" y="3114505"/>
            <a:ext cx="2160000" cy="113877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ck mark next to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ing of guides</a:t>
            </a:r>
            <a:endParaRPr lang="en-GB"/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7456919" y="1409700"/>
            <a:ext cx="2160000" cy="158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</a:t>
            </a:r>
            <a:b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ll the corrections with you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r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  <a:endParaRPr lang="en-GB"/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4359622" y="1409700"/>
            <a:ext cx="2160000" cy="78483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pictur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holder and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/>
              <a:t>insert picture via </a:t>
            </a:r>
            <a:r>
              <a:rPr lang="en-GB" sz="900" b="1"/>
              <a:t>Add Images</a:t>
            </a:r>
            <a:r>
              <a:rPr lang="en-GB" sz="900"/>
              <a:t>-button </a:t>
            </a:r>
            <a:br>
              <a:rPr lang="en-GB" sz="900"/>
            </a:br>
            <a:r>
              <a:rPr lang="en-GB" sz="900"/>
              <a:t>in the </a:t>
            </a:r>
            <a:r>
              <a:rPr lang="en-GB" sz="900" b="1"/>
              <a:t>NORDEN-</a:t>
            </a:r>
            <a:r>
              <a:rPr lang="en-GB" sz="900" baseline="0"/>
              <a:t>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Box 12"/>
          <p:cNvSpPr txBox="1">
            <a:spLocks noChangeArrowheads="1"/>
          </p:cNvSpPr>
          <p:nvPr userDrawn="1"/>
        </p:nvSpPr>
        <p:spPr bwMode="auto">
          <a:xfrm>
            <a:off x="4359622" y="2220228"/>
            <a:ext cx="2160000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cture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1">
                <a:latin typeface="+mn-lt"/>
              </a:rPr>
              <a:t>NORDEN</a:t>
            </a:r>
            <a:r>
              <a:rPr lang="en-GB" sz="900" b="0" baseline="0">
                <a:latin typeface="+mn-lt"/>
              </a:rPr>
              <a:t>-TAB and</a:t>
            </a:r>
            <a:r>
              <a:rPr lang="en-GB" sz="900" baseline="0">
                <a:latin typeface="+mn-lt"/>
              </a:rPr>
              <a:t> 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Tools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rop down button, </a:t>
            </a:r>
            <a:b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change</a:t>
            </a: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size</a:t>
            </a: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or</a:t>
            </a:r>
            <a:r>
              <a:rPr lang="en-GB" sz="900" b="0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</a:t>
            </a:r>
            <a:b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f the picture</a:t>
            </a:r>
            <a:endParaRPr lang="en-GB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</a:t>
            </a:r>
            <a:r>
              <a:rPr lang="en-GB" alt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icture</a:t>
            </a:r>
            <a:endParaRPr lang="en-GB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</a:t>
            </a: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</a:t>
            </a:r>
            <a:r>
              <a:rPr lang="en-GB" altLang="da-DK" sz="900" b="0" strike="sng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ext Box 48"/>
          <p:cNvSpPr txBox="1">
            <a:spLocks noChangeArrowheads="1"/>
          </p:cNvSpPr>
          <p:nvPr userDrawn="1"/>
        </p:nvSpPr>
        <p:spPr bwMode="auto">
          <a:xfrm>
            <a:off x="693739" y="3277385"/>
            <a:ext cx="2160000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  <a:endParaRPr lang="en-GB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AutoShape 4"/>
          <p:cNvSpPr>
            <a:spLocks/>
          </p:cNvSpPr>
          <p:nvPr userDrawn="1"/>
        </p:nvSpPr>
        <p:spPr bwMode="gray">
          <a:xfrm>
            <a:off x="706058" y="4709084"/>
            <a:ext cx="2160000" cy="9130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29" name="Text Box 48"/>
          <p:cNvSpPr txBox="1">
            <a:spLocks noChangeArrowheads="1"/>
          </p:cNvSpPr>
          <p:nvPr userDrawn="1"/>
        </p:nvSpPr>
        <p:spPr bwMode="auto">
          <a:xfrm>
            <a:off x="693740" y="1409700"/>
            <a:ext cx="2486866" cy="160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if you want regula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. Click ENTER and then Bullet-button for correct bullet.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 level to the next level</a:t>
            </a:r>
            <a:endParaRPr lang="en-GB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36522" y="5318642"/>
            <a:ext cx="492452" cy="200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38544" y="3538594"/>
            <a:ext cx="324764" cy="578237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3034534" y="4208198"/>
            <a:ext cx="593368" cy="192211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05150" y="2651636"/>
            <a:ext cx="549328" cy="285228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4130" y="3299068"/>
            <a:ext cx="359695" cy="3353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033346" y="1652716"/>
            <a:ext cx="297872" cy="1833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44130" y="1609684"/>
            <a:ext cx="379911" cy="5194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244130" y="2375882"/>
            <a:ext cx="397317" cy="5880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0"/>
          <a:srcRect t="37299" r="32484" b="50317"/>
          <a:stretch/>
        </p:blipFill>
        <p:spPr>
          <a:xfrm>
            <a:off x="6284541" y="3015268"/>
            <a:ext cx="605090" cy="13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704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anlig med bilde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Knip ett hjørne i rektangel 6"/>
          <p:cNvSpPr/>
          <p:nvPr userDrawn="1"/>
        </p:nvSpPr>
        <p:spPr>
          <a:xfrm rot="10800000">
            <a:off x="381246" y="-4"/>
            <a:ext cx="11810751" cy="6452769"/>
          </a:xfrm>
          <a:prstGeom prst="snip1Rect">
            <a:avLst>
              <a:gd name="adj" fmla="val 27279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9" name="Plassholder for bilde 2"/>
          <p:cNvSpPr>
            <a:spLocks noGrp="1"/>
          </p:cNvSpPr>
          <p:nvPr>
            <p:ph type="pic" idx="13" hasCustomPrompt="1"/>
          </p:nvPr>
        </p:nvSpPr>
        <p:spPr>
          <a:xfrm>
            <a:off x="6890147" y="0"/>
            <a:ext cx="4923054" cy="6858000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r>
              <a:rPr lang="en-GB" err="1"/>
              <a:t>Klikk</a:t>
            </a:r>
            <a:r>
              <a:rPr lang="en-GB"/>
              <a:t> </a:t>
            </a:r>
            <a:r>
              <a:rPr lang="en-GB" err="1"/>
              <a:t>ikonet</a:t>
            </a:r>
            <a:r>
              <a:rPr lang="en-GB"/>
              <a:t> for å </a:t>
            </a:r>
            <a:r>
              <a:rPr lang="en-GB" err="1"/>
              <a:t>legge</a:t>
            </a:r>
            <a:r>
              <a:rPr lang="en-GB"/>
              <a:t> </a:t>
            </a:r>
            <a:r>
              <a:rPr lang="en-GB" err="1"/>
              <a:t>til</a:t>
            </a:r>
            <a:r>
              <a:rPr lang="en-GB"/>
              <a:t> et </a:t>
            </a:r>
            <a:r>
              <a:rPr lang="en-GB" err="1"/>
              <a:t>bilde</a:t>
            </a:r>
            <a:endParaRPr lang="en-GB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50352" y="1245135"/>
            <a:ext cx="5516220" cy="1098510"/>
          </a:xfrm>
        </p:spPr>
        <p:txBody>
          <a:bodyPr/>
          <a:lstStyle/>
          <a:p>
            <a:r>
              <a:rPr lang="en-GB" err="1"/>
              <a:t>Klikk</a:t>
            </a:r>
            <a:r>
              <a:rPr lang="en-GB"/>
              <a:t> for å </a:t>
            </a:r>
            <a:r>
              <a:rPr lang="en-GB" err="1"/>
              <a:t>redigere</a:t>
            </a:r>
            <a:r>
              <a:rPr lang="en-GB"/>
              <a:t> </a:t>
            </a:r>
            <a:r>
              <a:rPr lang="en-GB" err="1"/>
              <a:t>tittelstil</a:t>
            </a:r>
            <a:endParaRPr lang="en-GB"/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711663" y="2519160"/>
            <a:ext cx="5880532" cy="3314142"/>
          </a:xfrm>
        </p:spPr>
        <p:txBody>
          <a:bodyPr/>
          <a:lstStyle>
            <a:lvl1pPr marL="288000" indent="-288000">
              <a:buSzPct val="90000"/>
              <a:buFontTx/>
              <a:buBlip>
                <a:blip r:embed="rId2"/>
              </a:buBlip>
              <a:defRPr sz="1600" baseline="0"/>
            </a:lvl1pPr>
            <a:lvl2pPr marL="932400" indent="-284400">
              <a:spcBef>
                <a:spcPts val="624"/>
              </a:spcBef>
              <a:spcAft>
                <a:spcPts val="300"/>
              </a:spcAft>
              <a:buClrTx/>
              <a:buFontTx/>
              <a:buBlip>
                <a:blip r:embed="rId3"/>
              </a:buBlip>
              <a:defRPr/>
            </a:lvl2pPr>
          </a:lstStyle>
          <a:p>
            <a:pPr lvl="0"/>
            <a:r>
              <a:rPr lang="en-GB" err="1"/>
              <a:t>Klikk</a:t>
            </a:r>
            <a:r>
              <a:rPr lang="en-GB"/>
              <a:t> for å </a:t>
            </a:r>
            <a:r>
              <a:rPr lang="en-GB" err="1"/>
              <a:t>redigere</a:t>
            </a:r>
            <a:r>
              <a:rPr lang="en-GB"/>
              <a:t> </a:t>
            </a:r>
            <a:r>
              <a:rPr lang="en-GB" err="1"/>
              <a:t>tekststiler</a:t>
            </a:r>
            <a:r>
              <a:rPr lang="en-GB"/>
              <a:t> </a:t>
            </a:r>
            <a:r>
              <a:rPr lang="en-GB" err="1"/>
              <a:t>i</a:t>
            </a:r>
            <a:r>
              <a:rPr lang="en-GB"/>
              <a:t> </a:t>
            </a:r>
            <a:r>
              <a:rPr lang="en-GB" err="1"/>
              <a:t>malen</a:t>
            </a:r>
            <a:endParaRPr lang="en-GB"/>
          </a:p>
          <a:p>
            <a:pPr lvl="1"/>
            <a:r>
              <a:rPr lang="en-GB"/>
              <a:t>Andre </a:t>
            </a:r>
            <a:r>
              <a:rPr lang="en-GB" err="1"/>
              <a:t>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85909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>
              <a:solidFill>
                <a:schemeClr val="tx1"/>
              </a:solidFill>
            </a:endParaRPr>
          </a:p>
        </p:txBody>
      </p:sp>
      <p:sp>
        <p:nvSpPr>
          <p:cNvPr id="9" name="#nordicsolutions"/>
          <p:cNvSpPr/>
          <p:nvPr userDrawn="1"/>
        </p:nvSpPr>
        <p:spPr>
          <a:xfrm>
            <a:off x="9345600" y="3708000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000" y="1627200"/>
            <a:ext cx="8664083" cy="381475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rgbClr val="F42941"/>
                </a:solidFill>
              </a:defRPr>
            </a:lvl1pPr>
          </a:lstStyle>
          <a:p>
            <a:r>
              <a:rPr lang="da-DK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12943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rgbClr val="F4294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Mette Agger Tang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6094413" y="6292743"/>
            <a:ext cx="5399087" cy="176724"/>
          </a:xfrm>
        </p:spPr>
        <p:txBody>
          <a:bodyPr/>
          <a:lstStyle>
            <a:lvl1pPr>
              <a:defRPr sz="1350">
                <a:solidFill>
                  <a:srgbClr val="F42941"/>
                </a:solidFill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12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a-DK"/>
              <a:t> 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Statusmöte 14 September</a:t>
            </a:r>
          </a:p>
        </p:txBody>
      </p:sp>
    </p:spTree>
    <p:extLst>
      <p:ext uri="{BB962C8B-B14F-4D97-AF65-F5344CB8AC3E}">
        <p14:creationId xmlns:p14="http://schemas.microsoft.com/office/powerpoint/2010/main" val="16456372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amme"/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>
              <a:solidFill>
                <a:schemeClr val="tx1"/>
              </a:solidFill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11865600" cy="6534000"/>
          </a:xfrm>
          <a:custGeom>
            <a:avLst/>
            <a:gdLst>
              <a:gd name="connsiteX0" fmla="*/ 0 w 11865600"/>
              <a:gd name="connsiteY0" fmla="*/ 0 h 6534000"/>
              <a:gd name="connsiteX1" fmla="*/ 11865600 w 11865600"/>
              <a:gd name="connsiteY1" fmla="*/ 0 h 6534000"/>
              <a:gd name="connsiteX2" fmla="*/ 11865600 w 11865600"/>
              <a:gd name="connsiteY2" fmla="*/ 3546000 h 6534000"/>
              <a:gd name="connsiteX3" fmla="*/ 9183600 w 11865600"/>
              <a:gd name="connsiteY3" fmla="*/ 3546000 h 6534000"/>
              <a:gd name="connsiteX4" fmla="*/ 9183600 w 11865600"/>
              <a:gd name="connsiteY4" fmla="*/ 4537674 h 6534000"/>
              <a:gd name="connsiteX5" fmla="*/ 11865600 w 11865600"/>
              <a:gd name="connsiteY5" fmla="*/ 4537674 h 6534000"/>
              <a:gd name="connsiteX6" fmla="*/ 11865600 w 11865600"/>
              <a:gd name="connsiteY6" fmla="*/ 6534000 h 6534000"/>
              <a:gd name="connsiteX7" fmla="*/ 0 w 118656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65600" h="6534000">
                <a:moveTo>
                  <a:pt x="0" y="0"/>
                </a:moveTo>
                <a:lnTo>
                  <a:pt x="11865600" y="0"/>
                </a:lnTo>
                <a:lnTo>
                  <a:pt x="11865600" y="3546000"/>
                </a:lnTo>
                <a:lnTo>
                  <a:pt x="9183600" y="3546000"/>
                </a:lnTo>
                <a:lnTo>
                  <a:pt x="9183600" y="4537674"/>
                </a:lnTo>
                <a:lnTo>
                  <a:pt x="11865600" y="4537674"/>
                </a:lnTo>
                <a:lnTo>
                  <a:pt x="11865600" y="6534000"/>
                </a:lnTo>
                <a:lnTo>
                  <a:pt x="0" y="6534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baseline="0"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000" y="1627200"/>
            <a:ext cx="8101014" cy="766364"/>
          </a:xfrm>
        </p:spPr>
        <p:txBody>
          <a:bodyPr anchor="t" anchorCtr="0">
            <a:spAutoFit/>
          </a:bodyPr>
          <a:lstStyle>
            <a:lvl1pPr algn="l">
              <a:lnSpc>
                <a:spcPct val="83000"/>
              </a:lnSpc>
              <a:defRPr sz="6000">
                <a:solidFill>
                  <a:srgbClr val="F42941"/>
                </a:solidFill>
              </a:defRPr>
            </a:lvl1pPr>
          </a:lstStyle>
          <a:p>
            <a:r>
              <a:rPr lang="da-DK"/>
              <a:t>Click to add title</a:t>
            </a:r>
          </a:p>
        </p:txBody>
      </p:sp>
      <p:sp>
        <p:nvSpPr>
          <p:cNvPr id="3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12943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rgbClr val="F4294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Mette Agger Tang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6094413" y="6292743"/>
            <a:ext cx="5399087" cy="176724"/>
          </a:xfrm>
        </p:spPr>
        <p:txBody>
          <a:bodyPr/>
          <a:lstStyle>
            <a:lvl1pPr>
              <a:defRPr sz="1350">
                <a:solidFill>
                  <a:srgbClr val="F42941"/>
                </a:solidFill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9434" y="6163200"/>
            <a:ext cx="3600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14" name="#nordicsolutions"/>
          <p:cNvSpPr/>
          <p:nvPr userDrawn="1"/>
        </p:nvSpPr>
        <p:spPr>
          <a:xfrm>
            <a:off x="9345600" y="3708000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7775213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ggrund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11865600" cy="6534000"/>
          </a:xfrm>
          <a:custGeom>
            <a:avLst/>
            <a:gdLst>
              <a:gd name="connsiteX0" fmla="*/ 0 w 11865600"/>
              <a:gd name="connsiteY0" fmla="*/ 0 h 6534000"/>
              <a:gd name="connsiteX1" fmla="*/ 11865600 w 11865600"/>
              <a:gd name="connsiteY1" fmla="*/ 0 h 6534000"/>
              <a:gd name="connsiteX2" fmla="*/ 11865600 w 11865600"/>
              <a:gd name="connsiteY2" fmla="*/ 6534000 h 6534000"/>
              <a:gd name="connsiteX3" fmla="*/ 0 w 11865600"/>
              <a:gd name="connsiteY3" fmla="*/ 6534000 h 6534000"/>
              <a:gd name="connsiteX4" fmla="*/ 0 w 11865600"/>
              <a:gd name="connsiteY4" fmla="*/ 5128458 h 6534000"/>
              <a:gd name="connsiteX5" fmla="*/ 5932413 w 11865600"/>
              <a:gd name="connsiteY5" fmla="*/ 5128458 h 6534000"/>
              <a:gd name="connsiteX6" fmla="*/ 5932413 w 11865600"/>
              <a:gd name="connsiteY6" fmla="*/ 768729 h 6534000"/>
              <a:gd name="connsiteX7" fmla="*/ 0 w 11865600"/>
              <a:gd name="connsiteY7" fmla="*/ 768729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65600" h="6534000">
                <a:moveTo>
                  <a:pt x="0" y="0"/>
                </a:moveTo>
                <a:lnTo>
                  <a:pt x="11865600" y="0"/>
                </a:lnTo>
                <a:lnTo>
                  <a:pt x="11865600" y="6534000"/>
                </a:lnTo>
                <a:lnTo>
                  <a:pt x="0" y="6534000"/>
                </a:lnTo>
                <a:lnTo>
                  <a:pt x="0" y="5128458"/>
                </a:lnTo>
                <a:lnTo>
                  <a:pt x="5932413" y="5128458"/>
                </a:lnTo>
                <a:lnTo>
                  <a:pt x="5932413" y="768729"/>
                </a:lnTo>
                <a:lnTo>
                  <a:pt x="0" y="76872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baseline="0"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000" y="1627200"/>
            <a:ext cx="5207349" cy="1532727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3000"/>
              </a:lnSpc>
              <a:defRPr sz="6000">
                <a:solidFill>
                  <a:srgbClr val="FFF0BE"/>
                </a:solidFill>
              </a:defRPr>
            </a:lvl1pPr>
          </a:lstStyle>
          <a:p>
            <a:r>
              <a:rPr lang="da-DK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9434" y="6163200"/>
            <a:ext cx="3600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6094413" y="6290786"/>
            <a:ext cx="5399087" cy="176724"/>
          </a:xfrm>
        </p:spPr>
        <p:txBody>
          <a:bodyPr/>
          <a:lstStyle>
            <a:lvl1pPr>
              <a:defRPr sz="1350">
                <a:solidFill>
                  <a:srgbClr val="F42941"/>
                </a:solidFill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  <p:sp>
        <p:nvSpPr>
          <p:cNvPr id="13" name="#nordicsolutions"/>
          <p:cNvSpPr/>
          <p:nvPr userDrawn="1"/>
        </p:nvSpPr>
        <p:spPr>
          <a:xfrm>
            <a:off x="550800" y="3708000"/>
            <a:ext cx="2843917" cy="991674"/>
          </a:xfrm>
          <a:prstGeom prst="rect">
            <a:avLst/>
          </a:prstGeom>
          <a:solidFill>
            <a:srgbClr val="F42941"/>
          </a:solidFill>
          <a:ln>
            <a:solidFill>
              <a:srgbClr val="F429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  <p:sp>
        <p:nvSpPr>
          <p:cNvPr id="17" name="USR_Name"/>
          <p:cNvSpPr>
            <a:spLocks noGrp="1"/>
          </p:cNvSpPr>
          <p:nvPr>
            <p:ph type="subTitle" idx="1" hasCustomPrompt="1"/>
          </p:nvPr>
        </p:nvSpPr>
        <p:spPr>
          <a:xfrm>
            <a:off x="6094413" y="6012943"/>
            <a:ext cx="5399086" cy="279799"/>
          </a:xfrm>
        </p:spPr>
        <p:txBody>
          <a:bodyPr anchor="b" anchorCtr="0"/>
          <a:lstStyle>
            <a:lvl1pPr marL="0" indent="0" algn="r">
              <a:buNone/>
              <a:defRPr sz="1350" baseline="0">
                <a:solidFill>
                  <a:srgbClr val="F4294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Mette Agger Tang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Statusmöte 14 September</a:t>
            </a:r>
          </a:p>
        </p:txBody>
      </p:sp>
    </p:spTree>
    <p:extLst>
      <p:ext uri="{BB962C8B-B14F-4D97-AF65-F5344CB8AC3E}">
        <p14:creationId xmlns:p14="http://schemas.microsoft.com/office/powerpoint/2010/main" val="33243039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/>
              <a:t>Click to add title in max 1 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r>
              <a:rPr lang="da-DK"/>
              <a:t>Click to add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tatusmöte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/>
              <a:pPr/>
              <a:t>‹N°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8231997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Click to add title in max 2 lin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096496"/>
            <a:ext cx="10799760" cy="3853454"/>
          </a:xfrm>
        </p:spPr>
        <p:txBody>
          <a:bodyPr/>
          <a:lstStyle>
            <a:lvl1pPr marL="0" indent="0">
              <a:lnSpc>
                <a:spcPct val="98000"/>
              </a:lnSpc>
              <a:buFont typeface="Open Sans" panose="020B0606030504020204" pitchFamily="34" charset="0"/>
              <a:buChar char="​"/>
              <a:defRPr sz="2800"/>
            </a:lvl1pPr>
            <a:lvl2pPr marL="468000" indent="-468000">
              <a:lnSpc>
                <a:spcPct val="98000"/>
              </a:lnSpc>
              <a:buFont typeface="Arial" panose="020B0604020202020204" pitchFamily="34" charset="0"/>
              <a:buChar char="―"/>
              <a:defRPr sz="2800"/>
            </a:lvl2pPr>
            <a:lvl3pPr marL="720000" indent="-252000">
              <a:lnSpc>
                <a:spcPct val="98000"/>
              </a:lnSpc>
              <a:buFont typeface="Symbol" panose="05050102010706020507" pitchFamily="18" charset="2"/>
              <a:buChar char=""/>
              <a:defRPr sz="2800"/>
            </a:lvl3pPr>
            <a:lvl4pPr marL="972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4pPr>
            <a:lvl5pPr marL="1224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5pPr>
            <a:lvl6pPr marL="1476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6pPr>
            <a:lvl7pPr marL="1728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7pPr>
            <a:lvl8pPr marL="1980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8pPr>
            <a:lvl9pPr marL="2232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9pPr>
          </a:lstStyle>
          <a:p>
            <a:pPr lvl="0"/>
            <a:r>
              <a:rPr lang="da-DK"/>
              <a:t>Click to add intro text</a:t>
            </a:r>
          </a:p>
          <a:p>
            <a:pPr lvl="1"/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tatusmöte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/>
              <a:pPr/>
              <a:t>‹N°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681621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096496"/>
            <a:ext cx="10799760" cy="3842369"/>
          </a:xfrm>
        </p:spPr>
        <p:txBody>
          <a:bodyPr/>
          <a:lstStyle>
            <a:lvl1pPr marL="0" indent="0">
              <a:lnSpc>
                <a:spcPct val="98000"/>
              </a:lnSpc>
              <a:buFont typeface="Arial" panose="020B0604020202020204" pitchFamily="34" charset="0"/>
              <a:buChar char="​"/>
              <a:defRPr sz="2800"/>
            </a:lvl1pPr>
            <a:lvl2pPr marL="468000" indent="-468000">
              <a:lnSpc>
                <a:spcPct val="98000"/>
              </a:lnSpc>
              <a:buFont typeface="Arial" panose="020B0604020202020204" pitchFamily="34" charset="0"/>
              <a:buChar char="―"/>
              <a:defRPr sz="2800"/>
            </a:lvl2pPr>
            <a:lvl3pPr marL="720000" indent="-252000">
              <a:lnSpc>
                <a:spcPct val="98000"/>
              </a:lnSpc>
              <a:buFont typeface="Symbol" panose="05050102010706020507" pitchFamily="18" charset="2"/>
              <a:buChar char=""/>
              <a:defRPr sz="2800"/>
            </a:lvl3pPr>
            <a:lvl4pPr marL="972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4pPr>
            <a:lvl5pPr marL="1224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5pPr>
            <a:lvl6pPr marL="1476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6pPr>
            <a:lvl7pPr marL="1728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7pPr>
            <a:lvl8pPr marL="1980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8pPr>
            <a:lvl9pPr marL="2232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9pPr>
          </a:lstStyle>
          <a:p>
            <a:pPr lvl="0"/>
            <a:r>
              <a:rPr lang="en-GB"/>
              <a:t>Click to add intro text</a:t>
            </a:r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94644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Click to add title in max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3738" y="2162340"/>
            <a:ext cx="10799761" cy="37876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a-DK"/>
              <a:t>Click to add text or content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5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tatusmöte 14 Septemb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/>
              <a:t>‹N°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398135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5932800" cy="6534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162000"/>
            <a:ext cx="5936400" cy="3265200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94800" y="3427200"/>
            <a:ext cx="2701151" cy="3268800"/>
          </a:xfrm>
          <a:solidFill>
            <a:schemeClr val="bg1">
              <a:lumMod val="75000"/>
            </a:schemeClr>
          </a:solidFill>
        </p:spPr>
        <p:txBody>
          <a:bodyPr tIns="0" bIns="1548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6" hasCustomPrompt="1"/>
          </p:nvPr>
        </p:nvSpPr>
        <p:spPr>
          <a:xfrm>
            <a:off x="8794750" y="3427200"/>
            <a:ext cx="3240000" cy="3268800"/>
          </a:xfrm>
          <a:custGeom>
            <a:avLst/>
            <a:gdLst>
              <a:gd name="connsiteX0" fmla="*/ 0 w 3240000"/>
              <a:gd name="connsiteY0" fmla="*/ 0 h 3268800"/>
              <a:gd name="connsiteX1" fmla="*/ 3240000 w 3240000"/>
              <a:gd name="connsiteY1" fmla="*/ 0 h 3268800"/>
              <a:gd name="connsiteX2" fmla="*/ 3240000 w 3240000"/>
              <a:gd name="connsiteY2" fmla="*/ 1685228 h 3268800"/>
              <a:gd name="connsiteX3" fmla="*/ 550850 w 3240000"/>
              <a:gd name="connsiteY3" fmla="*/ 1685228 h 3268800"/>
              <a:gd name="connsiteX4" fmla="*/ 550850 w 3240000"/>
              <a:gd name="connsiteY4" fmla="*/ 2676902 h 3268800"/>
              <a:gd name="connsiteX5" fmla="*/ 3240000 w 3240000"/>
              <a:gd name="connsiteY5" fmla="*/ 2676902 h 3268800"/>
              <a:gd name="connsiteX6" fmla="*/ 3240000 w 3240000"/>
              <a:gd name="connsiteY6" fmla="*/ 3268800 h 3268800"/>
              <a:gd name="connsiteX7" fmla="*/ 0 w 3240000"/>
              <a:gd name="connsiteY7" fmla="*/ 3268800 h 326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40000" h="3268800">
                <a:moveTo>
                  <a:pt x="0" y="0"/>
                </a:moveTo>
                <a:lnTo>
                  <a:pt x="3240000" y="0"/>
                </a:lnTo>
                <a:lnTo>
                  <a:pt x="3240000" y="1685228"/>
                </a:lnTo>
                <a:lnTo>
                  <a:pt x="550850" y="1685228"/>
                </a:lnTo>
                <a:lnTo>
                  <a:pt x="550850" y="2676902"/>
                </a:lnTo>
                <a:lnTo>
                  <a:pt x="3240000" y="2676902"/>
                </a:lnTo>
                <a:lnTo>
                  <a:pt x="3240000" y="3268800"/>
                </a:lnTo>
                <a:lnTo>
                  <a:pt x="0" y="32688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0" bIns="154800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16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8992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3468" y="1353254"/>
            <a:ext cx="8152869" cy="3080633"/>
          </a:xfrm>
        </p:spPr>
        <p:txBody>
          <a:bodyPr/>
          <a:lstStyle>
            <a:lvl1pPr>
              <a:lnSpc>
                <a:spcPct val="83000"/>
              </a:lnSpc>
              <a:defRPr sz="6000" b="1" baseline="0">
                <a:solidFill>
                  <a:schemeClr val="tx1"/>
                </a:solidFill>
              </a:defRPr>
            </a:lvl1pPr>
          </a:lstStyle>
          <a:p>
            <a:r>
              <a:rPr lang="da-DK"/>
              <a:t>Use bold for highlighted text, other text regular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886771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12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accent1"/>
                </a:solidFill>
              </a:rPr>
              <a:t>#</a:t>
            </a:r>
            <a:r>
              <a:rPr lang="da-DK" sz="2200" b="1" err="1">
                <a:solidFill>
                  <a:schemeClr val="accent1"/>
                </a:solidFill>
              </a:rPr>
              <a:t>nordicsolutions</a:t>
            </a:r>
            <a:r>
              <a:rPr lang="da-DK" sz="2200" b="1">
                <a:solidFill>
                  <a:schemeClr val="accent1"/>
                </a:solidFill>
              </a:rPr>
              <a:t/>
            </a:r>
            <a:br>
              <a:rPr lang="da-DK" sz="2200" b="1">
                <a:solidFill>
                  <a:schemeClr val="accent1"/>
                </a:solidFill>
              </a:rPr>
            </a:br>
            <a:r>
              <a:rPr lang="da-DK" sz="2200" b="1">
                <a:solidFill>
                  <a:schemeClr val="accent1"/>
                </a:solidFill>
              </a:rPr>
              <a:t>to global </a:t>
            </a:r>
            <a:r>
              <a:rPr lang="da-DK" sz="2200" b="1" err="1">
                <a:solidFill>
                  <a:schemeClr val="accent1"/>
                </a:solidFill>
              </a:rPr>
              <a:t>challenges</a:t>
            </a:r>
            <a:endParaRPr lang="da-DK" sz="2200" b="1">
              <a:solidFill>
                <a:schemeClr val="accent1"/>
              </a:solidFill>
            </a:endParaRPr>
          </a:p>
        </p:txBody>
      </p:sp>
      <p:sp>
        <p:nvSpPr>
          <p:cNvPr id="13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>
              <a:solidFill>
                <a:schemeClr val="tx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04690"/>
            <a:ext cx="10799762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Open Sans" panose="020B0606030504020204" pitchFamily="34" charset="0"/>
              <a:buChar char="​"/>
              <a:defRPr sz="4000" b="1" i="1">
                <a:solidFill>
                  <a:schemeClr val="bg2"/>
                </a:solidFill>
              </a:defRPr>
            </a:lvl1pPr>
            <a:lvl2pPr marL="0" indent="0">
              <a:spcBef>
                <a:spcPts val="1800"/>
              </a:spcBef>
              <a:buFont typeface="Open Sans" panose="020B0606030504020204" pitchFamily="34" charset="0"/>
              <a:buChar char="​"/>
              <a:defRPr>
                <a:solidFill>
                  <a:schemeClr val="bg2"/>
                </a:solidFill>
              </a:defRPr>
            </a:lvl2pPr>
          </a:lstStyle>
          <a:p>
            <a:pPr lvl="0"/>
            <a:r>
              <a:rPr lang="da-DK"/>
              <a:t>Insert quotation text in several lines. Insert name or source: Click ENTER for new line, click TAB, insert name/source</a:t>
            </a:r>
          </a:p>
          <a:p>
            <a:pPr lvl="1"/>
            <a:r>
              <a:rPr lang="da-DK"/>
              <a:t>Second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  <p:sp>
        <p:nvSpPr>
          <p:cNvPr id="10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a-DK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128458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17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  <p:sp>
        <p:nvSpPr>
          <p:cNvPr id="11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>
              <a:solidFill>
                <a:schemeClr val="tx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04690"/>
            <a:ext cx="10799762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Open Sans" panose="020B0606030504020204" pitchFamily="34" charset="0"/>
              <a:buChar char="​"/>
              <a:defRPr sz="4000" b="1" i="1">
                <a:solidFill>
                  <a:srgbClr val="F42941"/>
                </a:solidFill>
              </a:defRPr>
            </a:lvl1pPr>
            <a:lvl2pPr marL="0" indent="0">
              <a:spcBef>
                <a:spcPts val="1800"/>
              </a:spcBef>
              <a:buFont typeface="Open Sans" panose="020B0606030504020204" pitchFamily="34" charset="0"/>
              <a:buChar char="​"/>
              <a:defRPr>
                <a:solidFill>
                  <a:srgbClr val="F42941"/>
                </a:solidFill>
              </a:defRPr>
            </a:lvl2pPr>
          </a:lstStyle>
          <a:p>
            <a:pPr lvl="0"/>
            <a:r>
              <a:rPr lang="da-DK"/>
              <a:t>Insert quotation text in several lines. Insert name or source: Click ENTER for new line, click TAB, insert name/source</a:t>
            </a:r>
          </a:p>
          <a:p>
            <a:pPr lvl="1"/>
            <a:r>
              <a:rPr lang="da-DK"/>
              <a:t>Second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tatusmöte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/>
              <a:pPr/>
              <a:t>‹N°›</a:t>
            </a:fld>
            <a:endParaRPr lang="da-DK"/>
          </a:p>
        </p:txBody>
      </p:sp>
      <p:sp>
        <p:nvSpPr>
          <p:cNvPr id="10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a-DK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627479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, teks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>
              <a:solidFill>
                <a:schemeClr val="tx1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10836932" cy="1018671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Click to add title in max 1 line</a:t>
            </a:r>
            <a:endParaRPr lang="da-DK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376126"/>
            <a:ext cx="2676479" cy="205776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None/>
              <a:tabLst/>
              <a:defRPr sz="1800" b="1" baseline="0"/>
            </a:lvl1pPr>
            <a:lvl2pPr marL="288000" indent="-288000">
              <a:lnSpc>
                <a:spcPct val="95000"/>
              </a:lnSpc>
              <a:buFont typeface="Corbel" panose="020B0503020204020204" pitchFamily="34" charset="0"/>
              <a:buChar char="—"/>
              <a:defRPr sz="1800"/>
            </a:lvl2pPr>
            <a:lvl3pPr marL="540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3pPr>
            <a:lvl4pPr marL="792000" indent="-252000">
              <a:lnSpc>
                <a:spcPct val="95000"/>
              </a:lnSpc>
              <a:buFont typeface="Arial" panose="020B0604020202020204" pitchFamily="34" charset="0"/>
              <a:buChar char="‒"/>
              <a:defRPr sz="1800"/>
            </a:lvl4pPr>
            <a:lvl5pPr marL="1044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5pPr>
            <a:lvl6pPr>
              <a:lnSpc>
                <a:spcPct val="95000"/>
              </a:lnSpc>
              <a:defRPr sz="1800"/>
            </a:lvl6pPr>
            <a:lvl7pPr>
              <a:lnSpc>
                <a:spcPct val="95000"/>
              </a:lnSpc>
              <a:defRPr sz="1800"/>
            </a:lvl7pPr>
            <a:lvl8pPr>
              <a:lnSpc>
                <a:spcPct val="95000"/>
              </a:lnSpc>
              <a:defRPr sz="1800"/>
            </a:lvl8pPr>
            <a:lvl9pPr>
              <a:lnSpc>
                <a:spcPct val="95000"/>
              </a:lnSpc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Char char="​"/>
              <a:tabLst/>
              <a:defRPr/>
            </a:pPr>
            <a:r>
              <a:rPr lang="da-DK"/>
              <a:t>Click to add chart text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7" y="4433887"/>
            <a:ext cx="2700337" cy="1575135"/>
          </a:xfrm>
        </p:spPr>
        <p:txBody>
          <a:bodyPr anchor="b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da-DK"/>
              <a:t>Click to add note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394074" y="1409699"/>
            <a:ext cx="8099424" cy="4550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Insert chart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tatusmöte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/>
              <a:pPr/>
              <a:t>‹N°›</a:t>
            </a:fld>
            <a:endParaRPr lang="da-DK"/>
          </a:p>
        </p:txBody>
      </p:sp>
      <p:sp>
        <p:nvSpPr>
          <p:cNvPr id="13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a-DK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465988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, tekst + not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  <p:sp>
        <p:nvSpPr>
          <p:cNvPr id="13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>
              <a:solidFill>
                <a:schemeClr val="tx1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10836932" cy="1018671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Click to add title in max 1 line</a:t>
            </a:r>
            <a:endParaRPr lang="da-DK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376126"/>
            <a:ext cx="2676479" cy="205776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None/>
              <a:tabLst/>
              <a:defRPr sz="1800" b="1" baseline="0"/>
            </a:lvl1pPr>
            <a:lvl2pPr marL="288000" indent="-288000">
              <a:lnSpc>
                <a:spcPct val="95000"/>
              </a:lnSpc>
              <a:buFont typeface="Corbel" panose="020B0503020204020204" pitchFamily="34" charset="0"/>
              <a:buChar char="—"/>
              <a:defRPr sz="1800"/>
            </a:lvl2pPr>
            <a:lvl3pPr marL="540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3pPr>
            <a:lvl4pPr marL="792000" indent="-252000">
              <a:lnSpc>
                <a:spcPct val="95000"/>
              </a:lnSpc>
              <a:buFont typeface="Arial" panose="020B0604020202020204" pitchFamily="34" charset="0"/>
              <a:buChar char="‒"/>
              <a:defRPr sz="1800"/>
            </a:lvl4pPr>
            <a:lvl5pPr marL="1044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5pPr>
            <a:lvl6pPr>
              <a:lnSpc>
                <a:spcPct val="95000"/>
              </a:lnSpc>
              <a:defRPr sz="1800"/>
            </a:lvl6pPr>
            <a:lvl7pPr>
              <a:lnSpc>
                <a:spcPct val="95000"/>
              </a:lnSpc>
              <a:defRPr sz="1800"/>
            </a:lvl7pPr>
            <a:lvl8pPr>
              <a:lnSpc>
                <a:spcPct val="95000"/>
              </a:lnSpc>
              <a:defRPr sz="1800"/>
            </a:lvl8pPr>
            <a:lvl9pPr>
              <a:lnSpc>
                <a:spcPct val="95000"/>
              </a:lnSpc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Char char="​"/>
              <a:tabLst/>
              <a:defRPr/>
            </a:pPr>
            <a:r>
              <a:rPr lang="da-DK"/>
              <a:t>Click to add chart text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7" y="4433887"/>
            <a:ext cx="2700337" cy="1575135"/>
          </a:xfrm>
        </p:spPr>
        <p:txBody>
          <a:bodyPr anchor="b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da-DK"/>
              <a:t>Click to add note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394075" y="1409699"/>
            <a:ext cx="5400676" cy="4550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Insert chart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tatusmöte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/>
              <a:pPr/>
              <a:t>‹N°›</a:t>
            </a:fld>
            <a:endParaRPr lang="da-DK"/>
          </a:p>
        </p:txBody>
      </p:sp>
      <p:sp>
        <p:nvSpPr>
          <p:cNvPr id="14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a-DK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447367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>
              <a:solidFill>
                <a:schemeClr val="tx1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Click to add title in max 1 line</a:t>
            </a:r>
            <a:endParaRPr lang="da-DK" noProof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Insert chart or table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da-DK"/>
              <a:t>Click to add note tex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/>
              <a:pPr/>
              <a:t>‹N°›</a:t>
            </a:fld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tatusmöte 14 September</a:t>
            </a:r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a-DK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96148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5932800" cy="6534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162000"/>
            <a:ext cx="5936400" cy="6534000"/>
          </a:xfrm>
          <a:custGeom>
            <a:avLst/>
            <a:gdLst>
              <a:gd name="connsiteX0" fmla="*/ 0 w 5936400"/>
              <a:gd name="connsiteY0" fmla="*/ 0 h 6534000"/>
              <a:gd name="connsiteX1" fmla="*/ 5936400 w 5936400"/>
              <a:gd name="connsiteY1" fmla="*/ 0 h 6534000"/>
              <a:gd name="connsiteX2" fmla="*/ 5936400 w 5936400"/>
              <a:gd name="connsiteY2" fmla="*/ 4950428 h 6534000"/>
              <a:gd name="connsiteX3" fmla="*/ 3250799 w 5936400"/>
              <a:gd name="connsiteY3" fmla="*/ 4950428 h 6534000"/>
              <a:gd name="connsiteX4" fmla="*/ 3250799 w 5936400"/>
              <a:gd name="connsiteY4" fmla="*/ 5942102 h 6534000"/>
              <a:gd name="connsiteX5" fmla="*/ 5936400 w 5936400"/>
              <a:gd name="connsiteY5" fmla="*/ 5942102 h 6534000"/>
              <a:gd name="connsiteX6" fmla="*/ 5936400 w 5936400"/>
              <a:gd name="connsiteY6" fmla="*/ 6534000 h 6534000"/>
              <a:gd name="connsiteX7" fmla="*/ 0 w 59364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36400" h="6534000">
                <a:moveTo>
                  <a:pt x="0" y="0"/>
                </a:moveTo>
                <a:lnTo>
                  <a:pt x="5936400" y="0"/>
                </a:lnTo>
                <a:lnTo>
                  <a:pt x="5936400" y="4950428"/>
                </a:lnTo>
                <a:lnTo>
                  <a:pt x="3250799" y="4950428"/>
                </a:lnTo>
                <a:lnTo>
                  <a:pt x="3250799" y="5942102"/>
                </a:lnTo>
                <a:lnTo>
                  <a:pt x="5936400" y="5942102"/>
                </a:lnTo>
                <a:lnTo>
                  <a:pt x="5936400" y="6534000"/>
                </a:lnTo>
                <a:lnTo>
                  <a:pt x="0" y="6534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tIns="118800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278565" cy="1285875"/>
          </a:xfrm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da-DK"/>
              <a:t>Click to add title in max 2 lin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  <p:sp>
        <p:nvSpPr>
          <p:cNvPr id="14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09936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ggrund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18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4736133" cy="1285875"/>
          </a:xfrm>
        </p:spPr>
        <p:txBody>
          <a:bodyPr/>
          <a:lstStyle>
            <a:lvl1pPr>
              <a:defRPr>
                <a:solidFill>
                  <a:srgbClr val="FFF0BE"/>
                </a:solidFill>
              </a:defRPr>
            </a:lvl1pPr>
          </a:lstStyle>
          <a:p>
            <a:r>
              <a:rPr lang="da-DK"/>
              <a:t>Click to add title in max 2 lin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920240"/>
            <a:ext cx="4698964" cy="4029710"/>
          </a:xfrm>
        </p:spPr>
        <p:txBody>
          <a:bodyPr/>
          <a:lstStyle>
            <a:lvl1pPr>
              <a:lnSpc>
                <a:spcPct val="95000"/>
              </a:lnSpc>
              <a:defRPr sz="2200">
                <a:solidFill>
                  <a:srgbClr val="FFF0BE"/>
                </a:solidFill>
              </a:defRPr>
            </a:lvl1pPr>
            <a:lvl2pPr>
              <a:lnSpc>
                <a:spcPct val="95000"/>
              </a:lnSpc>
              <a:defRPr sz="2200">
                <a:solidFill>
                  <a:srgbClr val="FFF0BE"/>
                </a:solidFill>
              </a:defRPr>
            </a:lvl2pPr>
            <a:lvl3pPr>
              <a:lnSpc>
                <a:spcPct val="95000"/>
              </a:lnSpc>
              <a:defRPr sz="2200">
                <a:solidFill>
                  <a:srgbClr val="FFF0BE"/>
                </a:solidFill>
              </a:defRPr>
            </a:lvl3pPr>
            <a:lvl4pPr>
              <a:lnSpc>
                <a:spcPct val="95000"/>
              </a:lnSpc>
              <a:defRPr sz="2200">
                <a:solidFill>
                  <a:srgbClr val="FFF0BE"/>
                </a:solidFill>
              </a:defRPr>
            </a:lvl4pPr>
            <a:lvl5pPr>
              <a:lnSpc>
                <a:spcPct val="95000"/>
              </a:lnSpc>
              <a:defRPr sz="2200">
                <a:solidFill>
                  <a:srgbClr val="FFF0BE"/>
                </a:solidFill>
              </a:defRPr>
            </a:lvl5pPr>
            <a:lvl6pPr>
              <a:lnSpc>
                <a:spcPct val="95000"/>
              </a:lnSpc>
              <a:defRPr sz="1800">
                <a:solidFill>
                  <a:srgbClr val="ADCFF1"/>
                </a:solidFill>
              </a:defRPr>
            </a:lvl6pPr>
            <a:lvl7pPr>
              <a:lnSpc>
                <a:spcPct val="95000"/>
              </a:lnSpc>
              <a:defRPr sz="1800">
                <a:solidFill>
                  <a:srgbClr val="ADCFF1"/>
                </a:solidFill>
              </a:defRPr>
            </a:lvl7pPr>
            <a:lvl8pPr>
              <a:lnSpc>
                <a:spcPct val="95000"/>
              </a:lnSpc>
              <a:defRPr sz="1800">
                <a:solidFill>
                  <a:srgbClr val="ADCFF1"/>
                </a:solidFill>
              </a:defRPr>
            </a:lvl8pPr>
            <a:lvl9pPr>
              <a:lnSpc>
                <a:spcPct val="95000"/>
              </a:lnSpc>
              <a:defRPr sz="1800">
                <a:solidFill>
                  <a:srgbClr val="ADCFF1"/>
                </a:solidFill>
              </a:defRPr>
            </a:lvl9pPr>
          </a:lstStyle>
          <a:p>
            <a:pPr lvl="0"/>
            <a:r>
              <a:rPr lang="da-DK"/>
              <a:t>Click to add chart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FF0B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162000"/>
            <a:ext cx="5936400" cy="6534000"/>
          </a:xfrm>
          <a:custGeom>
            <a:avLst/>
            <a:gdLst>
              <a:gd name="connsiteX0" fmla="*/ 0 w 5936400"/>
              <a:gd name="connsiteY0" fmla="*/ 0 h 6534000"/>
              <a:gd name="connsiteX1" fmla="*/ 5936400 w 5936400"/>
              <a:gd name="connsiteY1" fmla="*/ 0 h 6534000"/>
              <a:gd name="connsiteX2" fmla="*/ 5936400 w 5936400"/>
              <a:gd name="connsiteY2" fmla="*/ 4950428 h 6534000"/>
              <a:gd name="connsiteX3" fmla="*/ 3250799 w 5936400"/>
              <a:gd name="connsiteY3" fmla="*/ 4950428 h 6534000"/>
              <a:gd name="connsiteX4" fmla="*/ 3250799 w 5936400"/>
              <a:gd name="connsiteY4" fmla="*/ 5942102 h 6534000"/>
              <a:gd name="connsiteX5" fmla="*/ 5936400 w 5936400"/>
              <a:gd name="connsiteY5" fmla="*/ 5942102 h 6534000"/>
              <a:gd name="connsiteX6" fmla="*/ 5936400 w 5936400"/>
              <a:gd name="connsiteY6" fmla="*/ 6534000 h 6534000"/>
              <a:gd name="connsiteX7" fmla="*/ 0 w 59364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36400" h="6534000">
                <a:moveTo>
                  <a:pt x="0" y="0"/>
                </a:moveTo>
                <a:lnTo>
                  <a:pt x="5936400" y="0"/>
                </a:lnTo>
                <a:lnTo>
                  <a:pt x="5936400" y="4950428"/>
                </a:lnTo>
                <a:lnTo>
                  <a:pt x="3250799" y="4950428"/>
                </a:lnTo>
                <a:lnTo>
                  <a:pt x="3250799" y="5942102"/>
                </a:lnTo>
                <a:lnTo>
                  <a:pt x="5936400" y="5942102"/>
                </a:lnTo>
                <a:lnTo>
                  <a:pt x="5936400" y="6534000"/>
                </a:lnTo>
                <a:lnTo>
                  <a:pt x="0" y="6534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118800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</p:spTree>
    <p:extLst>
      <p:ext uri="{BB962C8B-B14F-4D97-AF65-F5344CB8AC3E}">
        <p14:creationId xmlns:p14="http://schemas.microsoft.com/office/powerpoint/2010/main" val="8990315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 in max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3738" y="2162340"/>
            <a:ext cx="10799761" cy="37876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/>
              <a:t>Click to add text or conte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5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639872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ggrund"/>
          <p:cNvSpPr/>
          <p:nvPr userDrawn="1"/>
        </p:nvSpPr>
        <p:spPr>
          <a:xfrm>
            <a:off x="6094412" y="0"/>
            <a:ext cx="6097587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9" hasCustomPrompt="1"/>
          </p:nvPr>
        </p:nvSpPr>
        <p:spPr>
          <a:xfrm>
            <a:off x="6094801" y="162000"/>
            <a:ext cx="5936400" cy="6534000"/>
          </a:xfrm>
          <a:custGeom>
            <a:avLst/>
            <a:gdLst>
              <a:gd name="connsiteX0" fmla="*/ 0 w 5936400"/>
              <a:gd name="connsiteY0" fmla="*/ 0 h 6534000"/>
              <a:gd name="connsiteX1" fmla="*/ 5936400 w 5936400"/>
              <a:gd name="connsiteY1" fmla="*/ 0 h 6534000"/>
              <a:gd name="connsiteX2" fmla="*/ 5936400 w 5936400"/>
              <a:gd name="connsiteY2" fmla="*/ 4950428 h 6534000"/>
              <a:gd name="connsiteX3" fmla="*/ 3250799 w 5936400"/>
              <a:gd name="connsiteY3" fmla="*/ 4950428 h 6534000"/>
              <a:gd name="connsiteX4" fmla="*/ 3250799 w 5936400"/>
              <a:gd name="connsiteY4" fmla="*/ 5942102 h 6534000"/>
              <a:gd name="connsiteX5" fmla="*/ 5936400 w 5936400"/>
              <a:gd name="connsiteY5" fmla="*/ 5942102 h 6534000"/>
              <a:gd name="connsiteX6" fmla="*/ 5936400 w 5936400"/>
              <a:gd name="connsiteY6" fmla="*/ 6534000 h 6534000"/>
              <a:gd name="connsiteX7" fmla="*/ 0 w 59364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36400" h="6534000">
                <a:moveTo>
                  <a:pt x="0" y="0"/>
                </a:moveTo>
                <a:lnTo>
                  <a:pt x="5936400" y="0"/>
                </a:lnTo>
                <a:lnTo>
                  <a:pt x="5936400" y="4950428"/>
                </a:lnTo>
                <a:lnTo>
                  <a:pt x="3250799" y="4950428"/>
                </a:lnTo>
                <a:lnTo>
                  <a:pt x="3250799" y="5942102"/>
                </a:lnTo>
                <a:lnTo>
                  <a:pt x="5936400" y="5942102"/>
                </a:lnTo>
                <a:lnTo>
                  <a:pt x="5936400" y="6534000"/>
                </a:lnTo>
                <a:lnTo>
                  <a:pt x="0" y="6534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118800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da-DK"/>
              <a:t>Click to add text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7" name="FLD_Footer" hidden="1"/>
          <p:cNvSpPr>
            <a:spLocks noGrp="1"/>
          </p:cNvSpPr>
          <p:nvPr>
            <p:ph type="ftr" sz="quarter" idx="17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45D37B1E-C366-494F-A587-962AD9AABC83}" type="slidenum">
              <a:rPr lang="da-DK"/>
              <a:pPr/>
              <a:t>‹N°›</a:t>
            </a:fld>
            <a:endParaRPr lang="da-DK"/>
          </a:p>
        </p:txBody>
      </p:sp>
      <p:sp>
        <p:nvSpPr>
          <p:cNvPr id="14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9352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ggrund"/>
          <p:cNvSpPr/>
          <p:nvPr userDrawn="1"/>
        </p:nvSpPr>
        <p:spPr>
          <a:xfrm>
            <a:off x="8794750" y="0"/>
            <a:ext cx="3397249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14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7795777" cy="128587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7740144" cy="3532187"/>
          </a:xfrm>
        </p:spPr>
        <p:txBody>
          <a:bodyPr/>
          <a:lstStyle/>
          <a:p>
            <a:pPr lvl="0"/>
            <a:r>
              <a:rPr lang="da-DK"/>
              <a:t>Click to add text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 hasCustomPrompt="1"/>
          </p:nvPr>
        </p:nvSpPr>
        <p:spPr>
          <a:xfrm>
            <a:off x="8794750" y="162000"/>
            <a:ext cx="3236400" cy="6534000"/>
          </a:xfrm>
          <a:custGeom>
            <a:avLst/>
            <a:gdLst>
              <a:gd name="connsiteX0" fmla="*/ 0 w 3236400"/>
              <a:gd name="connsiteY0" fmla="*/ 0 h 6534000"/>
              <a:gd name="connsiteX1" fmla="*/ 3236400 w 3236400"/>
              <a:gd name="connsiteY1" fmla="*/ 0 h 6534000"/>
              <a:gd name="connsiteX2" fmla="*/ 3236400 w 3236400"/>
              <a:gd name="connsiteY2" fmla="*/ 4950428 h 6534000"/>
              <a:gd name="connsiteX3" fmla="*/ 550850 w 3236400"/>
              <a:gd name="connsiteY3" fmla="*/ 4950428 h 6534000"/>
              <a:gd name="connsiteX4" fmla="*/ 550850 w 3236400"/>
              <a:gd name="connsiteY4" fmla="*/ 5942102 h 6534000"/>
              <a:gd name="connsiteX5" fmla="*/ 3236400 w 3236400"/>
              <a:gd name="connsiteY5" fmla="*/ 5942102 h 6534000"/>
              <a:gd name="connsiteX6" fmla="*/ 3236400 w 3236400"/>
              <a:gd name="connsiteY6" fmla="*/ 6534000 h 6534000"/>
              <a:gd name="connsiteX7" fmla="*/ 0 w 32364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36400" h="6534000">
                <a:moveTo>
                  <a:pt x="0" y="0"/>
                </a:moveTo>
                <a:lnTo>
                  <a:pt x="3236400" y="0"/>
                </a:lnTo>
                <a:lnTo>
                  <a:pt x="3236400" y="4950428"/>
                </a:lnTo>
                <a:lnTo>
                  <a:pt x="550850" y="4950428"/>
                </a:lnTo>
                <a:lnTo>
                  <a:pt x="550850" y="5942102"/>
                </a:lnTo>
                <a:lnTo>
                  <a:pt x="3236400" y="5942102"/>
                </a:lnTo>
                <a:lnTo>
                  <a:pt x="3236400" y="6534000"/>
                </a:lnTo>
                <a:lnTo>
                  <a:pt x="0" y="6534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1440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7" name="FLD_Footer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Statusmöte 14 Septemb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da-DK"/>
              <a:pPr/>
              <a:t>‹N°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073538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ggrund"/>
          <p:cNvSpPr/>
          <p:nvPr userDrawn="1"/>
        </p:nvSpPr>
        <p:spPr>
          <a:xfrm>
            <a:off x="6094412" y="0"/>
            <a:ext cx="6097587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15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da-DK"/>
              <a:t>Click to add text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162000"/>
            <a:ext cx="5925600" cy="3265200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0" y="3425824"/>
            <a:ext cx="5925600" cy="3268800"/>
          </a:xfrm>
          <a:custGeom>
            <a:avLst/>
            <a:gdLst>
              <a:gd name="connsiteX0" fmla="*/ 0 w 5925600"/>
              <a:gd name="connsiteY0" fmla="*/ 0 h 3268800"/>
              <a:gd name="connsiteX1" fmla="*/ 5925600 w 5925600"/>
              <a:gd name="connsiteY1" fmla="*/ 0 h 3268800"/>
              <a:gd name="connsiteX2" fmla="*/ 5925600 w 5925600"/>
              <a:gd name="connsiteY2" fmla="*/ 1686604 h 3268800"/>
              <a:gd name="connsiteX3" fmla="*/ 3250800 w 5925600"/>
              <a:gd name="connsiteY3" fmla="*/ 1686604 h 3268800"/>
              <a:gd name="connsiteX4" fmla="*/ 3250800 w 5925600"/>
              <a:gd name="connsiteY4" fmla="*/ 2678278 h 3268800"/>
              <a:gd name="connsiteX5" fmla="*/ 5925600 w 5925600"/>
              <a:gd name="connsiteY5" fmla="*/ 2678278 h 3268800"/>
              <a:gd name="connsiteX6" fmla="*/ 5925600 w 5925600"/>
              <a:gd name="connsiteY6" fmla="*/ 3268800 h 3268800"/>
              <a:gd name="connsiteX7" fmla="*/ 0 w 5925600"/>
              <a:gd name="connsiteY7" fmla="*/ 3268800 h 326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25600" h="3268800">
                <a:moveTo>
                  <a:pt x="0" y="0"/>
                </a:moveTo>
                <a:lnTo>
                  <a:pt x="5925600" y="0"/>
                </a:lnTo>
                <a:lnTo>
                  <a:pt x="5925600" y="1686604"/>
                </a:lnTo>
                <a:lnTo>
                  <a:pt x="3250800" y="1686604"/>
                </a:lnTo>
                <a:lnTo>
                  <a:pt x="3250800" y="2678278"/>
                </a:lnTo>
                <a:lnTo>
                  <a:pt x="5925600" y="2678278"/>
                </a:lnTo>
                <a:lnTo>
                  <a:pt x="5925600" y="3268800"/>
                </a:lnTo>
                <a:lnTo>
                  <a:pt x="0" y="32688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0" bIns="1188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7" name="FLD_Footer" hidden="1"/>
          <p:cNvSpPr>
            <a:spLocks noGrp="1"/>
          </p:cNvSpPr>
          <p:nvPr>
            <p:ph type="ftr" sz="quarter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8" name="Slide Number Placeholder 7" hidden="1"/>
          <p:cNvSpPr>
            <a:spLocks noGrp="1"/>
          </p:cNvSpPr>
          <p:nvPr>
            <p:ph type="sldNum" sz="quarter" idx="19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56524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rund"/>
          <p:cNvSpPr/>
          <p:nvPr userDrawn="1"/>
        </p:nvSpPr>
        <p:spPr>
          <a:xfrm>
            <a:off x="6094412" y="0"/>
            <a:ext cx="6097587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16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a-DK"/>
              <a:t>Click to add title in max 2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da-DK"/>
              <a:t>Click to add text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162000"/>
            <a:ext cx="5925600" cy="3265200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3425823"/>
            <a:ext cx="2699950" cy="3268800"/>
          </a:xfrm>
          <a:solidFill>
            <a:schemeClr val="bg1">
              <a:lumMod val="85000"/>
            </a:schemeClr>
          </a:solidFill>
        </p:spPr>
        <p:txBody>
          <a:bodyPr tIns="0" bIns="158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7" hasCustomPrompt="1"/>
          </p:nvPr>
        </p:nvSpPr>
        <p:spPr>
          <a:xfrm>
            <a:off x="8794751" y="3425823"/>
            <a:ext cx="3236400" cy="3268800"/>
          </a:xfrm>
          <a:custGeom>
            <a:avLst/>
            <a:gdLst>
              <a:gd name="connsiteX0" fmla="*/ 0 w 3236400"/>
              <a:gd name="connsiteY0" fmla="*/ 0 h 3268800"/>
              <a:gd name="connsiteX1" fmla="*/ 3236400 w 3236400"/>
              <a:gd name="connsiteY1" fmla="*/ 0 h 3268800"/>
              <a:gd name="connsiteX2" fmla="*/ 3236400 w 3236400"/>
              <a:gd name="connsiteY2" fmla="*/ 1686605 h 3268800"/>
              <a:gd name="connsiteX3" fmla="*/ 550849 w 3236400"/>
              <a:gd name="connsiteY3" fmla="*/ 1686605 h 3268800"/>
              <a:gd name="connsiteX4" fmla="*/ 550849 w 3236400"/>
              <a:gd name="connsiteY4" fmla="*/ 2678279 h 3268800"/>
              <a:gd name="connsiteX5" fmla="*/ 3236400 w 3236400"/>
              <a:gd name="connsiteY5" fmla="*/ 2678279 h 3268800"/>
              <a:gd name="connsiteX6" fmla="*/ 3236400 w 3236400"/>
              <a:gd name="connsiteY6" fmla="*/ 3268800 h 3268800"/>
              <a:gd name="connsiteX7" fmla="*/ 0 w 3236400"/>
              <a:gd name="connsiteY7" fmla="*/ 3268800 h 326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36400" h="3268800">
                <a:moveTo>
                  <a:pt x="0" y="0"/>
                </a:moveTo>
                <a:lnTo>
                  <a:pt x="3236400" y="0"/>
                </a:lnTo>
                <a:lnTo>
                  <a:pt x="3236400" y="1686605"/>
                </a:lnTo>
                <a:lnTo>
                  <a:pt x="550849" y="1686605"/>
                </a:lnTo>
                <a:lnTo>
                  <a:pt x="550849" y="2678279"/>
                </a:lnTo>
                <a:lnTo>
                  <a:pt x="3236400" y="2678279"/>
                </a:lnTo>
                <a:lnTo>
                  <a:pt x="3236400" y="3268800"/>
                </a:lnTo>
                <a:lnTo>
                  <a:pt x="0" y="32688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tIns="0" bIns="1584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7" name="FLD_Footer" hidden="1"/>
          <p:cNvSpPr>
            <a:spLocks noGrp="1"/>
          </p:cNvSpPr>
          <p:nvPr>
            <p:ph type="ftr" sz="quarter" idx="19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8" name="Slide Number Placeholder 7" hidden="1"/>
          <p:cNvSpPr>
            <a:spLocks noGrp="1"/>
          </p:cNvSpPr>
          <p:nvPr>
            <p:ph type="sldNum" sz="quarter" idx="2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5888128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4294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13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11865600" cy="6534000"/>
          </a:xfrm>
          <a:custGeom>
            <a:avLst/>
            <a:gdLst>
              <a:gd name="connsiteX0" fmla="*/ 0 w 11865600"/>
              <a:gd name="connsiteY0" fmla="*/ 0 h 6534000"/>
              <a:gd name="connsiteX1" fmla="*/ 11865600 w 11865600"/>
              <a:gd name="connsiteY1" fmla="*/ 0 h 6534000"/>
              <a:gd name="connsiteX2" fmla="*/ 11865600 w 11865600"/>
              <a:gd name="connsiteY2" fmla="*/ 4950428 h 6534000"/>
              <a:gd name="connsiteX3" fmla="*/ 9183600 w 11865600"/>
              <a:gd name="connsiteY3" fmla="*/ 4950428 h 6534000"/>
              <a:gd name="connsiteX4" fmla="*/ 9183600 w 11865600"/>
              <a:gd name="connsiteY4" fmla="*/ 5942102 h 6534000"/>
              <a:gd name="connsiteX5" fmla="*/ 11865600 w 11865600"/>
              <a:gd name="connsiteY5" fmla="*/ 5942102 h 6534000"/>
              <a:gd name="connsiteX6" fmla="*/ 11865600 w 11865600"/>
              <a:gd name="connsiteY6" fmla="*/ 6534000 h 6534000"/>
              <a:gd name="connsiteX7" fmla="*/ 0 w 118656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65600" h="6534000">
                <a:moveTo>
                  <a:pt x="0" y="0"/>
                </a:moveTo>
                <a:lnTo>
                  <a:pt x="11865600" y="0"/>
                </a:lnTo>
                <a:lnTo>
                  <a:pt x="11865600" y="4950428"/>
                </a:lnTo>
                <a:lnTo>
                  <a:pt x="9183600" y="4950428"/>
                </a:lnTo>
                <a:lnTo>
                  <a:pt x="9183600" y="5942102"/>
                </a:lnTo>
                <a:lnTo>
                  <a:pt x="11865600" y="5942102"/>
                </a:lnTo>
                <a:lnTo>
                  <a:pt x="11865600" y="6534000"/>
                </a:lnTo>
                <a:lnTo>
                  <a:pt x="0" y="6534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437845" cy="1346332"/>
          </a:xfrm>
        </p:spPr>
        <p:txBody>
          <a:bodyPr/>
          <a:lstStyle>
            <a:lvl1pPr>
              <a:defRPr baseline="0">
                <a:solidFill>
                  <a:srgbClr val="F42941"/>
                </a:solidFill>
              </a:defRPr>
            </a:lvl1pPr>
          </a:lstStyle>
          <a:p>
            <a:r>
              <a:rPr lang="da-DK"/>
              <a:t>Click to add title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7" name="FLD_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086378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siness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22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accent1"/>
                </a:solidFill>
              </a:rPr>
              <a:t>#</a:t>
            </a:r>
            <a:r>
              <a:rPr lang="da-DK" sz="2200" b="1" err="1">
                <a:solidFill>
                  <a:schemeClr val="accent1"/>
                </a:solidFill>
              </a:rPr>
              <a:t>nordicsolutions</a:t>
            </a:r>
            <a:r>
              <a:rPr lang="da-DK" sz="2200" b="1">
                <a:solidFill>
                  <a:schemeClr val="accent1"/>
                </a:solidFill>
              </a:rPr>
              <a:t/>
            </a:r>
            <a:br>
              <a:rPr lang="da-DK" sz="2200" b="1">
                <a:solidFill>
                  <a:schemeClr val="accent1"/>
                </a:solidFill>
              </a:rPr>
            </a:br>
            <a:r>
              <a:rPr lang="da-DK" sz="2200" b="1">
                <a:solidFill>
                  <a:schemeClr val="accent1"/>
                </a:solidFill>
              </a:rPr>
              <a:t>to global </a:t>
            </a:r>
            <a:r>
              <a:rPr lang="da-DK" sz="2200" b="1" err="1">
                <a:solidFill>
                  <a:schemeClr val="accent1"/>
                </a:solidFill>
              </a:rPr>
              <a:t>challenges</a:t>
            </a:r>
            <a:endParaRPr lang="da-DK" sz="2200" b="1">
              <a:solidFill>
                <a:schemeClr val="accent1"/>
              </a:solidFill>
            </a:endParaRPr>
          </a:p>
        </p:txBody>
      </p:sp>
      <p:sp>
        <p:nvSpPr>
          <p:cNvPr id="11" name="USR_Name"/>
          <p:cNvSpPr>
            <a:spLocks noGrp="1"/>
          </p:cNvSpPr>
          <p:nvPr>
            <p:ph type="body" sz="quarter" idx="13" hasCustomPrompt="1"/>
          </p:nvPr>
        </p:nvSpPr>
        <p:spPr>
          <a:xfrm>
            <a:off x="3394074" y="1915152"/>
            <a:ext cx="8099423" cy="601488"/>
          </a:xfrm>
        </p:spPr>
        <p:txBody>
          <a:bodyPr anchor="b" anchorCtr="0"/>
          <a:lstStyle>
            <a:lvl1pPr marL="0" indent="0">
              <a:buFontTx/>
              <a:buNone/>
              <a:defRPr sz="2800" b="1">
                <a:solidFill>
                  <a:srgbClr val="FFF0BE"/>
                </a:solidFill>
              </a:defRPr>
            </a:lvl1pPr>
          </a:lstStyle>
          <a:p>
            <a:pPr lvl="0"/>
            <a:r>
              <a:rPr lang="da-DK"/>
              <a:t>Mette Agger Tang</a:t>
            </a:r>
          </a:p>
        </p:txBody>
      </p:sp>
      <p:sp>
        <p:nvSpPr>
          <p:cNvPr id="14" name="USR_Title"/>
          <p:cNvSpPr>
            <a:spLocks noGrp="1"/>
          </p:cNvSpPr>
          <p:nvPr>
            <p:ph type="body" sz="quarter" idx="14" hasCustomPrompt="1"/>
          </p:nvPr>
        </p:nvSpPr>
        <p:spPr>
          <a:xfrm>
            <a:off x="3394075" y="2630186"/>
            <a:ext cx="8099421" cy="445700"/>
          </a:xfrm>
        </p:spPr>
        <p:txBody>
          <a:bodyPr/>
          <a:lstStyle>
            <a:lvl1pPr marL="0" indent="0">
              <a:buNone/>
              <a:defRPr sz="2800">
                <a:solidFill>
                  <a:srgbClr val="FFF0BE"/>
                </a:solidFill>
              </a:defRPr>
            </a:lvl1pPr>
          </a:lstStyle>
          <a:p>
            <a:pPr lvl="0"/>
            <a:r>
              <a:rPr lang="da-DK"/>
              <a:t>Grafisk designer</a:t>
            </a:r>
          </a:p>
        </p:txBody>
      </p:sp>
      <p:sp>
        <p:nvSpPr>
          <p:cNvPr id="16" name="USR_Email"/>
          <p:cNvSpPr>
            <a:spLocks noGrp="1"/>
          </p:cNvSpPr>
          <p:nvPr>
            <p:ph type="body" sz="quarter" idx="15" hasCustomPrompt="1"/>
          </p:nvPr>
        </p:nvSpPr>
        <p:spPr>
          <a:xfrm>
            <a:off x="3394074" y="3166672"/>
            <a:ext cx="8099425" cy="484188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rgbClr val="FFF0BE"/>
                </a:solidFill>
              </a:defRPr>
            </a:lvl1pPr>
          </a:lstStyle>
          <a:p>
            <a:pPr lvl="0"/>
            <a:r>
              <a:rPr lang="da-DK"/>
              <a:t>mettan@norden.org</a:t>
            </a:r>
          </a:p>
        </p:txBody>
      </p:sp>
      <p:sp>
        <p:nvSpPr>
          <p:cNvPr id="17" name="USR_DirectPhone"/>
          <p:cNvSpPr>
            <a:spLocks noGrp="1"/>
          </p:cNvSpPr>
          <p:nvPr>
            <p:ph type="body" sz="quarter" idx="16" hasCustomPrompt="1"/>
          </p:nvPr>
        </p:nvSpPr>
        <p:spPr>
          <a:xfrm>
            <a:off x="3394074" y="3607704"/>
            <a:ext cx="8099425" cy="484188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rgbClr val="FFF0BE"/>
                </a:solidFill>
              </a:defRPr>
            </a:lvl1pPr>
          </a:lstStyle>
          <a:p>
            <a:pPr lvl="0"/>
            <a:r>
              <a:rPr lang="da-DK"/>
              <a:t>+45 60 39 42 08</a:t>
            </a:r>
          </a:p>
        </p:txBody>
      </p:sp>
      <p:sp>
        <p:nvSpPr>
          <p:cNvPr id="20" name="OFF_companyname"/>
          <p:cNvSpPr>
            <a:spLocks noGrp="1"/>
          </p:cNvSpPr>
          <p:nvPr>
            <p:ph type="body" sz="quarter" idx="18" hasCustomPrompt="1"/>
          </p:nvPr>
        </p:nvSpPr>
        <p:spPr>
          <a:xfrm>
            <a:off x="3394078" y="4426564"/>
            <a:ext cx="8099422" cy="330367"/>
          </a:xfrm>
        </p:spPr>
        <p:txBody>
          <a:bodyPr anchor="b" anchorCtr="0"/>
          <a:lstStyle>
            <a:lvl1pPr marL="0" indent="0">
              <a:buNone/>
              <a:defRPr sz="1800" b="1">
                <a:solidFill>
                  <a:srgbClr val="FFF0BE"/>
                </a:solidFill>
              </a:defRPr>
            </a:lvl1pPr>
          </a:lstStyle>
          <a:p>
            <a:pPr lvl="0"/>
            <a:r>
              <a:rPr lang="da-DK"/>
              <a:t>Nordisk Minsterråd</a:t>
            </a:r>
          </a:p>
        </p:txBody>
      </p:sp>
      <p:sp>
        <p:nvSpPr>
          <p:cNvPr id="19" name="USR_Address"/>
          <p:cNvSpPr>
            <a:spLocks noGrp="1"/>
          </p:cNvSpPr>
          <p:nvPr>
            <p:ph type="body" sz="quarter" idx="17" hasCustomPrompt="1"/>
          </p:nvPr>
        </p:nvSpPr>
        <p:spPr>
          <a:xfrm>
            <a:off x="3394074" y="4757888"/>
            <a:ext cx="8099422" cy="330367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rgbClr val="FFF0BE"/>
                </a:solidFill>
              </a:defRPr>
            </a:lvl1pPr>
          </a:lstStyle>
          <a:p>
            <a:pPr lvl="0"/>
            <a:r>
              <a:rPr lang="da-DK"/>
              <a:t>Ved Stranden 18, Københav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0BE"/>
                </a:solidFill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0BE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  <p:sp>
        <p:nvSpPr>
          <p:cNvPr id="13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349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FF0B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a-DK"/>
              <a:t> </a:t>
            </a:r>
          </a:p>
        </p:txBody>
      </p:sp>
      <p:sp>
        <p:nvSpPr>
          <p:cNvPr id="15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90760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11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>
              <a:solidFill>
                <a:schemeClr val="tx1"/>
              </a:solidFill>
            </a:endParaRPr>
          </a:p>
        </p:txBody>
      </p:sp>
      <p:sp>
        <p:nvSpPr>
          <p:cNvPr id="15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accent1"/>
                </a:solidFill>
              </a:rPr>
              <a:t>#</a:t>
            </a:r>
            <a:r>
              <a:rPr lang="da-DK" sz="2200" b="1" err="1">
                <a:solidFill>
                  <a:schemeClr val="accent1"/>
                </a:solidFill>
              </a:rPr>
              <a:t>nordicsolutions</a:t>
            </a:r>
            <a:r>
              <a:rPr lang="da-DK" sz="2200" b="1">
                <a:solidFill>
                  <a:schemeClr val="accent1"/>
                </a:solidFill>
              </a:rPr>
              <a:t/>
            </a:r>
            <a:br>
              <a:rPr lang="da-DK" sz="2200" b="1">
                <a:solidFill>
                  <a:schemeClr val="accent1"/>
                </a:solidFill>
              </a:rPr>
            </a:br>
            <a:r>
              <a:rPr lang="da-DK" sz="2200" b="1">
                <a:solidFill>
                  <a:schemeClr val="accent1"/>
                </a:solidFill>
              </a:rPr>
              <a:t>to global </a:t>
            </a:r>
            <a:r>
              <a:rPr lang="da-DK" sz="2200" b="1" err="1">
                <a:solidFill>
                  <a:schemeClr val="accent1"/>
                </a:solidFill>
              </a:rPr>
              <a:t>challenges</a:t>
            </a:r>
            <a:endParaRPr lang="da-DK" sz="2200" b="1">
              <a:solidFill>
                <a:schemeClr val="accent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11865600" cy="6534000"/>
          </a:xfrm>
          <a:custGeom>
            <a:avLst/>
            <a:gdLst>
              <a:gd name="connsiteX0" fmla="*/ 0 w 11865600"/>
              <a:gd name="connsiteY0" fmla="*/ 0 h 6534000"/>
              <a:gd name="connsiteX1" fmla="*/ 11865600 w 11865600"/>
              <a:gd name="connsiteY1" fmla="*/ 0 h 6534000"/>
              <a:gd name="connsiteX2" fmla="*/ 11865600 w 11865600"/>
              <a:gd name="connsiteY2" fmla="*/ 4950428 h 6534000"/>
              <a:gd name="connsiteX3" fmla="*/ 9183600 w 11865600"/>
              <a:gd name="connsiteY3" fmla="*/ 4950428 h 6534000"/>
              <a:gd name="connsiteX4" fmla="*/ 9183600 w 11865600"/>
              <a:gd name="connsiteY4" fmla="*/ 5942102 h 6534000"/>
              <a:gd name="connsiteX5" fmla="*/ 11865600 w 11865600"/>
              <a:gd name="connsiteY5" fmla="*/ 5942102 h 6534000"/>
              <a:gd name="connsiteX6" fmla="*/ 11865600 w 11865600"/>
              <a:gd name="connsiteY6" fmla="*/ 6534000 h 6534000"/>
              <a:gd name="connsiteX7" fmla="*/ 0 w 118656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65600" h="6534000">
                <a:moveTo>
                  <a:pt x="0" y="0"/>
                </a:moveTo>
                <a:lnTo>
                  <a:pt x="11865600" y="0"/>
                </a:lnTo>
                <a:lnTo>
                  <a:pt x="11865600" y="4950428"/>
                </a:lnTo>
                <a:lnTo>
                  <a:pt x="9183600" y="4950428"/>
                </a:lnTo>
                <a:lnTo>
                  <a:pt x="9183600" y="5942102"/>
                </a:lnTo>
                <a:lnTo>
                  <a:pt x="11865600" y="5942102"/>
                </a:lnTo>
                <a:lnTo>
                  <a:pt x="11865600" y="6534000"/>
                </a:lnTo>
                <a:lnTo>
                  <a:pt x="0" y="6534000"/>
                </a:lnTo>
                <a:close/>
              </a:path>
            </a:pathLst>
          </a:custGeom>
          <a:solidFill>
            <a:srgbClr val="F42941"/>
          </a:solidFill>
        </p:spPr>
        <p:txBody>
          <a:bodyPr wrap="square" tIns="792000" anchor="ctr" anchorCtr="0">
            <a:noAutofit/>
          </a:bodyPr>
          <a:lstStyle>
            <a:lvl1pPr marL="0" indent="0" algn="ctr">
              <a:buNone/>
              <a:tabLst>
                <a:tab pos="1700213" algn="l"/>
              </a:tabLst>
              <a:defRPr sz="2200" baseline="0">
                <a:solidFill>
                  <a:srgbClr val="FFF0BE"/>
                </a:solidFill>
              </a:defRPr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2" name="LAN_Thanks"/>
          <p:cNvSpPr>
            <a:spLocks noGrp="1"/>
          </p:cNvSpPr>
          <p:nvPr>
            <p:ph type="title" hasCustomPrompt="1"/>
          </p:nvPr>
        </p:nvSpPr>
        <p:spPr>
          <a:xfrm>
            <a:off x="3326400" y="1639401"/>
            <a:ext cx="8167098" cy="1490661"/>
          </a:xfrm>
        </p:spPr>
        <p:txBody>
          <a:bodyPr anchor="t" anchorCtr="0"/>
          <a:lstStyle>
            <a:lvl1pPr>
              <a:defRPr sz="7800">
                <a:solidFill>
                  <a:srgbClr val="FFF0BE"/>
                </a:solidFill>
              </a:defRPr>
            </a:lvl1pPr>
          </a:lstStyle>
          <a:p>
            <a:r>
              <a:rPr lang="da-DK"/>
              <a:t>Tak.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9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0BE"/>
                </a:solidFill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0BE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9434" y="6163200"/>
            <a:ext cx="3600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1113339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/>
          </a:p>
        </p:txBody>
      </p:sp>
      <p:sp>
        <p:nvSpPr>
          <p:cNvPr id="15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>
              <a:solidFill>
                <a:schemeClr val="tx1"/>
              </a:solidFill>
            </a:endParaRP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162000" y="162000"/>
            <a:ext cx="11865600" cy="6534000"/>
          </a:xfrm>
          <a:custGeom>
            <a:avLst/>
            <a:gdLst>
              <a:gd name="connsiteX0" fmla="*/ 0 w 11865600"/>
              <a:gd name="connsiteY0" fmla="*/ 0 h 6534000"/>
              <a:gd name="connsiteX1" fmla="*/ 11865600 w 11865600"/>
              <a:gd name="connsiteY1" fmla="*/ 0 h 6534000"/>
              <a:gd name="connsiteX2" fmla="*/ 11865600 w 11865600"/>
              <a:gd name="connsiteY2" fmla="*/ 4950428 h 6534000"/>
              <a:gd name="connsiteX3" fmla="*/ 9183600 w 11865600"/>
              <a:gd name="connsiteY3" fmla="*/ 4950428 h 6534000"/>
              <a:gd name="connsiteX4" fmla="*/ 9183600 w 11865600"/>
              <a:gd name="connsiteY4" fmla="*/ 5942102 h 6534000"/>
              <a:gd name="connsiteX5" fmla="*/ 11865600 w 11865600"/>
              <a:gd name="connsiteY5" fmla="*/ 5942102 h 6534000"/>
              <a:gd name="connsiteX6" fmla="*/ 11865600 w 11865600"/>
              <a:gd name="connsiteY6" fmla="*/ 6534000 h 6534000"/>
              <a:gd name="connsiteX7" fmla="*/ 0 w 11865600"/>
              <a:gd name="connsiteY7" fmla="*/ 6534000 h 65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65600" h="6534000">
                <a:moveTo>
                  <a:pt x="0" y="0"/>
                </a:moveTo>
                <a:lnTo>
                  <a:pt x="11865600" y="0"/>
                </a:lnTo>
                <a:lnTo>
                  <a:pt x="11865600" y="4950428"/>
                </a:lnTo>
                <a:lnTo>
                  <a:pt x="9183600" y="4950428"/>
                </a:lnTo>
                <a:lnTo>
                  <a:pt x="9183600" y="5942102"/>
                </a:lnTo>
                <a:lnTo>
                  <a:pt x="11865600" y="5942102"/>
                </a:lnTo>
                <a:lnTo>
                  <a:pt x="11865600" y="6534000"/>
                </a:lnTo>
                <a:lnTo>
                  <a:pt x="0" y="6534000"/>
                </a:lnTo>
                <a:close/>
              </a:path>
            </a:pathLst>
          </a:custGeom>
          <a:solidFill>
            <a:srgbClr val="FFF0BE"/>
          </a:solidFill>
        </p:spPr>
        <p:txBody>
          <a:bodyPr wrap="square" tIns="792000" anchor="ctr" anchorCtr="0">
            <a:noAutofit/>
          </a:bodyPr>
          <a:lstStyle>
            <a:lvl1pPr marL="0" indent="0" algn="ctr">
              <a:buNone/>
              <a:tabLst>
                <a:tab pos="1700213" algn="l"/>
              </a:tabLst>
              <a:defRPr sz="2200" baseline="0">
                <a:solidFill>
                  <a:srgbClr val="FFF0BE"/>
                </a:solidFill>
              </a:defRPr>
            </a:lvl1pPr>
          </a:lstStyle>
          <a:p>
            <a:r>
              <a:rPr lang="da-DK"/>
              <a:t>Click here, and insert picture via Images-button in the ribbon</a:t>
            </a:r>
          </a:p>
        </p:txBody>
      </p:sp>
      <p:sp>
        <p:nvSpPr>
          <p:cNvPr id="2" name="LAN_Thanks"/>
          <p:cNvSpPr>
            <a:spLocks noGrp="1"/>
          </p:cNvSpPr>
          <p:nvPr>
            <p:ph type="title" hasCustomPrompt="1"/>
          </p:nvPr>
        </p:nvSpPr>
        <p:spPr>
          <a:xfrm>
            <a:off x="3326400" y="1639401"/>
            <a:ext cx="8167098" cy="1490661"/>
          </a:xfrm>
        </p:spPr>
        <p:txBody>
          <a:bodyPr anchor="t" anchorCtr="0"/>
          <a:lstStyle>
            <a:lvl1pPr>
              <a:defRPr sz="7800">
                <a:solidFill>
                  <a:srgbClr val="F42941"/>
                </a:solidFill>
              </a:defRPr>
            </a:lvl1pPr>
          </a:lstStyle>
          <a:p>
            <a:r>
              <a:rPr lang="da-DK"/>
              <a:t>Tak.</a:t>
            </a: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9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  <p:sp>
        <p:nvSpPr>
          <p:cNvPr id="13" name="Freeform 5"/>
          <p:cNvSpPr>
            <a:spLocks noChangeAspect="1" noEditPoints="1"/>
          </p:cNvSpPr>
          <p:nvPr userDrawn="1"/>
        </p:nvSpPr>
        <p:spPr bwMode="auto">
          <a:xfrm>
            <a:off x="699434" y="6282000"/>
            <a:ext cx="360349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FF0B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a-DK"/>
              <a:t> 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99434" y="6163200"/>
            <a:ext cx="3600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17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92845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r>
              <a:rPr lang="da-DK"/>
              <a:t>Click to add title in max 2 lin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tatusmöte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/>
              <a:t>‹N°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265666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42941"/>
                </a:solidFill>
              </a:defRPr>
            </a:lvl1pPr>
          </a:lstStyle>
          <a:p>
            <a:r>
              <a:rPr lang="da-DK"/>
              <a:t>Click to add title in max 2 lin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tatusmöte 14 Septemb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/>
              <a:t>‹N°›</a:t>
            </a:fld>
            <a:endParaRPr lang="da-DK"/>
          </a:p>
        </p:txBody>
      </p:sp>
      <p:sp>
        <p:nvSpPr>
          <p:cNvPr id="7" name="Freeform 5"/>
          <p:cNvSpPr>
            <a:spLocks noChangeAspect="1" noEditPoints="1"/>
          </p:cNvSpPr>
          <p:nvPr userDrawn="1"/>
        </p:nvSpPr>
        <p:spPr bwMode="auto">
          <a:xfrm>
            <a:off x="699434" y="6163200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a-DK"/>
              <a:t> </a:t>
            </a:r>
          </a:p>
        </p:txBody>
      </p:sp>
      <p:sp>
        <p:nvSpPr>
          <p:cNvPr id="8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4487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94800" y="3427200"/>
            <a:ext cx="2701151" cy="3425825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8794750" y="3427200"/>
            <a:ext cx="3397250" cy="3425825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/>
              <a:t>Click here, and insert picture via Images-button in the ribbon</a:t>
            </a:r>
          </a:p>
        </p:txBody>
      </p:sp>
    </p:spTree>
    <p:extLst>
      <p:ext uri="{BB962C8B-B14F-4D97-AF65-F5344CB8AC3E}">
        <p14:creationId xmlns:p14="http://schemas.microsoft.com/office/powerpoint/2010/main" val="131896105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3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Statusmöte 14 Septemb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/>
              <a:t>‹N°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5422829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 userDrawn="1"/>
        </p:nvSpPr>
        <p:spPr>
          <a:xfrm>
            <a:off x="663759" y="375883"/>
            <a:ext cx="10931524" cy="614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48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User guide – delete</a:t>
            </a:r>
            <a:r>
              <a:rPr lang="da-DK" sz="4800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 before use</a:t>
            </a:r>
            <a:endParaRPr lang="da-DK" sz="48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/>
          </p:cNvSpPr>
          <p:nvPr userDrawn="1"/>
        </p:nvSpPr>
        <p:spPr bwMode="gray">
          <a:xfrm>
            <a:off x="7456919" y="3114505"/>
            <a:ext cx="2160000" cy="113877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da-DK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  <a:endParaRPr lang="da-DK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ck mark next to </a:t>
            </a: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da-DK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ing of guides</a:t>
            </a:r>
            <a:endParaRPr lang="da-DK"/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7456919" y="1409700"/>
            <a:ext cx="2160000" cy="158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</a:t>
            </a: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/>
            </a:r>
            <a:b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ll the corrections with you</a:t>
            </a:r>
            <a:endParaRPr lang="da-DK"/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da-DK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  <a:endParaRPr lang="da-DK"/>
          </a:p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r>
              <a:rPr 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r </a:t>
            </a: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  <a:endParaRPr lang="da-DK"/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4359622" y="1409700"/>
            <a:ext cx="2160000" cy="78483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da-DK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picture</a:t>
            </a:r>
            <a:r>
              <a:rPr 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holder and</a:t>
            </a:r>
            <a:r>
              <a:rPr 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sz="900"/>
              <a:t>insert picture via </a:t>
            </a:r>
            <a:r>
              <a:rPr lang="da-DK" sz="900" b="1"/>
              <a:t>Add Images</a:t>
            </a:r>
            <a:r>
              <a:rPr lang="da-DK" sz="900"/>
              <a:t>-button </a:t>
            </a:r>
            <a:r>
              <a:rPr lang="en-GB" sz="900"/>
              <a:t/>
            </a:r>
            <a:br>
              <a:rPr lang="en-GB" sz="900"/>
            </a:br>
            <a:r>
              <a:rPr lang="da-DK" sz="900"/>
              <a:t>in the </a:t>
            </a:r>
            <a:r>
              <a:rPr lang="da-DK" sz="900" b="1"/>
              <a:t>NORDEN-</a:t>
            </a:r>
            <a:r>
              <a:rPr lang="da-DK" sz="900" baseline="0"/>
              <a:t>TAB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Box 12"/>
          <p:cNvSpPr txBox="1">
            <a:spLocks noChangeArrowheads="1"/>
          </p:cNvSpPr>
          <p:nvPr userDrawn="1"/>
        </p:nvSpPr>
        <p:spPr bwMode="auto">
          <a:xfrm>
            <a:off x="4359622" y="2220228"/>
            <a:ext cx="2160000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endParaRPr lang="da-DK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</a:t>
            </a:r>
            <a:r>
              <a:rPr lang="da-DK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cture</a:t>
            </a:r>
            <a:endParaRPr lang="da-DK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da-DK" sz="900" b="1">
                <a:latin typeface="+mn-lt"/>
              </a:rPr>
              <a:t>NORDEN</a:t>
            </a:r>
            <a:r>
              <a:rPr lang="da-DK" sz="900" b="0" baseline="0">
                <a:latin typeface="+mn-lt"/>
              </a:rPr>
              <a:t>-TAB and</a:t>
            </a:r>
            <a:r>
              <a:rPr lang="da-DK" sz="900" baseline="0">
                <a:latin typeface="+mn-lt"/>
              </a:rPr>
              <a:t> </a:t>
            </a:r>
            <a:r>
              <a:rPr 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</a:t>
            </a:r>
            <a:r>
              <a:rPr 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ck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Tools</a:t>
            </a:r>
            <a:r>
              <a:rPr 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rop down button, 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change</a:t>
            </a:r>
            <a:r>
              <a:rPr 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size</a:t>
            </a:r>
            <a:r>
              <a:rPr lang="da-DK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or</a:t>
            </a:r>
            <a:r>
              <a:rPr lang="da-DK" sz="900" b="0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r>
              <a:rPr 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</a:t>
            </a:r>
            <a: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f the picture</a:t>
            </a:r>
            <a:endParaRPr 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ey down whil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</a:t>
            </a:r>
            <a:r>
              <a:rPr lang="da-DK" alt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icture</a:t>
            </a:r>
            <a:endParaRPr lang="da-DK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you delete the picture and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</a:t>
            </a:r>
            <a:r>
              <a:rPr lang="da-DK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</a:t>
            </a:r>
            <a:r>
              <a:rPr lang="da-DK" altLang="da-DK" sz="900" b="0" strike="sng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his happens, select the picture,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da-DK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ext Box 48"/>
          <p:cNvSpPr txBox="1">
            <a:spLocks noChangeArrowheads="1"/>
          </p:cNvSpPr>
          <p:nvPr userDrawn="1"/>
        </p:nvSpPr>
        <p:spPr bwMode="auto">
          <a:xfrm>
            <a:off x="693739" y="3277385"/>
            <a:ext cx="2160000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  <a:endParaRPr lang="da-DK"/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da-DK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da-DK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da-DK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</a:t>
            </a:r>
            <a:r>
              <a:rPr lang="da-DK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da-DK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  <a:endParaRPr lang="da-DK"/>
          </a:p>
          <a:p>
            <a:pPr eaLnBrk="1" hangingPunct="1">
              <a:spcAft>
                <a:spcPts val="24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da-DK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da-DK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da-DK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da-DK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da-DK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AutoShape 4"/>
          <p:cNvSpPr>
            <a:spLocks/>
          </p:cNvSpPr>
          <p:nvPr userDrawn="1"/>
        </p:nvSpPr>
        <p:spPr bwMode="gray">
          <a:xfrm>
            <a:off x="706058" y="4709084"/>
            <a:ext cx="2160000" cy="9130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da-DK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da-DK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da-DK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da-DK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sition, size</a:t>
            </a:r>
            <a:r>
              <a:rPr lang="da-DK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da-DK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a-DK"/>
          </a:p>
        </p:txBody>
      </p:sp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a-DK"/>
          </a:p>
        </p:txBody>
      </p:sp>
      <p:sp>
        <p:nvSpPr>
          <p:cNvPr id="29" name="Text Box 48"/>
          <p:cNvSpPr txBox="1">
            <a:spLocks noChangeArrowheads="1"/>
          </p:cNvSpPr>
          <p:nvPr userDrawn="1"/>
        </p:nvSpPr>
        <p:spPr bwMode="auto">
          <a:xfrm>
            <a:off x="693740" y="1409700"/>
            <a:ext cx="2486866" cy="160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da-DK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da-DK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if you want regular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. Click ENTER and then Bullet-button for correct bullet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 level to the next level</a:t>
            </a:r>
            <a:endParaRPr lang="da-DK"/>
          </a:p>
          <a:p>
            <a:pPr eaLnBrk="1" hangingPunct="1">
              <a:spcAft>
                <a:spcPts val="240"/>
              </a:spcAft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da-DK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r>
              <a:rPr 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36522" y="5318642"/>
            <a:ext cx="492452" cy="200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38544" y="3538594"/>
            <a:ext cx="324764" cy="578237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3034534" y="4208198"/>
            <a:ext cx="593368" cy="192211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05150" y="2651636"/>
            <a:ext cx="549328" cy="285228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4130" y="3299068"/>
            <a:ext cx="359695" cy="3353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033346" y="1652716"/>
            <a:ext cx="297872" cy="1833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44130" y="1609684"/>
            <a:ext cx="379911" cy="5194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244130" y="2375882"/>
            <a:ext cx="397317" cy="5880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0"/>
          <a:srcRect t="37299" r="32484" b="50317"/>
          <a:stretch/>
        </p:blipFill>
        <p:spPr>
          <a:xfrm>
            <a:off x="6284541" y="3015268"/>
            <a:ext cx="605090" cy="13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5477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anlig med bilde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Knip ett hjørne i rektangel 6"/>
          <p:cNvSpPr/>
          <p:nvPr userDrawn="1"/>
        </p:nvSpPr>
        <p:spPr>
          <a:xfrm rot="10800000">
            <a:off x="381246" y="-4"/>
            <a:ext cx="11810751" cy="6452769"/>
          </a:xfrm>
          <a:prstGeom prst="snip1Rect">
            <a:avLst>
              <a:gd name="adj" fmla="val 27279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9" name="Plassholder for bilde 2"/>
          <p:cNvSpPr>
            <a:spLocks noGrp="1"/>
          </p:cNvSpPr>
          <p:nvPr>
            <p:ph type="pic" idx="13"/>
          </p:nvPr>
        </p:nvSpPr>
        <p:spPr>
          <a:xfrm>
            <a:off x="6890147" y="0"/>
            <a:ext cx="4923054" cy="6858000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50352" y="1245135"/>
            <a:ext cx="5516220" cy="109851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11663" y="2519160"/>
            <a:ext cx="5880532" cy="3314142"/>
          </a:xfrm>
        </p:spPr>
        <p:txBody>
          <a:bodyPr/>
          <a:lstStyle>
            <a:lvl1pPr marL="288000" indent="-288000">
              <a:buSzPct val="90000"/>
              <a:buFontTx/>
              <a:buBlip>
                <a:blip r:embed="rId2"/>
              </a:buBlip>
              <a:defRPr sz="1600" baseline="0"/>
            </a:lvl1pPr>
            <a:lvl2pPr marL="932400" indent="-284400">
              <a:spcBef>
                <a:spcPts val="624"/>
              </a:spcBef>
              <a:spcAft>
                <a:spcPts val="300"/>
              </a:spcAft>
              <a:buClrTx/>
              <a:buFontTx/>
              <a:buBlip>
                <a:blip r:embed="rId3"/>
              </a:buBlip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</p:txBody>
      </p:sp>
    </p:spTree>
    <p:extLst>
      <p:ext uri="{BB962C8B-B14F-4D97-AF65-F5344CB8AC3E}">
        <p14:creationId xmlns:p14="http://schemas.microsoft.com/office/powerpoint/2010/main" val="28003651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 bwMode="auto">
          <a:xfrm>
            <a:off x="0" y="525600"/>
            <a:ext cx="11740800" cy="5760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alpha val="7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noProof="0">
              <a:ln>
                <a:noFill/>
              </a:ln>
              <a:solidFill>
                <a:schemeClr val="tx2"/>
              </a:solidFill>
              <a:effectLst/>
              <a:latin typeface="Verdana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719D6D09-9CEB-422E-8E52-D88EF51B4421}" type="slidenum">
              <a:rPr lang="en-US" smtClean="0"/>
              <a:pPr algn="r"/>
              <a:t>‹N°›</a:t>
            </a:fld>
            <a:endParaRPr lang="en-US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 partnership between  </a:t>
            </a:r>
          </a:p>
          <a:p>
            <a:r>
              <a:rPr lang="en-GB"/>
              <a:t>the ministry of higher education and science</a:t>
            </a:r>
            <a:br>
              <a:rPr lang="en-GB"/>
            </a:br>
            <a:r>
              <a:rPr lang="en-GB" noProof="0"/>
              <a:t>and the ministry of foreign affairs of </a:t>
            </a:r>
            <a:r>
              <a:rPr lang="en-GB" noProof="0" err="1"/>
              <a:t>denmark</a:t>
            </a:r>
            <a:endParaRPr lang="en-GB" noProof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83BF801-5826-3643-9B5A-5000B23E092F}" type="datetime1">
              <a:rPr lang="da-DK" smtClean="0"/>
              <a:t>15-10-2019</a:t>
            </a:fld>
            <a:endParaRPr lang="da-DK"/>
          </a:p>
        </p:txBody>
      </p:sp>
      <p:sp>
        <p:nvSpPr>
          <p:cNvPr id="6" name="Rectangle 3"/>
          <p:cNvSpPr>
            <a:spLocks noGrp="1" noChangeAspect="1" noChangeArrowheads="1"/>
          </p:cNvSpPr>
          <p:nvPr>
            <p:ph idx="1"/>
          </p:nvPr>
        </p:nvSpPr>
        <p:spPr bwMode="auto">
          <a:xfrm>
            <a:off x="720000" y="2054226"/>
            <a:ext cx="10769600" cy="419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180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76872936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wo columns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 userDrawn="1"/>
        </p:nvSpPr>
        <p:spPr bwMode="auto">
          <a:xfrm>
            <a:off x="0" y="525600"/>
            <a:ext cx="11740800" cy="5760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alpha val="7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6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Verdana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blipFill rotWithShape="1"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719D6D09-9CEB-422E-8E52-D88EF51B4421}" type="slidenum">
              <a:rPr lang="en-US" smtClean="0"/>
              <a:pPr algn="r"/>
              <a:t>‹N°›</a:t>
            </a:fld>
            <a:endParaRPr lang="en-US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a partnership between  </a:t>
            </a:r>
          </a:p>
          <a:p>
            <a:r>
              <a:rPr lang="en-GB"/>
              <a:t>the ministry of higher education and science</a:t>
            </a:r>
            <a:br>
              <a:rPr lang="en-GB"/>
            </a:br>
            <a:r>
              <a:rPr lang="en-GB" noProof="0"/>
              <a:t>and the ministry of foreign affairs of </a:t>
            </a:r>
            <a:r>
              <a:rPr lang="en-GB" noProof="0" err="1"/>
              <a:t>denmark</a:t>
            </a:r>
            <a:endParaRPr lang="en-GB" noProof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B1748AC-2B4A-344E-95A5-FF961E6BB63F}" type="datetime1">
              <a:rPr lang="da-DK" smtClean="0"/>
              <a:t>15-10-2019</a:t>
            </a:fld>
            <a:endParaRPr lang="da-DK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720000" y="2054226"/>
            <a:ext cx="5283200" cy="41941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6182784" y="2054226"/>
            <a:ext cx="5283200" cy="41941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0828002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24501" y="676800"/>
            <a:ext cx="8168999" cy="4772629"/>
          </a:xfrm>
        </p:spPr>
        <p:txBody>
          <a:bodyPr/>
          <a:lstStyle>
            <a:lvl1pPr>
              <a:lnSpc>
                <a:spcPct val="83000"/>
              </a:lnSpc>
              <a:defRPr sz="7800" b="1" baseline="0">
                <a:solidFill>
                  <a:srgbClr val="ADCFF1"/>
                </a:solidFill>
              </a:defRPr>
            </a:lvl1pPr>
          </a:lstStyle>
          <a:p>
            <a:r>
              <a:rPr lang="en-GB"/>
              <a:t>Use bold for highlighted text,</a:t>
            </a:r>
            <a:br>
              <a:rPr lang="en-GB"/>
            </a:br>
            <a:r>
              <a:rPr lang="en-GB"/>
              <a:t>other text regular, max four lines</a:t>
            </a:r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4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06671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3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6568" y="391028"/>
            <a:ext cx="10836932" cy="1285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738" y="2162340"/>
            <a:ext cx="10799761" cy="3787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 level</a:t>
            </a:r>
          </a:p>
          <a:p>
            <a:pPr lvl="8"/>
            <a:r>
              <a:rPr lang="en-GB"/>
              <a:t>Night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37720" y="632157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r>
              <a:rPr lang="en-GB"/>
              <a:t>03/01/2019</a:t>
            </a:r>
          </a:p>
        </p:txBody>
      </p:sp>
      <p:sp>
        <p:nvSpPr>
          <p:cNvPr id="5" name="FLD_Footer"/>
          <p:cNvSpPr>
            <a:spLocks noGrp="1"/>
          </p:cNvSpPr>
          <p:nvPr>
            <p:ph type="ftr" sz="quarter" idx="3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>
                <a:solidFill>
                  <a:srgbClr val="006EB6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337" y="6356350"/>
            <a:ext cx="2697161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950">
                <a:solidFill>
                  <a:srgbClr val="006EB6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°›</a:t>
            </a:fld>
            <a:endParaRPr lang="en-GB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098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</p:sldLayoutIdLst>
  <p:hf hdr="0"/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4800" b="1" kern="1200">
          <a:solidFill>
            <a:srgbClr val="006EB6"/>
          </a:soli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―"/>
        <a:defRPr sz="2200" kern="1200">
          <a:solidFill>
            <a:srgbClr val="006EB6"/>
          </a:solidFill>
          <a:latin typeface="+mn-lt"/>
          <a:ea typeface="+mn-ea"/>
          <a:cs typeface="+mn-cs"/>
        </a:defRPr>
      </a:lvl1pPr>
      <a:lvl2pPr marL="720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"/>
        <a:defRPr sz="2200" kern="1200">
          <a:solidFill>
            <a:srgbClr val="006EB6"/>
          </a:solidFill>
          <a:latin typeface="+mn-lt"/>
          <a:ea typeface="+mn-ea"/>
          <a:cs typeface="+mn-cs"/>
        </a:defRPr>
      </a:lvl2pPr>
      <a:lvl3pPr marL="972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3pPr>
      <a:lvl4pPr marL="1224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4pPr>
      <a:lvl5pPr marL="1476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 baseline="0">
          <a:solidFill>
            <a:srgbClr val="006EB6"/>
          </a:solidFill>
          <a:latin typeface="+mn-lt"/>
          <a:ea typeface="+mn-ea"/>
          <a:cs typeface="+mn-cs"/>
        </a:defRPr>
      </a:lvl5pPr>
      <a:lvl6pPr marL="1728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6pPr>
      <a:lvl7pPr marL="1980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7pPr>
      <a:lvl8pPr marL="2232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8pPr>
      <a:lvl9pPr marL="2484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437">
          <p15:clr>
            <a:srgbClr val="F26B43"/>
          </p15:clr>
        </p15:guide>
        <p15:guide id="2" pos="2138">
          <p15:clr>
            <a:srgbClr val="F26B43"/>
          </p15:clr>
        </p15:guide>
        <p15:guide id="3" orient="horz" pos="253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pos="3839">
          <p15:clr>
            <a:srgbClr val="F26B43"/>
          </p15:clr>
        </p15:guide>
        <p15:guide id="6" pos="5540">
          <p15:clr>
            <a:srgbClr val="F26B43"/>
          </p15:clr>
        </p15:guide>
        <p15:guide id="7" orient="horz" pos="1523">
          <p15:clr>
            <a:srgbClr val="F26B43"/>
          </p15:clr>
        </p15:guide>
        <p15:guide id="8" orient="horz" pos="2158">
          <p15:clr>
            <a:srgbClr val="F26B43"/>
          </p15:clr>
        </p15:guide>
        <p15:guide id="9" pos="7240">
          <p15:clr>
            <a:srgbClr val="F26B43"/>
          </p15:clr>
        </p15:guide>
        <p15:guide id="10" orient="horz" pos="2793">
          <p15:clr>
            <a:srgbClr val="F26B43"/>
          </p15:clr>
        </p15:guide>
        <p15:guide id="11" orient="horz" pos="3428">
          <p15:clr>
            <a:srgbClr val="F26B43"/>
          </p15:clr>
        </p15:guide>
        <p15:guide id="13" orient="horz" pos="4063">
          <p15:clr>
            <a:srgbClr val="F26B43"/>
          </p15:clr>
        </p15:guide>
        <p15:guide id="14" orient="horz" pos="37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>
              <a:solidFill>
                <a:schemeClr val="tx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6568" y="391028"/>
            <a:ext cx="10836932" cy="1285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738" y="2162340"/>
            <a:ext cx="10799761" cy="3787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 level</a:t>
            </a:r>
          </a:p>
          <a:p>
            <a:pPr lvl="8"/>
            <a:r>
              <a:rPr lang="en-GB"/>
              <a:t>Night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37720" y="6200389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r>
              <a:rPr lang="en-GB"/>
              <a:t>2017-04-06</a:t>
            </a:r>
          </a:p>
        </p:txBody>
      </p:sp>
      <p:sp>
        <p:nvSpPr>
          <p:cNvPr id="5" name="FLD_Footer"/>
          <p:cNvSpPr>
            <a:spLocks noGrp="1"/>
          </p:cNvSpPr>
          <p:nvPr>
            <p:ph type="ftr" sz="quarter" idx="3"/>
          </p:nvPr>
        </p:nvSpPr>
        <p:spPr>
          <a:xfrm>
            <a:off x="3395663" y="6235163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>
                <a:solidFill>
                  <a:schemeClr val="accent1"/>
                </a:solidFill>
              </a:defRPr>
            </a:lvl1pPr>
          </a:lstStyle>
          <a:p>
            <a:r>
              <a:rPr lang="en-GB" err="1"/>
              <a:t>Statusmöte</a:t>
            </a:r>
            <a:r>
              <a:rPr lang="en-GB"/>
              <a:t> 14 Septemb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337" y="6235163"/>
            <a:ext cx="2697161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950">
                <a:solidFill>
                  <a:schemeClr val="accent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Freeform 5"/>
          <p:cNvSpPr>
            <a:spLocks noChangeAspect="1" noEditPoints="1"/>
          </p:cNvSpPr>
          <p:nvPr userDrawn="1"/>
        </p:nvSpPr>
        <p:spPr bwMode="auto">
          <a:xfrm>
            <a:off x="699434" y="6162315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/>
              <a:t> </a:t>
            </a:r>
          </a:p>
        </p:txBody>
      </p:sp>
      <p:sp>
        <p:nvSpPr>
          <p:cNvPr id="9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2200" b="1">
                <a:solidFill>
                  <a:schemeClr val="bg2"/>
                </a:solidFill>
              </a:rPr>
              <a:t>#</a:t>
            </a:r>
            <a:r>
              <a:rPr lang="en-GB" sz="2200" b="1" err="1">
                <a:solidFill>
                  <a:schemeClr val="bg2"/>
                </a:solidFill>
              </a:rPr>
              <a:t>nordicsolutions</a:t>
            </a:r>
            <a:r>
              <a:rPr lang="en-GB" sz="2200" b="1">
                <a:solidFill>
                  <a:schemeClr val="bg2"/>
                </a:solidFill>
              </a:rPr>
              <a:t/>
            </a:r>
            <a:br>
              <a:rPr lang="en-GB" sz="2200" b="1">
                <a:solidFill>
                  <a:schemeClr val="bg2"/>
                </a:solidFill>
              </a:rPr>
            </a:br>
            <a:r>
              <a:rPr lang="en-GB" sz="2200" b="1">
                <a:solidFill>
                  <a:schemeClr val="bg2"/>
                </a:solidFill>
              </a:rPr>
              <a:t>to global challenges</a:t>
            </a:r>
          </a:p>
        </p:txBody>
      </p:sp>
    </p:spTree>
    <p:extLst>
      <p:ext uri="{BB962C8B-B14F-4D97-AF65-F5344CB8AC3E}">
        <p14:creationId xmlns:p14="http://schemas.microsoft.com/office/powerpoint/2010/main" val="1428596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  <p:sldLayoutId id="2147483713" r:id="rId26"/>
    <p:sldLayoutId id="2147483714" r:id="rId27"/>
    <p:sldLayoutId id="2147483715" r:id="rId28"/>
  </p:sldLayoutIdLst>
  <p:hf hdr="0"/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4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―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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72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476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28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0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2232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2484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437">
          <p15:clr>
            <a:srgbClr val="F26B43"/>
          </p15:clr>
        </p15:guide>
        <p15:guide id="2" pos="2138">
          <p15:clr>
            <a:srgbClr val="F26B43"/>
          </p15:clr>
        </p15:guide>
        <p15:guide id="3" orient="horz" pos="253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pos="3839">
          <p15:clr>
            <a:srgbClr val="F26B43"/>
          </p15:clr>
        </p15:guide>
        <p15:guide id="6" pos="5540">
          <p15:clr>
            <a:srgbClr val="F26B43"/>
          </p15:clr>
        </p15:guide>
        <p15:guide id="7" orient="horz" pos="1523">
          <p15:clr>
            <a:srgbClr val="F26B43"/>
          </p15:clr>
        </p15:guide>
        <p15:guide id="8" orient="horz" pos="2158">
          <p15:clr>
            <a:srgbClr val="F26B43"/>
          </p15:clr>
        </p15:guide>
        <p15:guide id="9" pos="7240">
          <p15:clr>
            <a:srgbClr val="F26B43"/>
          </p15:clr>
        </p15:guide>
        <p15:guide id="10" orient="horz" pos="2793">
          <p15:clr>
            <a:srgbClr val="F26B43"/>
          </p15:clr>
        </p15:guide>
        <p15:guide id="11" orient="horz" pos="3428">
          <p15:clr>
            <a:srgbClr val="F26B43"/>
          </p15:clr>
        </p15:guide>
        <p15:guide id="13" orient="horz" pos="4048">
          <p15:clr>
            <a:srgbClr val="F26B43"/>
          </p15:clr>
        </p15:guide>
        <p15:guide id="14" orient="horz" pos="37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amme"/>
          <p:cNvSpPr/>
          <p:nvPr userDrawn="1"/>
        </p:nvSpPr>
        <p:spPr>
          <a:xfrm>
            <a:off x="0" y="0"/>
            <a:ext cx="12193200" cy="6858000"/>
          </a:xfrm>
          <a:custGeom>
            <a:avLst/>
            <a:gdLst>
              <a:gd name="connsiteX0" fmla="*/ 162000 w 12193200"/>
              <a:gd name="connsiteY0" fmla="*/ 162000 h 6858000"/>
              <a:gd name="connsiteX1" fmla="*/ 162000 w 12193200"/>
              <a:gd name="connsiteY1" fmla="*/ 6696000 h 6858000"/>
              <a:gd name="connsiteX2" fmla="*/ 12027600 w 12193200"/>
              <a:gd name="connsiteY2" fmla="*/ 6696000 h 6858000"/>
              <a:gd name="connsiteX3" fmla="*/ 12027600 w 12193200"/>
              <a:gd name="connsiteY3" fmla="*/ 162000 h 6858000"/>
              <a:gd name="connsiteX4" fmla="*/ 0 w 12193200"/>
              <a:gd name="connsiteY4" fmla="*/ 0 h 6858000"/>
              <a:gd name="connsiteX5" fmla="*/ 12193200 w 12193200"/>
              <a:gd name="connsiteY5" fmla="*/ 0 h 6858000"/>
              <a:gd name="connsiteX6" fmla="*/ 12193200 w 12193200"/>
              <a:gd name="connsiteY6" fmla="*/ 6858000 h 6858000"/>
              <a:gd name="connsiteX7" fmla="*/ 0 w 1219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3200" h="6858000">
                <a:moveTo>
                  <a:pt x="162000" y="162000"/>
                </a:moveTo>
                <a:lnTo>
                  <a:pt x="162000" y="6696000"/>
                </a:lnTo>
                <a:lnTo>
                  <a:pt x="12027600" y="6696000"/>
                </a:lnTo>
                <a:lnTo>
                  <a:pt x="12027600" y="162000"/>
                </a:ln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2200" err="1">
              <a:solidFill>
                <a:schemeClr val="tx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6568" y="391028"/>
            <a:ext cx="10836932" cy="1285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738" y="2162340"/>
            <a:ext cx="10799761" cy="3787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/>
              <a:t>Sixth level</a:t>
            </a:r>
          </a:p>
          <a:p>
            <a:pPr lvl="6"/>
            <a:r>
              <a:rPr lang="da-DK"/>
              <a:t>Seventh level</a:t>
            </a:r>
          </a:p>
          <a:p>
            <a:pPr lvl="7"/>
            <a:r>
              <a:rPr lang="da-DK"/>
              <a:t>Eight level</a:t>
            </a:r>
          </a:p>
          <a:p>
            <a:pPr lvl="8"/>
            <a:r>
              <a:rPr lang="da-DK"/>
              <a:t>Night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37720" y="6200389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r>
              <a:rPr lang="da-DK"/>
              <a:t>2017-04-06</a:t>
            </a:r>
          </a:p>
        </p:txBody>
      </p:sp>
      <p:sp>
        <p:nvSpPr>
          <p:cNvPr id="5" name="FLD_Footer"/>
          <p:cNvSpPr>
            <a:spLocks noGrp="1"/>
          </p:cNvSpPr>
          <p:nvPr>
            <p:ph type="ftr" sz="quarter" idx="3"/>
          </p:nvPr>
        </p:nvSpPr>
        <p:spPr>
          <a:xfrm>
            <a:off x="3395663" y="6235163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>
                <a:solidFill>
                  <a:schemeClr val="accent1"/>
                </a:solidFill>
              </a:defRPr>
            </a:lvl1pPr>
          </a:lstStyle>
          <a:p>
            <a:r>
              <a:rPr lang="da-DK"/>
              <a:t>Statusmöte 14 Septemb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337" y="6235163"/>
            <a:ext cx="2697161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950">
                <a:solidFill>
                  <a:schemeClr val="accent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°›</a:t>
            </a:fld>
            <a:endParaRPr lang="da-DK"/>
          </a:p>
        </p:txBody>
      </p:sp>
      <p:sp>
        <p:nvSpPr>
          <p:cNvPr id="10" name="Freeform 5"/>
          <p:cNvSpPr>
            <a:spLocks noChangeAspect="1" noEditPoints="1"/>
          </p:cNvSpPr>
          <p:nvPr userDrawn="1"/>
        </p:nvSpPr>
        <p:spPr bwMode="auto">
          <a:xfrm>
            <a:off x="699434" y="6162315"/>
            <a:ext cx="360000" cy="360000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F4294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a-DK"/>
              <a:t> </a:t>
            </a:r>
          </a:p>
        </p:txBody>
      </p:sp>
      <p:sp>
        <p:nvSpPr>
          <p:cNvPr id="9" name="#nordicsolutions"/>
          <p:cNvSpPr/>
          <p:nvPr userDrawn="1"/>
        </p:nvSpPr>
        <p:spPr>
          <a:xfrm>
            <a:off x="9345600" y="5112428"/>
            <a:ext cx="2843917" cy="991674"/>
          </a:xfrm>
          <a:prstGeom prst="rect">
            <a:avLst/>
          </a:prstGeom>
          <a:solidFill>
            <a:srgbClr val="F42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a-DK" sz="2200" b="1">
                <a:solidFill>
                  <a:schemeClr val="bg2"/>
                </a:solidFill>
              </a:rPr>
              <a:t>#</a:t>
            </a:r>
            <a:r>
              <a:rPr lang="da-DK" sz="2200" b="1" err="1">
                <a:solidFill>
                  <a:schemeClr val="bg2"/>
                </a:solidFill>
              </a:rPr>
              <a:t>nordicsolutions</a:t>
            </a:r>
            <a:r>
              <a:rPr lang="da-DK" sz="2200" b="1">
                <a:solidFill>
                  <a:schemeClr val="bg2"/>
                </a:solidFill>
              </a:rPr>
              <a:t/>
            </a:r>
            <a:br>
              <a:rPr lang="da-DK" sz="2200" b="1">
                <a:solidFill>
                  <a:schemeClr val="bg2"/>
                </a:solidFill>
              </a:rPr>
            </a:br>
            <a:r>
              <a:rPr lang="da-DK" sz="2200" b="1">
                <a:solidFill>
                  <a:schemeClr val="bg2"/>
                </a:solidFill>
              </a:rPr>
              <a:t>to global </a:t>
            </a:r>
            <a:r>
              <a:rPr lang="da-DK" sz="2200" b="1" err="1">
                <a:solidFill>
                  <a:schemeClr val="bg2"/>
                </a:solidFill>
              </a:rPr>
              <a:t>challenges</a:t>
            </a:r>
            <a:endParaRPr lang="da-DK" sz="2200" b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82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  <p:sldLayoutId id="2147483742" r:id="rId26"/>
    <p:sldLayoutId id="2147483743" r:id="rId27"/>
    <p:sldLayoutId id="2147483744" r:id="rId28"/>
    <p:sldLayoutId id="2147483745" r:id="rId29"/>
    <p:sldLayoutId id="2147483746" r:id="rId30"/>
  </p:sldLayoutIdLst>
  <p:hf hdr="0"/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4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―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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72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476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28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0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2232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2484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437">
          <p15:clr>
            <a:srgbClr val="F26B43"/>
          </p15:clr>
        </p15:guide>
        <p15:guide id="2" pos="2138">
          <p15:clr>
            <a:srgbClr val="F26B43"/>
          </p15:clr>
        </p15:guide>
        <p15:guide id="3" orient="horz" pos="253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pos="3839">
          <p15:clr>
            <a:srgbClr val="F26B43"/>
          </p15:clr>
        </p15:guide>
        <p15:guide id="6" pos="5540">
          <p15:clr>
            <a:srgbClr val="F26B43"/>
          </p15:clr>
        </p15:guide>
        <p15:guide id="7" orient="horz" pos="1523">
          <p15:clr>
            <a:srgbClr val="F26B43"/>
          </p15:clr>
        </p15:guide>
        <p15:guide id="8" orient="horz" pos="2158">
          <p15:clr>
            <a:srgbClr val="F26B43"/>
          </p15:clr>
        </p15:guide>
        <p15:guide id="9" pos="7240">
          <p15:clr>
            <a:srgbClr val="F26B43"/>
          </p15:clr>
        </p15:guide>
        <p15:guide id="10" orient="horz" pos="2793">
          <p15:clr>
            <a:srgbClr val="F26B43"/>
          </p15:clr>
        </p15:guide>
        <p15:guide id="11" orient="horz" pos="3428">
          <p15:clr>
            <a:srgbClr val="F26B43"/>
          </p15:clr>
        </p15:guide>
        <p15:guide id="13" orient="horz" pos="4048">
          <p15:clr>
            <a:srgbClr val="F26B43"/>
          </p15:clr>
        </p15:guide>
        <p15:guide id="14" orient="horz" pos="37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16.xml"/><Relationship Id="rId4" Type="http://schemas.openxmlformats.org/officeDocument/2006/relationships/image" Target="../media/image2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7.xml"/><Relationship Id="rId4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18.xml"/><Relationship Id="rId6" Type="http://schemas.openxmlformats.org/officeDocument/2006/relationships/image" Target="../media/image26.png"/><Relationship Id="rId5" Type="http://schemas.openxmlformats.org/officeDocument/2006/relationships/image" Target="../media/image25.jp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20.xm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18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63" Type="http://schemas.openxmlformats.org/officeDocument/2006/relationships/tags" Target="../tags/tag64.xml"/><Relationship Id="rId84" Type="http://schemas.openxmlformats.org/officeDocument/2006/relationships/tags" Target="../tags/tag85.xml"/><Relationship Id="rId138" Type="http://schemas.openxmlformats.org/officeDocument/2006/relationships/tags" Target="../tags/tag139.xml"/><Relationship Id="rId159" Type="http://schemas.openxmlformats.org/officeDocument/2006/relationships/tags" Target="../tags/tag160.xml"/><Relationship Id="rId170" Type="http://schemas.openxmlformats.org/officeDocument/2006/relationships/tags" Target="../tags/tag171.xml"/><Relationship Id="rId191" Type="http://schemas.openxmlformats.org/officeDocument/2006/relationships/tags" Target="../tags/tag192.xml"/><Relationship Id="rId205" Type="http://schemas.openxmlformats.org/officeDocument/2006/relationships/tags" Target="../tags/tag206.xml"/><Relationship Id="rId107" Type="http://schemas.openxmlformats.org/officeDocument/2006/relationships/tags" Target="../tags/tag108.xml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74" Type="http://schemas.openxmlformats.org/officeDocument/2006/relationships/tags" Target="../tags/tag75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23" Type="http://schemas.openxmlformats.org/officeDocument/2006/relationships/tags" Target="../tags/tag124.xml"/><Relationship Id="rId128" Type="http://schemas.openxmlformats.org/officeDocument/2006/relationships/tags" Target="../tags/tag129.xml"/><Relationship Id="rId144" Type="http://schemas.openxmlformats.org/officeDocument/2006/relationships/tags" Target="../tags/tag145.xml"/><Relationship Id="rId149" Type="http://schemas.openxmlformats.org/officeDocument/2006/relationships/tags" Target="../tags/tag150.xml"/><Relationship Id="rId5" Type="http://schemas.openxmlformats.org/officeDocument/2006/relationships/tags" Target="../tags/tag6.xml"/><Relationship Id="rId90" Type="http://schemas.openxmlformats.org/officeDocument/2006/relationships/tags" Target="../tags/tag91.xml"/><Relationship Id="rId95" Type="http://schemas.openxmlformats.org/officeDocument/2006/relationships/tags" Target="../tags/tag96.xml"/><Relationship Id="rId160" Type="http://schemas.openxmlformats.org/officeDocument/2006/relationships/tags" Target="../tags/tag161.xml"/><Relationship Id="rId165" Type="http://schemas.openxmlformats.org/officeDocument/2006/relationships/tags" Target="../tags/tag166.xml"/><Relationship Id="rId181" Type="http://schemas.openxmlformats.org/officeDocument/2006/relationships/tags" Target="../tags/tag182.xml"/><Relationship Id="rId186" Type="http://schemas.openxmlformats.org/officeDocument/2006/relationships/tags" Target="../tags/tag187.xml"/><Relationship Id="rId211" Type="http://schemas.openxmlformats.org/officeDocument/2006/relationships/tags" Target="../tags/tag212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113" Type="http://schemas.openxmlformats.org/officeDocument/2006/relationships/tags" Target="../tags/tag114.xml"/><Relationship Id="rId118" Type="http://schemas.openxmlformats.org/officeDocument/2006/relationships/tags" Target="../tags/tag119.xml"/><Relationship Id="rId134" Type="http://schemas.openxmlformats.org/officeDocument/2006/relationships/tags" Target="../tags/tag135.xml"/><Relationship Id="rId139" Type="http://schemas.openxmlformats.org/officeDocument/2006/relationships/tags" Target="../tags/tag140.xml"/><Relationship Id="rId80" Type="http://schemas.openxmlformats.org/officeDocument/2006/relationships/tags" Target="../tags/tag81.xml"/><Relationship Id="rId85" Type="http://schemas.openxmlformats.org/officeDocument/2006/relationships/tags" Target="../tags/tag86.xml"/><Relationship Id="rId150" Type="http://schemas.openxmlformats.org/officeDocument/2006/relationships/tags" Target="../tags/tag151.xml"/><Relationship Id="rId155" Type="http://schemas.openxmlformats.org/officeDocument/2006/relationships/tags" Target="../tags/tag156.xml"/><Relationship Id="rId171" Type="http://schemas.openxmlformats.org/officeDocument/2006/relationships/tags" Target="../tags/tag172.xml"/><Relationship Id="rId176" Type="http://schemas.openxmlformats.org/officeDocument/2006/relationships/tags" Target="../tags/tag177.xml"/><Relationship Id="rId192" Type="http://schemas.openxmlformats.org/officeDocument/2006/relationships/tags" Target="../tags/tag193.xml"/><Relationship Id="rId197" Type="http://schemas.openxmlformats.org/officeDocument/2006/relationships/tags" Target="../tags/tag198.xml"/><Relationship Id="rId206" Type="http://schemas.openxmlformats.org/officeDocument/2006/relationships/tags" Target="../tags/tag207.xml"/><Relationship Id="rId201" Type="http://schemas.openxmlformats.org/officeDocument/2006/relationships/tags" Target="../tags/tag202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tags" Target="../tags/tag104.xml"/><Relationship Id="rId108" Type="http://schemas.openxmlformats.org/officeDocument/2006/relationships/tags" Target="../tags/tag109.xml"/><Relationship Id="rId124" Type="http://schemas.openxmlformats.org/officeDocument/2006/relationships/tags" Target="../tags/tag125.xml"/><Relationship Id="rId129" Type="http://schemas.openxmlformats.org/officeDocument/2006/relationships/tags" Target="../tags/tag130.xml"/><Relationship Id="rId54" Type="http://schemas.openxmlformats.org/officeDocument/2006/relationships/tags" Target="../tags/tag55.xml"/><Relationship Id="rId70" Type="http://schemas.openxmlformats.org/officeDocument/2006/relationships/tags" Target="../tags/tag71.xml"/><Relationship Id="rId75" Type="http://schemas.openxmlformats.org/officeDocument/2006/relationships/tags" Target="../tags/tag76.xml"/><Relationship Id="rId91" Type="http://schemas.openxmlformats.org/officeDocument/2006/relationships/tags" Target="../tags/tag92.xml"/><Relationship Id="rId96" Type="http://schemas.openxmlformats.org/officeDocument/2006/relationships/tags" Target="../tags/tag97.xml"/><Relationship Id="rId140" Type="http://schemas.openxmlformats.org/officeDocument/2006/relationships/tags" Target="../tags/tag141.xml"/><Relationship Id="rId145" Type="http://schemas.openxmlformats.org/officeDocument/2006/relationships/tags" Target="../tags/tag146.xml"/><Relationship Id="rId161" Type="http://schemas.openxmlformats.org/officeDocument/2006/relationships/tags" Target="../tags/tag162.xml"/><Relationship Id="rId166" Type="http://schemas.openxmlformats.org/officeDocument/2006/relationships/tags" Target="../tags/tag167.xml"/><Relationship Id="rId182" Type="http://schemas.openxmlformats.org/officeDocument/2006/relationships/tags" Target="../tags/tag183.xml"/><Relationship Id="rId187" Type="http://schemas.openxmlformats.org/officeDocument/2006/relationships/tags" Target="../tags/tag188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212" Type="http://schemas.openxmlformats.org/officeDocument/2006/relationships/tags" Target="../tags/tag213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49" Type="http://schemas.openxmlformats.org/officeDocument/2006/relationships/tags" Target="../tags/tag50.xml"/><Relationship Id="rId114" Type="http://schemas.openxmlformats.org/officeDocument/2006/relationships/tags" Target="../tags/tag115.xml"/><Relationship Id="rId119" Type="http://schemas.openxmlformats.org/officeDocument/2006/relationships/tags" Target="../tags/tag120.xml"/><Relationship Id="rId44" Type="http://schemas.openxmlformats.org/officeDocument/2006/relationships/tags" Target="../tags/tag45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81" Type="http://schemas.openxmlformats.org/officeDocument/2006/relationships/tags" Target="../tags/tag82.xml"/><Relationship Id="rId86" Type="http://schemas.openxmlformats.org/officeDocument/2006/relationships/tags" Target="../tags/tag87.xml"/><Relationship Id="rId130" Type="http://schemas.openxmlformats.org/officeDocument/2006/relationships/tags" Target="../tags/tag131.xml"/><Relationship Id="rId135" Type="http://schemas.openxmlformats.org/officeDocument/2006/relationships/tags" Target="../tags/tag136.xml"/><Relationship Id="rId151" Type="http://schemas.openxmlformats.org/officeDocument/2006/relationships/tags" Target="../tags/tag152.xml"/><Relationship Id="rId156" Type="http://schemas.openxmlformats.org/officeDocument/2006/relationships/tags" Target="../tags/tag157.xml"/><Relationship Id="rId177" Type="http://schemas.openxmlformats.org/officeDocument/2006/relationships/tags" Target="../tags/tag178.xml"/><Relationship Id="rId198" Type="http://schemas.openxmlformats.org/officeDocument/2006/relationships/tags" Target="../tags/tag199.xml"/><Relationship Id="rId172" Type="http://schemas.openxmlformats.org/officeDocument/2006/relationships/tags" Target="../tags/tag173.xml"/><Relationship Id="rId193" Type="http://schemas.openxmlformats.org/officeDocument/2006/relationships/tags" Target="../tags/tag194.xml"/><Relationship Id="rId202" Type="http://schemas.openxmlformats.org/officeDocument/2006/relationships/tags" Target="../tags/tag203.xml"/><Relationship Id="rId207" Type="http://schemas.openxmlformats.org/officeDocument/2006/relationships/tags" Target="../tags/tag208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109" Type="http://schemas.openxmlformats.org/officeDocument/2006/relationships/tags" Target="../tags/tag110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tags" Target="../tags/tag98.xml"/><Relationship Id="rId104" Type="http://schemas.openxmlformats.org/officeDocument/2006/relationships/tags" Target="../tags/tag105.xml"/><Relationship Id="rId120" Type="http://schemas.openxmlformats.org/officeDocument/2006/relationships/tags" Target="../tags/tag121.xml"/><Relationship Id="rId125" Type="http://schemas.openxmlformats.org/officeDocument/2006/relationships/tags" Target="../tags/tag126.xml"/><Relationship Id="rId141" Type="http://schemas.openxmlformats.org/officeDocument/2006/relationships/tags" Target="../tags/tag142.xml"/><Relationship Id="rId146" Type="http://schemas.openxmlformats.org/officeDocument/2006/relationships/tags" Target="../tags/tag147.xml"/><Relationship Id="rId167" Type="http://schemas.openxmlformats.org/officeDocument/2006/relationships/tags" Target="../tags/tag168.xml"/><Relationship Id="rId188" Type="http://schemas.openxmlformats.org/officeDocument/2006/relationships/tags" Target="../tags/tag189.xml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162" Type="http://schemas.openxmlformats.org/officeDocument/2006/relationships/tags" Target="../tags/tag163.xml"/><Relationship Id="rId183" Type="http://schemas.openxmlformats.org/officeDocument/2006/relationships/tags" Target="../tags/tag184.xml"/><Relationship Id="rId213" Type="http://schemas.openxmlformats.org/officeDocument/2006/relationships/slideLayout" Target="../slideLayouts/slideLayout24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4" Type="http://schemas.openxmlformats.org/officeDocument/2006/relationships/tags" Target="../tags/tag25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115" Type="http://schemas.openxmlformats.org/officeDocument/2006/relationships/tags" Target="../tags/tag116.xml"/><Relationship Id="rId131" Type="http://schemas.openxmlformats.org/officeDocument/2006/relationships/tags" Target="../tags/tag132.xml"/><Relationship Id="rId136" Type="http://schemas.openxmlformats.org/officeDocument/2006/relationships/tags" Target="../tags/tag137.xml"/><Relationship Id="rId157" Type="http://schemas.openxmlformats.org/officeDocument/2006/relationships/tags" Target="../tags/tag158.xml"/><Relationship Id="rId178" Type="http://schemas.openxmlformats.org/officeDocument/2006/relationships/tags" Target="../tags/tag179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52" Type="http://schemas.openxmlformats.org/officeDocument/2006/relationships/tags" Target="../tags/tag153.xml"/><Relationship Id="rId173" Type="http://schemas.openxmlformats.org/officeDocument/2006/relationships/tags" Target="../tags/tag174.xml"/><Relationship Id="rId194" Type="http://schemas.openxmlformats.org/officeDocument/2006/relationships/tags" Target="../tags/tag195.xml"/><Relationship Id="rId199" Type="http://schemas.openxmlformats.org/officeDocument/2006/relationships/tags" Target="../tags/tag200.xml"/><Relationship Id="rId203" Type="http://schemas.openxmlformats.org/officeDocument/2006/relationships/tags" Target="../tags/tag204.xml"/><Relationship Id="rId208" Type="http://schemas.openxmlformats.org/officeDocument/2006/relationships/tags" Target="../tags/tag209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tags" Target="../tags/tag148.xml"/><Relationship Id="rId168" Type="http://schemas.openxmlformats.org/officeDocument/2006/relationships/tags" Target="../tags/tag169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42" Type="http://schemas.openxmlformats.org/officeDocument/2006/relationships/tags" Target="../tags/tag143.xml"/><Relationship Id="rId163" Type="http://schemas.openxmlformats.org/officeDocument/2006/relationships/tags" Target="../tags/tag164.xml"/><Relationship Id="rId184" Type="http://schemas.openxmlformats.org/officeDocument/2006/relationships/tags" Target="../tags/tag185.xml"/><Relationship Id="rId189" Type="http://schemas.openxmlformats.org/officeDocument/2006/relationships/tags" Target="../tags/tag190.xml"/><Relationship Id="rId3" Type="http://schemas.openxmlformats.org/officeDocument/2006/relationships/tags" Target="../tags/tag4.xml"/><Relationship Id="rId214" Type="http://schemas.openxmlformats.org/officeDocument/2006/relationships/notesSlide" Target="../notesSlides/notesSlide2.xml"/><Relationship Id="rId25" Type="http://schemas.openxmlformats.org/officeDocument/2006/relationships/tags" Target="../tags/tag26.xml"/><Relationship Id="rId46" Type="http://schemas.openxmlformats.org/officeDocument/2006/relationships/tags" Target="../tags/tag47.xml"/><Relationship Id="rId67" Type="http://schemas.openxmlformats.org/officeDocument/2006/relationships/tags" Target="../tags/tag68.xml"/><Relationship Id="rId116" Type="http://schemas.openxmlformats.org/officeDocument/2006/relationships/tags" Target="../tags/tag117.xml"/><Relationship Id="rId137" Type="http://schemas.openxmlformats.org/officeDocument/2006/relationships/tags" Target="../tags/tag138.xml"/><Relationship Id="rId158" Type="http://schemas.openxmlformats.org/officeDocument/2006/relationships/tags" Target="../tags/tag159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88" Type="http://schemas.openxmlformats.org/officeDocument/2006/relationships/tags" Target="../tags/tag89.xml"/><Relationship Id="rId111" Type="http://schemas.openxmlformats.org/officeDocument/2006/relationships/tags" Target="../tags/tag112.xml"/><Relationship Id="rId132" Type="http://schemas.openxmlformats.org/officeDocument/2006/relationships/tags" Target="../tags/tag133.xml"/><Relationship Id="rId153" Type="http://schemas.openxmlformats.org/officeDocument/2006/relationships/tags" Target="../tags/tag154.xml"/><Relationship Id="rId174" Type="http://schemas.openxmlformats.org/officeDocument/2006/relationships/tags" Target="../tags/tag175.xml"/><Relationship Id="rId179" Type="http://schemas.openxmlformats.org/officeDocument/2006/relationships/tags" Target="../tags/tag180.xml"/><Relationship Id="rId195" Type="http://schemas.openxmlformats.org/officeDocument/2006/relationships/tags" Target="../tags/tag196.xml"/><Relationship Id="rId209" Type="http://schemas.openxmlformats.org/officeDocument/2006/relationships/tags" Target="../tags/tag210.xml"/><Relationship Id="rId190" Type="http://schemas.openxmlformats.org/officeDocument/2006/relationships/tags" Target="../tags/tag191.xml"/><Relationship Id="rId204" Type="http://schemas.openxmlformats.org/officeDocument/2006/relationships/tags" Target="../tags/tag205.xml"/><Relationship Id="rId15" Type="http://schemas.openxmlformats.org/officeDocument/2006/relationships/tags" Target="../tags/tag16.xml"/><Relationship Id="rId36" Type="http://schemas.openxmlformats.org/officeDocument/2006/relationships/tags" Target="../tags/tag37.xml"/><Relationship Id="rId57" Type="http://schemas.openxmlformats.org/officeDocument/2006/relationships/tags" Target="../tags/tag58.xml"/><Relationship Id="rId106" Type="http://schemas.openxmlformats.org/officeDocument/2006/relationships/tags" Target="../tags/tag107.xml"/><Relationship Id="rId127" Type="http://schemas.openxmlformats.org/officeDocument/2006/relationships/tags" Target="../tags/tag12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52" Type="http://schemas.openxmlformats.org/officeDocument/2006/relationships/tags" Target="../tags/tag53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94" Type="http://schemas.openxmlformats.org/officeDocument/2006/relationships/tags" Target="../tags/tag95.xml"/><Relationship Id="rId99" Type="http://schemas.openxmlformats.org/officeDocument/2006/relationships/tags" Target="../tags/tag100.xml"/><Relationship Id="rId101" Type="http://schemas.openxmlformats.org/officeDocument/2006/relationships/tags" Target="../tags/tag102.xml"/><Relationship Id="rId122" Type="http://schemas.openxmlformats.org/officeDocument/2006/relationships/tags" Target="../tags/tag123.xml"/><Relationship Id="rId143" Type="http://schemas.openxmlformats.org/officeDocument/2006/relationships/tags" Target="../tags/tag144.xml"/><Relationship Id="rId148" Type="http://schemas.openxmlformats.org/officeDocument/2006/relationships/tags" Target="../tags/tag149.xml"/><Relationship Id="rId164" Type="http://schemas.openxmlformats.org/officeDocument/2006/relationships/tags" Target="../tags/tag165.xml"/><Relationship Id="rId169" Type="http://schemas.openxmlformats.org/officeDocument/2006/relationships/tags" Target="../tags/tag170.xml"/><Relationship Id="rId185" Type="http://schemas.openxmlformats.org/officeDocument/2006/relationships/tags" Target="../tags/tag186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80" Type="http://schemas.openxmlformats.org/officeDocument/2006/relationships/tags" Target="../tags/tag181.xml"/><Relationship Id="rId210" Type="http://schemas.openxmlformats.org/officeDocument/2006/relationships/tags" Target="../tags/tag211.xml"/><Relationship Id="rId26" Type="http://schemas.openxmlformats.org/officeDocument/2006/relationships/tags" Target="../tags/tag27.xml"/><Relationship Id="rId47" Type="http://schemas.openxmlformats.org/officeDocument/2006/relationships/tags" Target="../tags/tag48.xml"/><Relationship Id="rId68" Type="http://schemas.openxmlformats.org/officeDocument/2006/relationships/tags" Target="../tags/tag69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33" Type="http://schemas.openxmlformats.org/officeDocument/2006/relationships/tags" Target="../tags/tag134.xml"/><Relationship Id="rId154" Type="http://schemas.openxmlformats.org/officeDocument/2006/relationships/tags" Target="../tags/tag155.xml"/><Relationship Id="rId175" Type="http://schemas.openxmlformats.org/officeDocument/2006/relationships/tags" Target="../tags/tag176.xml"/><Relationship Id="rId196" Type="http://schemas.openxmlformats.org/officeDocument/2006/relationships/tags" Target="../tags/tag197.xml"/><Relationship Id="rId200" Type="http://schemas.openxmlformats.org/officeDocument/2006/relationships/tags" Target="../tags/tag201.xml"/><Relationship Id="rId16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14.xml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5.xml"/><Relationship Id="rId4" Type="http://schemas.openxmlformats.org/officeDocument/2006/relationships/image" Target="../media/image2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22360" y="1046425"/>
            <a:ext cx="8747279" cy="4765150"/>
          </a:xfrm>
        </p:spPr>
        <p:txBody>
          <a:bodyPr anchor="ctr"/>
          <a:lstStyle/>
          <a:p>
            <a:pPr>
              <a:spcAft>
                <a:spcPts val="0"/>
              </a:spcAft>
            </a:pPr>
            <a:r>
              <a:rPr lang="en-GB" sz="6600" dirty="0"/>
              <a:t>Nordic Innovation</a:t>
            </a:r>
            <a:br>
              <a:rPr lang="en-GB" sz="6600" dirty="0"/>
            </a:br>
            <a:r>
              <a:rPr lang="en-GB" sz="6600" dirty="0"/>
              <a:t/>
            </a:r>
            <a:br>
              <a:rPr lang="en-GB" sz="6600" dirty="0"/>
            </a:br>
            <a:r>
              <a:rPr lang="en-US" sz="3200" dirty="0">
                <a:latin typeface="Calibri" panose="020F0502020204030204" pitchFamily="34" charset="0"/>
                <a:ea typeface="Calibri" panose="020F0502020204030204" pitchFamily="34" charset="0"/>
              </a:rPr>
              <a:t>We connect people, businesses and organizations for a sustainable future</a:t>
            </a:r>
            <a:r>
              <a:rPr lang="da-DK" sz="5400" dirty="0">
                <a:latin typeface="Calibri" panose="020F0502020204030204" pitchFamily="34" charset="0"/>
                <a:ea typeface="Calibri" panose="020F0502020204030204" pitchFamily="34" charset="0"/>
              </a:rPr>
              <a:t/>
            </a:r>
            <a:br>
              <a:rPr lang="da-DK" sz="54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en-GB" sz="5400" dirty="0"/>
              <a:t> 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latin typeface="Corbel"/>
              </a:rPr>
              <a:t>Thordur Reynisson</a:t>
            </a:r>
            <a:endParaRPr kumimoji="0" lang="en-GB" sz="1350" b="0" i="0" u="none" strike="noStrike" kern="1200" cap="none" spc="0" normalizeH="0" baseline="0" noProof="0" dirty="0">
              <a:ln>
                <a:noFill/>
              </a:ln>
              <a:solidFill>
                <a:srgbClr val="ADCFF1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ADCFF1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October 2019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D37B1E-C366-494F-A587-962AD9AABC83}" type="slidenum">
              <a:rPr kumimoji="0" lang="en-GB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Corbe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9723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xmlns="" id="{C201121A-6368-4BB2-9782-DA91AEE5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568" y="491319"/>
            <a:ext cx="7795777" cy="1185584"/>
          </a:xfrm>
        </p:spPr>
        <p:txBody>
          <a:bodyPr/>
          <a:lstStyle/>
          <a:p>
            <a:r>
              <a:rPr lang="nb-NO" dirty="0"/>
              <a:t>How Nordic </a:t>
            </a:r>
            <a:r>
              <a:rPr lang="en-US" dirty="0"/>
              <a:t>Innovation works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xmlns="" id="{78C02D95-8E16-49D8-8291-8E2C69ABD1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6568" y="1764984"/>
            <a:ext cx="7740144" cy="4312217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GB" b="1" dirty="0"/>
              <a:t>Nordic added value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/>
              <a:t>Minimum 3 Nordic participants</a:t>
            </a:r>
            <a:endParaRPr lang="en-GB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en-US" b="1" dirty="0"/>
              <a:t>Examples of instruments</a:t>
            </a:r>
          </a:p>
          <a:p>
            <a:r>
              <a:rPr lang="da-DK" dirty="0"/>
              <a:t>C</a:t>
            </a:r>
            <a:r>
              <a:rPr lang="en-GB" dirty="0">
                <a:solidFill>
                  <a:schemeClr val="accent2"/>
                </a:solidFill>
              </a:rPr>
              <a:t>all for Proposals</a:t>
            </a:r>
          </a:p>
          <a:p>
            <a:r>
              <a:rPr lang="en-GB" dirty="0">
                <a:solidFill>
                  <a:schemeClr val="accent2"/>
                </a:solidFill>
              </a:rPr>
              <a:t>Challenge Competition</a:t>
            </a:r>
          </a:p>
          <a:p>
            <a:r>
              <a:rPr lang="en-GB" dirty="0">
                <a:solidFill>
                  <a:schemeClr val="accent2"/>
                </a:solidFill>
              </a:rPr>
              <a:t>Innovation Prizes</a:t>
            </a:r>
          </a:p>
          <a:p>
            <a:r>
              <a:rPr lang="en-GB" dirty="0">
                <a:solidFill>
                  <a:schemeClr val="accent2"/>
                </a:solidFill>
              </a:rPr>
              <a:t>Nordic Big Missions</a:t>
            </a:r>
          </a:p>
          <a:p>
            <a:r>
              <a:rPr lang="en-GB" dirty="0">
                <a:solidFill>
                  <a:schemeClr val="accent2"/>
                </a:solidFill>
              </a:rPr>
              <a:t>Nordic Networks (e.g. clusters)</a:t>
            </a:r>
          </a:p>
          <a:p>
            <a:r>
              <a:rPr lang="en-GB" dirty="0">
                <a:solidFill>
                  <a:schemeClr val="accent2"/>
                </a:solidFill>
              </a:rPr>
              <a:t>Procurement</a:t>
            </a:r>
          </a:p>
          <a:p>
            <a:pPr marL="467995" indent="-467995" fontAlgn="base"/>
            <a:endParaRPr lang="nb-NO" dirty="0"/>
          </a:p>
        </p:txBody>
      </p:sp>
      <p:pic>
        <p:nvPicPr>
          <p:cNvPr id="9" name="Picture Placeholder 6">
            <a:extLst>
              <a:ext uri="{FF2B5EF4-FFF2-40B4-BE49-F238E27FC236}">
                <a16:creationId xmlns:a16="http://schemas.microsoft.com/office/drawing/2014/main" xmlns="" id="{5415BF1A-608E-4D4C-BE7C-85624755738F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92" r="12892"/>
          <a:stretch/>
        </p:blipFill>
        <p:spPr>
          <a:xfrm>
            <a:off x="8794750" y="0"/>
            <a:ext cx="3394463" cy="6858000"/>
          </a:xfrm>
        </p:spPr>
      </p:pic>
      <p:sp>
        <p:nvSpPr>
          <p:cNvPr id="4" name="Plassholder for dato 3">
            <a:extLst>
              <a:ext uri="{FF2B5EF4-FFF2-40B4-BE49-F238E27FC236}">
                <a16:creationId xmlns:a16="http://schemas.microsoft.com/office/drawing/2014/main" xmlns="" id="{D091F3ED-E1CC-4BE2-A95F-30BCF61E6DD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xmlns="" id="{0F47A986-0431-4FBD-81BD-85DD317045B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xmlns="" id="{802F3EAB-C94A-415F-8B8C-F08F380F68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9233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lassholder for bilde 9">
            <a:extLst>
              <a:ext uri="{FF2B5EF4-FFF2-40B4-BE49-F238E27FC236}">
                <a16:creationId xmlns:a16="http://schemas.microsoft.com/office/drawing/2014/main" xmlns="" id="{EDB9906E-89D0-479D-9CF8-461BC264F52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2" b="7802"/>
          <a:stretch>
            <a:fillRect/>
          </a:stretch>
        </p:blipFill>
        <p:spPr>
          <a:xfrm>
            <a:off x="-774" y="0"/>
            <a:ext cx="12190374" cy="6858000"/>
          </a:xfrm>
        </p:spPr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3296172" y="770817"/>
            <a:ext cx="7082044" cy="5055649"/>
          </a:xfrm>
        </p:spPr>
        <p:txBody>
          <a:bodyPr>
            <a:normAutofit fontScale="90000"/>
          </a:bodyPr>
          <a:lstStyle/>
          <a:p>
            <a: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  <a:t/>
            </a:r>
            <a:b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</a:br>
            <a: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  <a:t>Health, </a:t>
            </a:r>
            <a:b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</a:br>
            <a: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  <a:t>Demography </a:t>
            </a:r>
            <a:b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</a:br>
            <a: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  <a:t>and </a:t>
            </a:r>
            <a:b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</a:br>
            <a: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  <a:t>Quality of Life</a:t>
            </a:r>
            <a:b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</a:br>
            <a:r>
              <a:rPr lang="en-GB" sz="4900" baseline="30000" dirty="0">
                <a:solidFill>
                  <a:srgbClr val="FFFFFF"/>
                </a:solidFill>
                <a:latin typeface="Mark Pro" panose="020B0504020201010104" pitchFamily="34" charset="0"/>
              </a:rPr>
              <a:t/>
            </a:r>
            <a:br>
              <a:rPr lang="en-GB" sz="4900" baseline="30000" dirty="0">
                <a:solidFill>
                  <a:srgbClr val="FFFFFF"/>
                </a:solidFill>
                <a:latin typeface="Mark Pro" panose="020B0504020201010104" pitchFamily="34" charset="0"/>
              </a:rPr>
            </a:br>
            <a:r>
              <a:rPr lang="en-GB" sz="4900" i="1" baseline="30000" dirty="0">
                <a:solidFill>
                  <a:srgbClr val="FFFFFF"/>
                </a:solidFill>
                <a:latin typeface="Mark Pro" panose="020B0504020201010104" pitchFamily="34" charset="0"/>
              </a:rPr>
              <a:t>- We connect people, data and innovation for a better life</a:t>
            </a:r>
            <a:r>
              <a:rPr lang="en-GB" sz="8000" b="1" i="1" baseline="30000" dirty="0">
                <a:solidFill>
                  <a:srgbClr val="FFFFFF"/>
                </a:solidFill>
                <a:latin typeface="Mark Pro" panose="020B0504020201010104" pitchFamily="34" charset="0"/>
              </a:rPr>
              <a:t> </a:t>
            </a:r>
            <a: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  <a:t/>
            </a:r>
            <a:b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</a:br>
            <a: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  <a:t/>
            </a:r>
            <a:br>
              <a:rPr lang="en-GB" sz="8000" b="1" baseline="30000" dirty="0">
                <a:solidFill>
                  <a:srgbClr val="FFFFFF"/>
                </a:solidFill>
                <a:latin typeface="Mark Pro" panose="020B0504020201010104" pitchFamily="34" charset="0"/>
              </a:rPr>
            </a:br>
            <a:r>
              <a:rPr lang="en-GB" b="1" baseline="30000" dirty="0">
                <a:latin typeface="Mark Pro" panose="020B0504020201010104" pitchFamily="34" charset="0"/>
              </a:rPr>
              <a:t/>
            </a:r>
            <a:br>
              <a:rPr lang="en-GB" b="1" baseline="30000" dirty="0">
                <a:latin typeface="Mark Pro" panose="020B0504020201010104" pitchFamily="34" charset="0"/>
              </a:rPr>
            </a:br>
            <a:endParaRPr lang="en-GB" dirty="0">
              <a:latin typeface="Mark Pro" panose="020B0504020201010104" pitchFamily="34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hordur Reyniss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596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654661" y="1136039"/>
            <a:ext cx="5050653" cy="3532187"/>
          </a:xfrm>
        </p:spPr>
        <p:txBody>
          <a:bodyPr/>
          <a:lstStyle/>
          <a:p>
            <a:pPr marL="0" indent="0">
              <a:buNone/>
            </a:pPr>
            <a:endParaRPr lang="en-GB" sz="3200" i="1" dirty="0"/>
          </a:p>
          <a:p>
            <a:pPr marL="0" indent="0">
              <a:buNone/>
            </a:pPr>
            <a:r>
              <a:rPr lang="en-GB" sz="3200" i="1" dirty="0"/>
              <a:t>In 2030 the Nordics will be the most sustainable and integrated health region in the world, providing the best possible personalized health care for all its citizens.</a:t>
            </a:r>
          </a:p>
          <a:p>
            <a:pPr marL="0" indent="0">
              <a:buNone/>
            </a:pPr>
            <a:endParaRPr lang="en-GB" u="sng" dirty="0">
              <a:hlinkClick r:id="" action="ppaction://noaction"/>
            </a:endParaRPr>
          </a:p>
          <a:p>
            <a:pPr marL="0" indent="0">
              <a:buNone/>
            </a:pPr>
            <a:endParaRPr lang="en-GB" u="sng" dirty="0">
              <a:hlinkClick r:id="" action="ppaction://noaction"/>
            </a:endParaRP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Corbel"/>
                <a:ea typeface="+mn-ea"/>
                <a:cs typeface="+mn-cs"/>
              </a:rPr>
              <a:t>20. august 2018</a:t>
            </a:r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pic>
        <p:nvPicPr>
          <p:cNvPr id="10" name="Plassholder for bilde 9">
            <a:extLst>
              <a:ext uri="{FF2B5EF4-FFF2-40B4-BE49-F238E27FC236}">
                <a16:creationId xmlns:a16="http://schemas.microsoft.com/office/drawing/2014/main" xmlns="" id="{B16F3762-0805-4ED6-BE6E-9F361D45E25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824" r="17824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3" name="Plassholder for bilde 32">
            <a:extLst>
              <a:ext uri="{FF2B5EF4-FFF2-40B4-BE49-F238E27FC236}">
                <a16:creationId xmlns:a16="http://schemas.microsoft.com/office/drawing/2014/main" xmlns="" id="{FF8913A3-F601-4CAF-925B-89F2C3CAE67D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98" b="7798"/>
          <a:stretch/>
        </p:blipFill>
        <p:spPr>
          <a:prstGeom prst="rect">
            <a:avLst/>
          </a:prstGeom>
        </p:spPr>
      </p:pic>
      <p:pic>
        <p:nvPicPr>
          <p:cNvPr id="16" name="Plassholder for bilde 15">
            <a:extLst>
              <a:ext uri="{FF2B5EF4-FFF2-40B4-BE49-F238E27FC236}">
                <a16:creationId xmlns:a16="http://schemas.microsoft.com/office/drawing/2014/main" xmlns="" id="{31C71731-66E1-46FD-A1D4-E3A35448F746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759" r="24759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342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xmlns="" id="{C92B6E29-0B87-45AA-929B-4BFBB2F247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Health, Demography &amp; Quality of Life</a:t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>
                <a:solidFill>
                  <a:schemeClr val="accent2"/>
                </a:solidFill>
              </a:rPr>
              <a:t>2018-2021</a:t>
            </a:r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xmlns="" id="{3C2BB6B3-4ECF-430D-A000-3F6EF09CE85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23828083"/>
              </p:ext>
            </p:extLst>
          </p:nvPr>
        </p:nvGraphicFramePr>
        <p:xfrm>
          <a:off x="838200" y="1948989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Pil: venstre og høyre 8">
            <a:extLst>
              <a:ext uri="{FF2B5EF4-FFF2-40B4-BE49-F238E27FC236}">
                <a16:creationId xmlns:a16="http://schemas.microsoft.com/office/drawing/2014/main" xmlns="" id="{9C62F457-9658-4C82-8976-93FE1BE0F9ED}"/>
              </a:ext>
            </a:extLst>
          </p:cNvPr>
          <p:cNvSpPr/>
          <p:nvPr/>
        </p:nvSpPr>
        <p:spPr>
          <a:xfrm flipH="1">
            <a:off x="8972234" y="5514412"/>
            <a:ext cx="2084242" cy="373016"/>
          </a:xfrm>
          <a:prstGeom prst="leftRightArrow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Pil: venstre og høyre 9">
            <a:extLst>
              <a:ext uri="{FF2B5EF4-FFF2-40B4-BE49-F238E27FC236}">
                <a16:creationId xmlns:a16="http://schemas.microsoft.com/office/drawing/2014/main" xmlns="" id="{1692C9F0-7163-4D39-AEF5-B628ACB61DFF}"/>
              </a:ext>
            </a:extLst>
          </p:cNvPr>
          <p:cNvSpPr/>
          <p:nvPr/>
        </p:nvSpPr>
        <p:spPr>
          <a:xfrm flipH="1">
            <a:off x="6338792" y="5518704"/>
            <a:ext cx="2084242" cy="373016"/>
          </a:xfrm>
          <a:prstGeom prst="leftRightArrow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Pil: venstre og høyre 10">
            <a:extLst>
              <a:ext uri="{FF2B5EF4-FFF2-40B4-BE49-F238E27FC236}">
                <a16:creationId xmlns:a16="http://schemas.microsoft.com/office/drawing/2014/main" xmlns="" id="{25E0737B-3F20-44A4-86AA-1B8DDD0F6C8C}"/>
              </a:ext>
            </a:extLst>
          </p:cNvPr>
          <p:cNvSpPr/>
          <p:nvPr/>
        </p:nvSpPr>
        <p:spPr>
          <a:xfrm flipH="1">
            <a:off x="3680564" y="5534747"/>
            <a:ext cx="2193306" cy="373016"/>
          </a:xfrm>
          <a:prstGeom prst="leftRightArrow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22" name="Plassholder for dato 21">
            <a:extLst>
              <a:ext uri="{FF2B5EF4-FFF2-40B4-BE49-F238E27FC236}">
                <a16:creationId xmlns:a16="http://schemas.microsoft.com/office/drawing/2014/main" xmlns="" id="{61CE0334-364A-42E1-B020-E7A7E7411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Corbel"/>
                <a:ea typeface="+mn-ea"/>
                <a:cs typeface="+mn-cs"/>
              </a:rPr>
              <a:t>20. august 2018</a:t>
            </a:r>
            <a:endParaRPr kumimoji="0" lang="nb-NO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97981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xmlns="" id="{9987514F-D48D-45EB-B9FA-E26109B97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ctivities 2019 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xmlns="" id="{C1781426-C0E7-48DB-BE5E-4518E88B60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105" y="1276350"/>
            <a:ext cx="7795777" cy="5302501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endParaRPr lang="en-GB" sz="2000" b="1" dirty="0"/>
          </a:p>
          <a:p>
            <a:pPr marL="0" indent="0">
              <a:buNone/>
            </a:pPr>
            <a:endParaRPr lang="en-GB" sz="2000" b="1" dirty="0"/>
          </a:p>
          <a:p>
            <a:pPr marL="0" indent="0">
              <a:buNone/>
            </a:pPr>
            <a:r>
              <a:rPr lang="en-GB" sz="2000" b="1" dirty="0"/>
              <a:t>Bridging Nordic Data Initiative</a:t>
            </a:r>
          </a:p>
          <a:p>
            <a:pPr marL="467995" indent="-467995"/>
            <a:r>
              <a:rPr lang="en-GB" sz="2000" dirty="0"/>
              <a:t>Scenario process </a:t>
            </a:r>
          </a:p>
          <a:p>
            <a:pPr marL="467995" indent="-467995"/>
            <a:r>
              <a:rPr lang="en-US" sz="2000" dirty="0"/>
              <a:t>Visualization</a:t>
            </a:r>
            <a:r>
              <a:rPr lang="en-GB" sz="2000" dirty="0"/>
              <a:t> and interoperability </a:t>
            </a:r>
          </a:p>
          <a:p>
            <a:pPr marL="467995" indent="-467995"/>
            <a:r>
              <a:rPr lang="en-GB" sz="2000" dirty="0"/>
              <a:t>Nordic Health Hackathons </a:t>
            </a:r>
          </a:p>
          <a:p>
            <a:pPr marL="467995" indent="-467995"/>
            <a:r>
              <a:rPr lang="en-GB" sz="2000" dirty="0"/>
              <a:t>Mapping of legal obstacles and p0ssibilities</a:t>
            </a:r>
            <a:br>
              <a:rPr lang="en-GB" sz="2000" dirty="0"/>
            </a:br>
            <a:endParaRPr lang="en-GB" sz="2000" dirty="0"/>
          </a:p>
          <a:p>
            <a:pPr marL="467995" indent="-467995"/>
            <a:endParaRPr lang="en-GB" sz="2000" dirty="0"/>
          </a:p>
          <a:p>
            <a:pPr marL="0" indent="0">
              <a:buNone/>
            </a:pPr>
            <a:r>
              <a:rPr lang="en-GB" sz="2000" b="1" dirty="0"/>
              <a:t>Prevention</a:t>
            </a:r>
          </a:p>
          <a:p>
            <a:pPr marL="467995" indent="-467995"/>
            <a:r>
              <a:rPr lang="en-US" sz="2000" dirty="0"/>
              <a:t>Healthier Nordic Youth (to be initiated </a:t>
            </a:r>
            <a:r>
              <a:rPr lang="nb-NO" sz="2000" dirty="0"/>
              <a:t>2019/2020)</a:t>
            </a:r>
            <a:endParaRPr lang="en-GB" sz="2000" dirty="0"/>
          </a:p>
          <a:p>
            <a:pPr marL="0" indent="0">
              <a:buNone/>
            </a:pPr>
            <a:r>
              <a:rPr lang="en-GB" sz="2000" dirty="0"/>
              <a:t/>
            </a:r>
            <a:br>
              <a:rPr lang="en-GB" sz="2000" dirty="0"/>
            </a:br>
            <a:endParaRPr lang="en-GB" sz="2000" dirty="0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xmlns="" id="{0787E92A-8B33-4A5F-BAFA-E2960690326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Corbel"/>
                <a:ea typeface="+mn-ea"/>
                <a:cs typeface="+mn-cs"/>
              </a:rPr>
              <a:t>20. august 2018</a:t>
            </a:r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xmlns="" id="{5C9BF609-CEDE-483E-8AD4-51E01DADDEE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50" b="0" i="0" u="none" strike="noStrike" kern="1200" cap="none" spc="0" normalizeH="0" baseline="0" noProof="0" dirty="0">
              <a:ln>
                <a:noFill/>
              </a:ln>
              <a:solidFill>
                <a:srgbClr val="006EB6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pic>
        <p:nvPicPr>
          <p:cNvPr id="6" name="Plassholder for bilde 5">
            <a:extLst>
              <a:ext uri="{FF2B5EF4-FFF2-40B4-BE49-F238E27FC236}">
                <a16:creationId xmlns:a16="http://schemas.microsoft.com/office/drawing/2014/main" xmlns="" id="{B5F09D97-9D4C-417F-8EBA-00520594C41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09" r="44001"/>
          <a:stretch/>
        </p:blipFill>
        <p:spPr>
          <a:xfrm>
            <a:off x="8794750" y="0"/>
            <a:ext cx="3394463" cy="6858000"/>
          </a:xfrm>
        </p:spPr>
      </p:pic>
    </p:spTree>
    <p:extLst>
      <p:ext uri="{BB962C8B-B14F-4D97-AF65-F5344CB8AC3E}">
        <p14:creationId xmlns:p14="http://schemas.microsoft.com/office/powerpoint/2010/main" val="29141364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xmlns="" id="{9987514F-D48D-45EB-B9FA-E26109B97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ctivities 2019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xmlns="" id="{C1781426-C0E7-48DB-BE5E-4518E88B60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105" y="1276350"/>
            <a:ext cx="7795777" cy="5302501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GB" sz="2000" dirty="0"/>
              <a:t/>
            </a:r>
            <a:br>
              <a:rPr lang="en-GB" sz="2000" dirty="0"/>
            </a:br>
            <a:endParaRPr lang="en-GB" sz="2000" dirty="0"/>
          </a:p>
          <a:p>
            <a:pPr marL="0" indent="0">
              <a:buNone/>
            </a:pPr>
            <a:r>
              <a:rPr lang="en-GB" sz="2000" b="1" dirty="0"/>
              <a:t>Healthy Cities</a:t>
            </a:r>
          </a:p>
          <a:p>
            <a:r>
              <a:rPr lang="en-US" dirty="0"/>
              <a:t>Nordic Smart Cities: Innovating towards healthy and carbon-neutral living (2019 until 2021)</a:t>
            </a:r>
          </a:p>
          <a:p>
            <a:pPr marL="467995" indent="-467995"/>
            <a:endParaRPr lang="en-GB" sz="2000" dirty="0"/>
          </a:p>
          <a:p>
            <a:pPr marL="0" indent="0">
              <a:buNone/>
            </a:pPr>
            <a:r>
              <a:rPr lang="en-GB" sz="2000" b="1" dirty="0"/>
              <a:t>Value Chain Collaboration</a:t>
            </a:r>
            <a:endParaRPr lang="en-GB" sz="2000" dirty="0"/>
          </a:p>
          <a:p>
            <a:pPr marL="467995" indent="-467995"/>
            <a:r>
              <a:rPr lang="en-GB" sz="2000" dirty="0"/>
              <a:t>Nordic collaboration towards defined export markets</a:t>
            </a:r>
          </a:p>
          <a:p>
            <a:pPr marL="467995" indent="-467995"/>
            <a:r>
              <a:rPr lang="en-GB" sz="2000" dirty="0"/>
              <a:t>Cross-sectoral collaboration of Nordic companies</a:t>
            </a:r>
          </a:p>
          <a:p>
            <a:pPr marL="467995" indent="-467995"/>
            <a:r>
              <a:rPr lang="en-GB" sz="2000" dirty="0"/>
              <a:t>Social Impact Investments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xmlns="" id="{0787E92A-8B33-4A5F-BAFA-E2960690326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Corbel"/>
                <a:ea typeface="+mn-ea"/>
                <a:cs typeface="+mn-cs"/>
              </a:rPr>
              <a:t>20. august 2018</a:t>
            </a:r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xmlns="" id="{5C9BF609-CEDE-483E-8AD4-51E01DADDEE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50" b="0" i="0" u="none" strike="noStrike" kern="1200" cap="none" spc="0" normalizeH="0" baseline="0" noProof="0" dirty="0">
              <a:ln>
                <a:noFill/>
              </a:ln>
              <a:solidFill>
                <a:srgbClr val="006EB6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pic>
        <p:nvPicPr>
          <p:cNvPr id="5" name="Plassholder for bilde 4">
            <a:extLst>
              <a:ext uri="{FF2B5EF4-FFF2-40B4-BE49-F238E27FC236}">
                <a16:creationId xmlns:a16="http://schemas.microsoft.com/office/drawing/2014/main" xmlns="" id="{394B0AB3-E45F-4D07-A51A-AB07F6735F1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84" r="17022"/>
          <a:stretch/>
        </p:blipFill>
        <p:spPr>
          <a:xfrm>
            <a:off x="8794750" y="0"/>
            <a:ext cx="3394463" cy="6858000"/>
          </a:xfrm>
        </p:spPr>
      </p:pic>
    </p:spTree>
    <p:extLst>
      <p:ext uri="{BB962C8B-B14F-4D97-AF65-F5344CB8AC3E}">
        <p14:creationId xmlns:p14="http://schemas.microsoft.com/office/powerpoint/2010/main" val="20009701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xmlns="" id="{2784D430-1296-4063-BB73-1803BB0FB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568" y="391029"/>
            <a:ext cx="7795777" cy="816266"/>
          </a:xfrm>
        </p:spPr>
        <p:txBody>
          <a:bodyPr/>
          <a:lstStyle/>
          <a:p>
            <a:r>
              <a:rPr lang="en-AU" dirty="0"/>
              <a:t>Ambitio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xmlns="" id="{B120E25F-D246-4BFD-932F-0697CFA195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3738" y="1643064"/>
            <a:ext cx="7740144" cy="4306886"/>
          </a:xfrm>
        </p:spPr>
        <p:txBody>
          <a:bodyPr/>
          <a:lstStyle/>
          <a:p>
            <a:r>
              <a:rPr lang="en-US" sz="2800" dirty="0"/>
              <a:t>Make the Nordic region a Hub for new innovative health solutions 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The best environment for health companies and start-ups 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sz="2800" dirty="0"/>
              <a:t>Transform the Nordic health sector to become a role model for other countries </a:t>
            </a:r>
            <a:endParaRPr lang="da-DK" sz="2800" dirty="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xmlns="" id="{94AF9004-CE60-4830-9C69-82DE8A7913A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nb-NO"/>
              <a:t>20. august 2018</a:t>
            </a:r>
            <a:endParaRPr lang="nb-NO" dirty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xmlns="" id="{B16BA795-7DB6-4CE2-A216-426DF82BC29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lvl="0"/>
            <a:r>
              <a:rPr lang="en-GB" dirty="0"/>
              <a:t>Health, Demography &amp; Quality of Life</a:t>
            </a:r>
          </a:p>
        </p:txBody>
      </p:sp>
      <p:pic>
        <p:nvPicPr>
          <p:cNvPr id="14" name="Plassholder for bilde 13">
            <a:extLst>
              <a:ext uri="{FF2B5EF4-FFF2-40B4-BE49-F238E27FC236}">
                <a16:creationId xmlns:a16="http://schemas.microsoft.com/office/drawing/2014/main" xmlns="" id="{105500A4-6312-4612-BC4A-B4EF6481628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32" r="40774"/>
          <a:stretch/>
        </p:blipFill>
        <p:spPr>
          <a:xfrm>
            <a:off x="8889753" y="0"/>
            <a:ext cx="3394463" cy="6858000"/>
          </a:xfr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xmlns="" id="{8D36C174-9480-46BA-8F13-EF75F9F7E299}"/>
              </a:ext>
            </a:extLst>
          </p:cNvPr>
          <p:cNvSpPr txBox="1"/>
          <p:nvPr/>
        </p:nvSpPr>
        <p:spPr>
          <a:xfrm>
            <a:off x="10998558" y="6578851"/>
            <a:ext cx="119344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Marie </a:t>
            </a:r>
            <a:r>
              <a:rPr lang="nb-NO" sz="800" dirty="0" err="1">
                <a:solidFill>
                  <a:schemeClr val="bg1"/>
                </a:solidFill>
              </a:rPr>
              <a:t>Ullnert</a:t>
            </a:r>
            <a:r>
              <a:rPr lang="nb-NO" sz="800" dirty="0">
                <a:solidFill>
                  <a:schemeClr val="bg1"/>
                </a:solidFill>
              </a:rPr>
              <a:t>-Sahlgrenska</a:t>
            </a:r>
          </a:p>
        </p:txBody>
      </p:sp>
    </p:spTree>
    <p:extLst>
      <p:ext uri="{BB962C8B-B14F-4D97-AF65-F5344CB8AC3E}">
        <p14:creationId xmlns:p14="http://schemas.microsoft.com/office/powerpoint/2010/main" val="42044738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SR_Name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Thordur Reynisson</a:t>
            </a:r>
          </a:p>
        </p:txBody>
      </p:sp>
      <p:sp>
        <p:nvSpPr>
          <p:cNvPr id="6" name="USR_Title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enior Innovation Advisor</a:t>
            </a:r>
          </a:p>
        </p:txBody>
      </p:sp>
      <p:sp>
        <p:nvSpPr>
          <p:cNvPr id="7" name="USR_Email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TR@nordicinnovation.org</a:t>
            </a:r>
          </a:p>
        </p:txBody>
      </p:sp>
      <p:sp>
        <p:nvSpPr>
          <p:cNvPr id="10" name="OFF_companyname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Nordic Innovation</a:t>
            </a:r>
          </a:p>
        </p:txBody>
      </p:sp>
      <p:sp>
        <p:nvSpPr>
          <p:cNvPr id="9" name="OFF_Address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 err="1"/>
              <a:t>Stensberggata</a:t>
            </a:r>
            <a:r>
              <a:rPr lang="en-GB" dirty="0"/>
              <a:t> 27 -0170 Oslo - Norway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03/01/2019</a:t>
            </a:r>
          </a:p>
        </p:txBody>
      </p:sp>
      <p:sp>
        <p:nvSpPr>
          <p:cNvPr id="11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50" b="0" i="0" u="none" strike="noStrike" kern="1200" cap="none" spc="0" normalizeH="0" baseline="0" noProof="0" dirty="0">
              <a:ln>
                <a:noFill/>
              </a:ln>
              <a:solidFill>
                <a:srgbClr val="006EB6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D37B1E-C366-494F-A587-962AD9AABC83}" type="slidenum">
              <a:rPr kumimoji="0" lang="en-GB" sz="950" b="0" i="0" u="none" strike="noStrike" kern="1200" cap="none" spc="0" normalizeH="0" baseline="0" noProof="0">
                <a:ln>
                  <a:noFill/>
                </a:ln>
                <a:solidFill>
                  <a:srgbClr val="006EB6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950" b="0" i="0" u="none" strike="noStrike" kern="1200" cap="none" spc="0" normalizeH="0" baseline="0" noProof="0">
              <a:ln>
                <a:noFill/>
              </a:ln>
              <a:solidFill>
                <a:srgbClr val="006EB6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94074" y="5030645"/>
            <a:ext cx="40497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6EB6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nordicinnovation.org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870665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LAN_Thanks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r>
              <a:rPr lang="en-GB"/>
              <a:t>Thank you</a:t>
            </a: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Corbel"/>
                <a:ea typeface="+mn-ea"/>
                <a:cs typeface="+mn-cs"/>
              </a:rPr>
              <a:t>03/01/2019</a:t>
            </a:r>
          </a:p>
        </p:txBody>
      </p:sp>
      <p:sp>
        <p:nvSpPr>
          <p:cNvPr id="7" name="FLD_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50" b="0" i="0" u="none" strike="noStrike" kern="1200" cap="none" spc="0" normalizeH="0" baseline="0" noProof="0">
              <a:ln>
                <a:noFill/>
              </a:ln>
              <a:solidFill>
                <a:srgbClr val="ADCFF1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D37B1E-C366-494F-A587-962AD9AABC83}" type="slidenum">
              <a:rPr kumimoji="0" lang="en-GB" sz="950" b="0" i="0" u="none" strike="noStrike" kern="1200" cap="none" spc="0" normalizeH="0" baseline="0" noProof="0">
                <a:ln>
                  <a:noFill/>
                </a:ln>
                <a:solidFill>
                  <a:srgbClr val="ADCFF1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950" b="0" i="0" u="none" strike="noStrike" kern="1200" cap="none" spc="0" normalizeH="0" baseline="0" noProof="0">
              <a:ln>
                <a:noFill/>
              </a:ln>
              <a:solidFill>
                <a:srgbClr val="ADCFF1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73195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418998">
            <a:off x="2980097" y="1676643"/>
            <a:ext cx="4334950" cy="4463577"/>
            <a:chOff x="2987" y="657"/>
            <a:chExt cx="1247" cy="1284"/>
          </a:xfrm>
          <a:solidFill>
            <a:schemeClr val="accent3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ChangeAspect="1" noEditPoints="1"/>
          </p:cNvSpPr>
          <p:nvPr/>
        </p:nvSpPr>
        <p:spPr bwMode="auto">
          <a:xfrm>
            <a:off x="931662" y="3351992"/>
            <a:ext cx="1352157" cy="764576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>
            <a:spLocks/>
          </p:cNvSpPr>
          <p:nvPr/>
        </p:nvSpPr>
        <p:spPr>
          <a:xfrm>
            <a:off x="3675428" y="5947861"/>
            <a:ext cx="138419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>
                <a:solidFill>
                  <a:srgbClr val="006EB6"/>
                </a:solidFill>
              </a:rPr>
              <a:t>Denmark</a:t>
            </a:r>
          </a:p>
        </p:txBody>
      </p:sp>
      <p:sp>
        <p:nvSpPr>
          <p:cNvPr id="17" name="Finland Text"/>
          <p:cNvSpPr txBox="1">
            <a:spLocks/>
          </p:cNvSpPr>
          <p:nvPr/>
        </p:nvSpPr>
        <p:spPr>
          <a:xfrm>
            <a:off x="5866990" y="3486874"/>
            <a:ext cx="12418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>
                <a:solidFill>
                  <a:srgbClr val="006EB6"/>
                </a:solidFill>
              </a:rPr>
              <a:t>Finland</a:t>
            </a:r>
          </a:p>
        </p:txBody>
      </p:sp>
      <p:sp>
        <p:nvSpPr>
          <p:cNvPr id="18" name="Sweden Text"/>
          <p:cNvSpPr txBox="1">
            <a:spLocks/>
          </p:cNvSpPr>
          <p:nvPr/>
        </p:nvSpPr>
        <p:spPr>
          <a:xfrm>
            <a:off x="4377403" y="3246506"/>
            <a:ext cx="119912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>
                <a:solidFill>
                  <a:srgbClr val="006EB6"/>
                </a:solidFill>
              </a:rPr>
              <a:t>Sweden</a:t>
            </a:r>
          </a:p>
        </p:txBody>
      </p:sp>
      <p:sp>
        <p:nvSpPr>
          <p:cNvPr id="19" name="Norway Text"/>
          <p:cNvSpPr txBox="1">
            <a:spLocks/>
          </p:cNvSpPr>
          <p:nvPr/>
        </p:nvSpPr>
        <p:spPr>
          <a:xfrm>
            <a:off x="3324075" y="4686909"/>
            <a:ext cx="115758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>
                <a:solidFill>
                  <a:srgbClr val="006EB6"/>
                </a:solidFill>
              </a:rPr>
              <a:t>Norway</a:t>
            </a:r>
          </a:p>
        </p:txBody>
      </p:sp>
      <p:sp>
        <p:nvSpPr>
          <p:cNvPr id="20" name="Iceland Text"/>
          <p:cNvSpPr txBox="1">
            <a:spLocks/>
          </p:cNvSpPr>
          <p:nvPr/>
        </p:nvSpPr>
        <p:spPr>
          <a:xfrm>
            <a:off x="1118517" y="3477545"/>
            <a:ext cx="115142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>
                <a:solidFill>
                  <a:srgbClr val="006EB6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3/01/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t>2</a:t>
            </a:fld>
            <a:endParaRPr lang="en-GB"/>
          </a:p>
        </p:txBody>
      </p:sp>
      <p:grpSp>
        <p:nvGrpSpPr>
          <p:cNvPr id="23" name="Greenland"/>
          <p:cNvGrpSpPr>
            <a:grpSpLocks noChangeAspect="1"/>
          </p:cNvGrpSpPr>
          <p:nvPr/>
        </p:nvGrpSpPr>
        <p:grpSpPr>
          <a:xfrm>
            <a:off x="-443691" y="-272947"/>
            <a:ext cx="2456921" cy="3415546"/>
            <a:chOff x="-585190" y="-350005"/>
            <a:chExt cx="3236080" cy="4498713"/>
          </a:xfrm>
        </p:grpSpPr>
        <p:sp>
          <p:nvSpPr>
            <p:cNvPr id="190" name="Freeform 10"/>
            <p:cNvSpPr>
              <a:spLocks/>
            </p:cNvSpPr>
            <p:nvPr/>
          </p:nvSpPr>
          <p:spPr bwMode="auto">
            <a:xfrm rot="1181657">
              <a:off x="1599678" y="2376697"/>
              <a:ext cx="289129" cy="250343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 rot="1181657">
              <a:off x="2488696" y="844945"/>
              <a:ext cx="162194" cy="141039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 rot="1181657">
              <a:off x="2389766" y="439986"/>
              <a:ext cx="126935" cy="197454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 rot="1181657">
              <a:off x="2483496" y="854"/>
              <a:ext cx="35260" cy="88149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 rot="1181657">
              <a:off x="-585190" y="-350005"/>
              <a:ext cx="3047209" cy="4498713"/>
            </a:xfrm>
            <a:custGeom>
              <a:avLst/>
              <a:gdLst>
                <a:gd name="connsiteX0" fmla="*/ 0 w 3047209"/>
                <a:gd name="connsiteY0" fmla="*/ 777356 h 4498713"/>
                <a:gd name="connsiteX1" fmla="*/ 2171754 w 3047209"/>
                <a:gd name="connsiteY1" fmla="*/ 0 h 4498713"/>
                <a:gd name="connsiteX2" fmla="*/ 2186636 w 3047209"/>
                <a:gd name="connsiteY2" fmla="*/ 122046 h 4498713"/>
                <a:gd name="connsiteX3" fmla="*/ 2225117 w 3047209"/>
                <a:gd name="connsiteY3" fmla="*/ 157031 h 4498713"/>
                <a:gd name="connsiteX4" fmla="*/ 2242608 w 3047209"/>
                <a:gd name="connsiteY4" fmla="*/ 48577 h 4498713"/>
                <a:gd name="connsiteX5" fmla="*/ 2330065 w 3047209"/>
                <a:gd name="connsiteY5" fmla="*/ 66069 h 4498713"/>
                <a:gd name="connsiteX6" fmla="*/ 2386037 w 3047209"/>
                <a:gd name="connsiteY6" fmla="*/ 122046 h 4498713"/>
                <a:gd name="connsiteX7" fmla="*/ 2312574 w 3047209"/>
                <a:gd name="connsiteY7" fmla="*/ 101055 h 4498713"/>
                <a:gd name="connsiteX8" fmla="*/ 2277591 w 3047209"/>
                <a:gd name="connsiteY8" fmla="*/ 139539 h 4498713"/>
                <a:gd name="connsiteX9" fmla="*/ 2312574 w 3047209"/>
                <a:gd name="connsiteY9" fmla="*/ 192017 h 4498713"/>
                <a:gd name="connsiteX10" fmla="*/ 2421020 w 3047209"/>
                <a:gd name="connsiteY10" fmla="*/ 227002 h 4498713"/>
                <a:gd name="connsiteX11" fmla="*/ 2473494 w 3047209"/>
                <a:gd name="connsiteY11" fmla="*/ 192016 h 4498713"/>
                <a:gd name="connsiteX12" fmla="*/ 2529466 w 3047209"/>
                <a:gd name="connsiteY12" fmla="*/ 261987 h 4498713"/>
                <a:gd name="connsiteX13" fmla="*/ 2546957 w 3047209"/>
                <a:gd name="connsiteY13" fmla="*/ 352949 h 4498713"/>
                <a:gd name="connsiteX14" fmla="*/ 2386037 w 3047209"/>
                <a:gd name="connsiteY14" fmla="*/ 352949 h 4498713"/>
                <a:gd name="connsiteX15" fmla="*/ 2330065 w 3047209"/>
                <a:gd name="connsiteY15" fmla="*/ 457905 h 4498713"/>
                <a:gd name="connsiteX16" fmla="*/ 2260100 w 3047209"/>
                <a:gd name="connsiteY16" fmla="*/ 440413 h 4498713"/>
                <a:gd name="connsiteX17" fmla="*/ 2242608 w 3047209"/>
                <a:gd name="connsiteY17" fmla="*/ 475398 h 4498713"/>
                <a:gd name="connsiteX18" fmla="*/ 2312574 w 3047209"/>
                <a:gd name="connsiteY18" fmla="*/ 510383 h 4498713"/>
                <a:gd name="connsiteX19" fmla="*/ 2386037 w 3047209"/>
                <a:gd name="connsiteY19" fmla="*/ 601345 h 4498713"/>
                <a:gd name="connsiteX20" fmla="*/ 2421020 w 3047209"/>
                <a:gd name="connsiteY20" fmla="*/ 566360 h 4498713"/>
                <a:gd name="connsiteX21" fmla="*/ 2456002 w 3047209"/>
                <a:gd name="connsiteY21" fmla="*/ 583852 h 4498713"/>
                <a:gd name="connsiteX22" fmla="*/ 2490985 w 3047209"/>
                <a:gd name="connsiteY22" fmla="*/ 566360 h 4498713"/>
                <a:gd name="connsiteX23" fmla="*/ 2529466 w 3047209"/>
                <a:gd name="connsiteY23" fmla="*/ 636331 h 4498713"/>
                <a:gd name="connsiteX24" fmla="*/ 2599431 w 3047209"/>
                <a:gd name="connsiteY24" fmla="*/ 688809 h 4498713"/>
                <a:gd name="connsiteX25" fmla="*/ 2669397 w 3047209"/>
                <a:gd name="connsiteY25" fmla="*/ 832248 h 4498713"/>
                <a:gd name="connsiteX26" fmla="*/ 2669397 w 3047209"/>
                <a:gd name="connsiteY26" fmla="*/ 902219 h 4498713"/>
                <a:gd name="connsiteX27" fmla="*/ 2581940 w 3047209"/>
                <a:gd name="connsiteY27" fmla="*/ 867234 h 4498713"/>
                <a:gd name="connsiteX28" fmla="*/ 2564449 w 3047209"/>
                <a:gd name="connsiteY28" fmla="*/ 937205 h 4498713"/>
                <a:gd name="connsiteX29" fmla="*/ 2508476 w 3047209"/>
                <a:gd name="connsiteY29" fmla="*/ 993181 h 4498713"/>
                <a:gd name="connsiteX30" fmla="*/ 2456002 w 3047209"/>
                <a:gd name="connsiteY30" fmla="*/ 993181 h 4498713"/>
                <a:gd name="connsiteX31" fmla="*/ 2529466 w 3047209"/>
                <a:gd name="connsiteY31" fmla="*/ 1010674 h 4498713"/>
                <a:gd name="connsiteX32" fmla="*/ 2564449 w 3047209"/>
                <a:gd name="connsiteY32" fmla="*/ 958196 h 4498713"/>
                <a:gd name="connsiteX33" fmla="*/ 2634414 w 3047209"/>
                <a:gd name="connsiteY33" fmla="*/ 1098137 h 4498713"/>
                <a:gd name="connsiteX34" fmla="*/ 2616923 w 3047209"/>
                <a:gd name="connsiteY34" fmla="*/ 975689 h 4498713"/>
                <a:gd name="connsiteX35" fmla="*/ 2651905 w 3047209"/>
                <a:gd name="connsiteY35" fmla="*/ 958196 h 4498713"/>
                <a:gd name="connsiteX36" fmla="*/ 2795334 w 3047209"/>
                <a:gd name="connsiteY36" fmla="*/ 1098137 h 4498713"/>
                <a:gd name="connsiteX37" fmla="*/ 2795334 w 3047209"/>
                <a:gd name="connsiteY37" fmla="*/ 1171606 h 4498713"/>
                <a:gd name="connsiteX38" fmla="*/ 2725369 w 3047209"/>
                <a:gd name="connsiteY38" fmla="*/ 1189099 h 4498713"/>
                <a:gd name="connsiteX39" fmla="*/ 2742860 w 3047209"/>
                <a:gd name="connsiteY39" fmla="*/ 1224084 h 4498713"/>
                <a:gd name="connsiteX40" fmla="*/ 2669397 w 3047209"/>
                <a:gd name="connsiteY40" fmla="*/ 1276562 h 4498713"/>
                <a:gd name="connsiteX41" fmla="*/ 2581940 w 3047209"/>
                <a:gd name="connsiteY41" fmla="*/ 1259070 h 4498713"/>
                <a:gd name="connsiteX42" fmla="*/ 2546957 w 3047209"/>
                <a:gd name="connsiteY42" fmla="*/ 1154114 h 4498713"/>
                <a:gd name="connsiteX43" fmla="*/ 2564449 w 3047209"/>
                <a:gd name="connsiteY43" fmla="*/ 1329040 h 4498713"/>
                <a:gd name="connsiteX44" fmla="*/ 2599431 w 3047209"/>
                <a:gd name="connsiteY44" fmla="*/ 1346533 h 4498713"/>
                <a:gd name="connsiteX45" fmla="*/ 2760351 w 3047209"/>
                <a:gd name="connsiteY45" fmla="*/ 1329040 h 4498713"/>
                <a:gd name="connsiteX46" fmla="*/ 2795334 w 3047209"/>
                <a:gd name="connsiteY46" fmla="*/ 1472480 h 4498713"/>
                <a:gd name="connsiteX47" fmla="*/ 2725369 w 3047209"/>
                <a:gd name="connsiteY47" fmla="*/ 1489973 h 4498713"/>
                <a:gd name="connsiteX48" fmla="*/ 2669397 w 3047209"/>
                <a:gd name="connsiteY48" fmla="*/ 1580935 h 4498713"/>
                <a:gd name="connsiteX49" fmla="*/ 2490985 w 3047209"/>
                <a:gd name="connsiteY49" fmla="*/ 1542451 h 4498713"/>
                <a:gd name="connsiteX50" fmla="*/ 2438511 w 3047209"/>
                <a:gd name="connsiteY50" fmla="*/ 1472480 h 4498713"/>
                <a:gd name="connsiteX51" fmla="*/ 2421020 w 3047209"/>
                <a:gd name="connsiteY51" fmla="*/ 1542451 h 4498713"/>
                <a:gd name="connsiteX52" fmla="*/ 2295082 w 3047209"/>
                <a:gd name="connsiteY52" fmla="*/ 1489973 h 4498713"/>
                <a:gd name="connsiteX53" fmla="*/ 2403528 w 3047209"/>
                <a:gd name="connsiteY53" fmla="*/ 1580935 h 4498713"/>
                <a:gd name="connsiteX54" fmla="*/ 2312574 w 3047209"/>
                <a:gd name="connsiteY54" fmla="*/ 1703384 h 4498713"/>
                <a:gd name="connsiteX55" fmla="*/ 2169145 w 3047209"/>
                <a:gd name="connsiteY55" fmla="*/ 1668398 h 4498713"/>
                <a:gd name="connsiteX56" fmla="*/ 2260100 w 3047209"/>
                <a:gd name="connsiteY56" fmla="*/ 1703384 h 4498713"/>
                <a:gd name="connsiteX57" fmla="*/ 2260100 w 3047209"/>
                <a:gd name="connsiteY57" fmla="*/ 1738369 h 4498713"/>
                <a:gd name="connsiteX58" fmla="*/ 2260098 w 3047209"/>
                <a:gd name="connsiteY58" fmla="*/ 1738370 h 4498713"/>
                <a:gd name="connsiteX59" fmla="*/ 2207626 w 3047209"/>
                <a:gd name="connsiteY59" fmla="*/ 1755862 h 4498713"/>
                <a:gd name="connsiteX60" fmla="*/ 2207626 w 3047209"/>
                <a:gd name="connsiteY60" fmla="*/ 1760571 h 4498713"/>
                <a:gd name="connsiteX61" fmla="*/ 2169145 w 3047209"/>
                <a:gd name="connsiteY61" fmla="*/ 1776853 h 4498713"/>
                <a:gd name="connsiteX62" fmla="*/ 2207626 w 3047209"/>
                <a:gd name="connsiteY62" fmla="*/ 1794345 h 4498713"/>
                <a:gd name="connsiteX63" fmla="*/ 2207626 w 3047209"/>
                <a:gd name="connsiteY63" fmla="*/ 1760571 h 4498713"/>
                <a:gd name="connsiteX64" fmla="*/ 2260098 w 3047209"/>
                <a:gd name="connsiteY64" fmla="*/ 1738370 h 4498713"/>
                <a:gd name="connsiteX65" fmla="*/ 2312574 w 3047209"/>
                <a:gd name="connsiteY65" fmla="*/ 1720876 h 4498713"/>
                <a:gd name="connsiteX66" fmla="*/ 2368546 w 3047209"/>
                <a:gd name="connsiteY66" fmla="*/ 1668398 h 4498713"/>
                <a:gd name="connsiteX67" fmla="*/ 2368546 w 3047209"/>
                <a:gd name="connsiteY67" fmla="*/ 1633413 h 4498713"/>
                <a:gd name="connsiteX68" fmla="*/ 2438511 w 3047209"/>
                <a:gd name="connsiteY68" fmla="*/ 1598428 h 4498713"/>
                <a:gd name="connsiteX69" fmla="*/ 2725369 w 3047209"/>
                <a:gd name="connsiteY69" fmla="*/ 1685891 h 4498713"/>
                <a:gd name="connsiteX70" fmla="*/ 2795334 w 3047209"/>
                <a:gd name="connsiteY70" fmla="*/ 1951780 h 4498713"/>
                <a:gd name="connsiteX71" fmla="*/ 2616923 w 3047209"/>
                <a:gd name="connsiteY71" fmla="*/ 1916794 h 4498713"/>
                <a:gd name="connsiteX72" fmla="*/ 2456002 w 3047209"/>
                <a:gd name="connsiteY72" fmla="*/ 1720876 h 4498713"/>
                <a:gd name="connsiteX73" fmla="*/ 2295082 w 3047209"/>
                <a:gd name="connsiteY73" fmla="*/ 1881809 h 4498713"/>
                <a:gd name="connsiteX74" fmla="*/ 2330065 w 3047209"/>
                <a:gd name="connsiteY74" fmla="*/ 1899302 h 4498713"/>
                <a:gd name="connsiteX75" fmla="*/ 2456002 w 3047209"/>
                <a:gd name="connsiteY75" fmla="*/ 1776853 h 4498713"/>
                <a:gd name="connsiteX76" fmla="*/ 2508476 w 3047209"/>
                <a:gd name="connsiteY76" fmla="*/ 1881809 h 4498713"/>
                <a:gd name="connsiteX77" fmla="*/ 2473494 w 3047209"/>
                <a:gd name="connsiteY77" fmla="*/ 1951780 h 4498713"/>
                <a:gd name="connsiteX78" fmla="*/ 2490985 w 3047209"/>
                <a:gd name="connsiteY78" fmla="*/ 1969272 h 4498713"/>
                <a:gd name="connsiteX79" fmla="*/ 2529466 w 3047209"/>
                <a:gd name="connsiteY79" fmla="*/ 1916794 h 4498713"/>
                <a:gd name="connsiteX80" fmla="*/ 2546957 w 3047209"/>
                <a:gd name="connsiteY80" fmla="*/ 1951780 h 4498713"/>
                <a:gd name="connsiteX81" fmla="*/ 2795334 w 3047209"/>
                <a:gd name="connsiteY81" fmla="*/ 2025249 h 4498713"/>
                <a:gd name="connsiteX82" fmla="*/ 2812826 w 3047209"/>
                <a:gd name="connsiteY82" fmla="*/ 2077727 h 4498713"/>
                <a:gd name="connsiteX83" fmla="*/ 2868798 w 3047209"/>
                <a:gd name="connsiteY83" fmla="*/ 2060234 h 4498713"/>
                <a:gd name="connsiteX84" fmla="*/ 2830317 w 3047209"/>
                <a:gd name="connsiteY84" fmla="*/ 2165190 h 4498713"/>
                <a:gd name="connsiteX85" fmla="*/ 2868798 w 3047209"/>
                <a:gd name="connsiteY85" fmla="*/ 2238659 h 4498713"/>
                <a:gd name="connsiteX86" fmla="*/ 2868798 w 3047209"/>
                <a:gd name="connsiteY86" fmla="*/ 2165190 h 4498713"/>
                <a:gd name="connsiteX87" fmla="*/ 2921272 w 3047209"/>
                <a:gd name="connsiteY87" fmla="*/ 2147698 h 4498713"/>
                <a:gd name="connsiteX88" fmla="*/ 3047209 w 3047209"/>
                <a:gd name="connsiteY88" fmla="*/ 2469563 h 4498713"/>
                <a:gd name="connsiteX89" fmla="*/ 2956254 w 3047209"/>
                <a:gd name="connsiteY89" fmla="*/ 2487055 h 4498713"/>
                <a:gd name="connsiteX90" fmla="*/ 2903780 w 3047209"/>
                <a:gd name="connsiteY90" fmla="*/ 2361108 h 4498713"/>
                <a:gd name="connsiteX91" fmla="*/ 2938763 w 3047209"/>
                <a:gd name="connsiteY91" fmla="*/ 2504548 h 4498713"/>
                <a:gd name="connsiteX92" fmla="*/ 2903780 w 3047209"/>
                <a:gd name="connsiteY92" fmla="*/ 2522041 h 4498713"/>
                <a:gd name="connsiteX93" fmla="*/ 2795334 w 3047209"/>
                <a:gd name="connsiteY93" fmla="*/ 2504548 h 4498713"/>
                <a:gd name="connsiteX94" fmla="*/ 2707877 w 3047209"/>
                <a:gd name="connsiteY94" fmla="*/ 2417085 h 4498713"/>
                <a:gd name="connsiteX95" fmla="*/ 2707877 w 3047209"/>
                <a:gd name="connsiteY95" fmla="*/ 2361108 h 4498713"/>
                <a:gd name="connsiteX96" fmla="*/ 2651905 w 3047209"/>
                <a:gd name="connsiteY96" fmla="*/ 2326123 h 4498713"/>
                <a:gd name="connsiteX97" fmla="*/ 2473494 w 3047209"/>
                <a:gd name="connsiteY97" fmla="*/ 2238659 h 4498713"/>
                <a:gd name="connsiteX98" fmla="*/ 2347556 w 3047209"/>
                <a:gd name="connsiteY98" fmla="*/ 2256152 h 4498713"/>
                <a:gd name="connsiteX99" fmla="*/ 2347556 w 3047209"/>
                <a:gd name="connsiteY99" fmla="*/ 2291137 h 4498713"/>
                <a:gd name="connsiteX100" fmla="*/ 2490985 w 3047209"/>
                <a:gd name="connsiteY100" fmla="*/ 2273645 h 4498713"/>
                <a:gd name="connsiteX101" fmla="*/ 2529466 w 3047209"/>
                <a:gd name="connsiteY101" fmla="*/ 2361108 h 4498713"/>
                <a:gd name="connsiteX102" fmla="*/ 2456002 w 3047209"/>
                <a:gd name="connsiteY102" fmla="*/ 2469563 h 4498713"/>
                <a:gd name="connsiteX103" fmla="*/ 2260100 w 3047209"/>
                <a:gd name="connsiteY103" fmla="*/ 2504548 h 4498713"/>
                <a:gd name="connsiteX104" fmla="*/ 2312574 w 3047209"/>
                <a:gd name="connsiteY104" fmla="*/ 2522041 h 4498713"/>
                <a:gd name="connsiteX105" fmla="*/ 2312574 w 3047209"/>
                <a:gd name="connsiteY105" fmla="*/ 2613003 h 4498713"/>
                <a:gd name="connsiteX106" fmla="*/ 2225117 w 3047209"/>
                <a:gd name="connsiteY106" fmla="*/ 2700466 h 4498713"/>
                <a:gd name="connsiteX107" fmla="*/ 2403528 w 3047209"/>
                <a:gd name="connsiteY107" fmla="*/ 2682974 h 4498713"/>
                <a:gd name="connsiteX108" fmla="*/ 2490985 w 3047209"/>
                <a:gd name="connsiteY108" fmla="*/ 2630495 h 4498713"/>
                <a:gd name="connsiteX109" fmla="*/ 2508476 w 3047209"/>
                <a:gd name="connsiteY109" fmla="*/ 2665481 h 4498713"/>
                <a:gd name="connsiteX110" fmla="*/ 2456002 w 3047209"/>
                <a:gd name="connsiteY110" fmla="*/ 2700466 h 4498713"/>
                <a:gd name="connsiteX111" fmla="*/ 2421020 w 3047209"/>
                <a:gd name="connsiteY111" fmla="*/ 2805422 h 4498713"/>
                <a:gd name="connsiteX112" fmla="*/ 2456002 w 3047209"/>
                <a:gd name="connsiteY112" fmla="*/ 2805422 h 4498713"/>
                <a:gd name="connsiteX113" fmla="*/ 2473494 w 3047209"/>
                <a:gd name="connsiteY113" fmla="*/ 2735452 h 4498713"/>
                <a:gd name="connsiteX114" fmla="*/ 2634414 w 3047209"/>
                <a:gd name="connsiteY114" fmla="*/ 2630495 h 4498713"/>
                <a:gd name="connsiteX115" fmla="*/ 2851306 w 3047209"/>
                <a:gd name="connsiteY115" fmla="*/ 2647988 h 4498713"/>
                <a:gd name="connsiteX116" fmla="*/ 3012227 w 3047209"/>
                <a:gd name="connsiteY116" fmla="*/ 2592012 h 4498713"/>
                <a:gd name="connsiteX117" fmla="*/ 3029718 w 3047209"/>
                <a:gd name="connsiteY117" fmla="*/ 2613003 h 4498713"/>
                <a:gd name="connsiteX118" fmla="*/ 2938763 w 3047209"/>
                <a:gd name="connsiteY118" fmla="*/ 2700466 h 4498713"/>
                <a:gd name="connsiteX119" fmla="*/ 2956254 w 3047209"/>
                <a:gd name="connsiteY119" fmla="*/ 2735452 h 4498713"/>
                <a:gd name="connsiteX120" fmla="*/ 2868798 w 3047209"/>
                <a:gd name="connsiteY120" fmla="*/ 2787930 h 4498713"/>
                <a:gd name="connsiteX121" fmla="*/ 2903780 w 3047209"/>
                <a:gd name="connsiteY121" fmla="*/ 2826413 h 4498713"/>
                <a:gd name="connsiteX122" fmla="*/ 2830317 w 3047209"/>
                <a:gd name="connsiteY122" fmla="*/ 2843906 h 4498713"/>
                <a:gd name="connsiteX123" fmla="*/ 2868798 w 3047209"/>
                <a:gd name="connsiteY123" fmla="*/ 2878891 h 4498713"/>
                <a:gd name="connsiteX124" fmla="*/ 2760351 w 3047209"/>
                <a:gd name="connsiteY124" fmla="*/ 2983848 h 4498713"/>
                <a:gd name="connsiteX125" fmla="*/ 2795334 w 3047209"/>
                <a:gd name="connsiteY125" fmla="*/ 3018833 h 4498713"/>
                <a:gd name="connsiteX126" fmla="*/ 2669397 w 3047209"/>
                <a:gd name="connsiteY126" fmla="*/ 3214751 h 4498713"/>
                <a:gd name="connsiteX127" fmla="*/ 2368546 w 3047209"/>
                <a:gd name="connsiteY127" fmla="*/ 3428161 h 4498713"/>
                <a:gd name="connsiteX128" fmla="*/ 2277591 w 3047209"/>
                <a:gd name="connsiteY128" fmla="*/ 3428161 h 4498713"/>
                <a:gd name="connsiteX129" fmla="*/ 2242608 w 3047209"/>
                <a:gd name="connsiteY129" fmla="*/ 3484138 h 4498713"/>
                <a:gd name="connsiteX130" fmla="*/ 2186636 w 3047209"/>
                <a:gd name="connsiteY130" fmla="*/ 3484138 h 4498713"/>
                <a:gd name="connsiteX131" fmla="*/ 2207626 w 3047209"/>
                <a:gd name="connsiteY131" fmla="*/ 3519123 h 4498713"/>
                <a:gd name="connsiteX132" fmla="*/ 2151654 w 3047209"/>
                <a:gd name="connsiteY132" fmla="*/ 3554109 h 4498713"/>
                <a:gd name="connsiteX133" fmla="*/ 1973242 w 3047209"/>
                <a:gd name="connsiteY133" fmla="*/ 3449153 h 4498713"/>
                <a:gd name="connsiteX134" fmla="*/ 2008225 w 3047209"/>
                <a:gd name="connsiteY134" fmla="*/ 3624079 h 4498713"/>
                <a:gd name="connsiteX135" fmla="*/ 1903277 w 3047209"/>
                <a:gd name="connsiteY135" fmla="*/ 3732534 h 4498713"/>
                <a:gd name="connsiteX136" fmla="*/ 1812322 w 3047209"/>
                <a:gd name="connsiteY136" fmla="*/ 4106877 h 4498713"/>
                <a:gd name="connsiteX137" fmla="*/ 1794830 w 3047209"/>
                <a:gd name="connsiteY137" fmla="*/ 4089385 h 4498713"/>
                <a:gd name="connsiteX138" fmla="*/ 1777339 w 3047209"/>
                <a:gd name="connsiteY138" fmla="*/ 4106877 h 4498713"/>
                <a:gd name="connsiteX139" fmla="*/ 1777339 w 3047209"/>
                <a:gd name="connsiteY139" fmla="*/ 4159355 h 4498713"/>
                <a:gd name="connsiteX140" fmla="*/ 1686384 w 3047209"/>
                <a:gd name="connsiteY140" fmla="*/ 4246819 h 4498713"/>
                <a:gd name="connsiteX141" fmla="*/ 1598928 w 3047209"/>
                <a:gd name="connsiteY141" fmla="*/ 4176848 h 4498713"/>
                <a:gd name="connsiteX142" fmla="*/ 1633910 w 3047209"/>
                <a:gd name="connsiteY142" fmla="*/ 4302795 h 4498713"/>
                <a:gd name="connsiteX143" fmla="*/ 1581436 w 3047209"/>
                <a:gd name="connsiteY143" fmla="*/ 4337781 h 4498713"/>
                <a:gd name="connsiteX144" fmla="*/ 1563945 w 3047209"/>
                <a:gd name="connsiteY144" fmla="*/ 4390259 h 4498713"/>
                <a:gd name="connsiteX145" fmla="*/ 1525464 w 3047209"/>
                <a:gd name="connsiteY145" fmla="*/ 4337781 h 4498713"/>
                <a:gd name="connsiteX146" fmla="*/ 1490481 w 3047209"/>
                <a:gd name="connsiteY146" fmla="*/ 4425244 h 4498713"/>
                <a:gd name="connsiteX147" fmla="*/ 1455499 w 3047209"/>
                <a:gd name="connsiteY147" fmla="*/ 4390259 h 4498713"/>
                <a:gd name="connsiteX148" fmla="*/ 1403025 w 3047209"/>
                <a:gd name="connsiteY148" fmla="*/ 4481221 h 4498713"/>
                <a:gd name="connsiteX149" fmla="*/ 1364544 w 3047209"/>
                <a:gd name="connsiteY149" fmla="*/ 4498713 h 4498713"/>
                <a:gd name="connsiteX150" fmla="*/ 1329561 w 3047209"/>
                <a:gd name="connsiteY150" fmla="*/ 4481221 h 4498713"/>
                <a:gd name="connsiteX151" fmla="*/ 1403025 w 3047209"/>
                <a:gd name="connsiteY151" fmla="*/ 4246819 h 4498713"/>
                <a:gd name="connsiteX152" fmla="*/ 1277087 w 3047209"/>
                <a:gd name="connsiteY152" fmla="*/ 4229326 h 4498713"/>
                <a:gd name="connsiteX153" fmla="*/ 1347052 w 3047209"/>
                <a:gd name="connsiteY153" fmla="*/ 4264311 h 4498713"/>
                <a:gd name="connsiteX154" fmla="*/ 1294578 w 3047209"/>
                <a:gd name="connsiteY154" fmla="*/ 4390259 h 4498713"/>
                <a:gd name="connsiteX155" fmla="*/ 1292768 w 3047209"/>
                <a:gd name="connsiteY155" fmla="*/ 4389052 h 4498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3047209" h="4498713">
                  <a:moveTo>
                    <a:pt x="0" y="777356"/>
                  </a:moveTo>
                  <a:lnTo>
                    <a:pt x="2171754" y="0"/>
                  </a:lnTo>
                  <a:lnTo>
                    <a:pt x="2186636" y="122046"/>
                  </a:lnTo>
                  <a:lnTo>
                    <a:pt x="2225117" y="157031"/>
                  </a:lnTo>
                  <a:lnTo>
                    <a:pt x="2242608" y="48577"/>
                  </a:lnTo>
                  <a:lnTo>
                    <a:pt x="2330065" y="66069"/>
                  </a:lnTo>
                  <a:lnTo>
                    <a:pt x="2386037" y="122046"/>
                  </a:lnTo>
                  <a:lnTo>
                    <a:pt x="2312574" y="101055"/>
                  </a:lnTo>
                  <a:lnTo>
                    <a:pt x="2277591" y="139539"/>
                  </a:lnTo>
                  <a:lnTo>
                    <a:pt x="2312574" y="192017"/>
                  </a:lnTo>
                  <a:lnTo>
                    <a:pt x="2421020" y="227002"/>
                  </a:lnTo>
                  <a:lnTo>
                    <a:pt x="2473494" y="192016"/>
                  </a:lnTo>
                  <a:lnTo>
                    <a:pt x="2529466" y="261987"/>
                  </a:lnTo>
                  <a:lnTo>
                    <a:pt x="2546957" y="352949"/>
                  </a:lnTo>
                  <a:lnTo>
                    <a:pt x="2386037" y="352949"/>
                  </a:lnTo>
                  <a:lnTo>
                    <a:pt x="2330065" y="457905"/>
                  </a:lnTo>
                  <a:lnTo>
                    <a:pt x="2260100" y="440413"/>
                  </a:lnTo>
                  <a:lnTo>
                    <a:pt x="2242608" y="475398"/>
                  </a:lnTo>
                  <a:lnTo>
                    <a:pt x="2312574" y="510383"/>
                  </a:lnTo>
                  <a:lnTo>
                    <a:pt x="2386037" y="601345"/>
                  </a:lnTo>
                  <a:lnTo>
                    <a:pt x="2421020" y="566360"/>
                  </a:lnTo>
                  <a:lnTo>
                    <a:pt x="2456002" y="583852"/>
                  </a:lnTo>
                  <a:lnTo>
                    <a:pt x="2490985" y="566360"/>
                  </a:lnTo>
                  <a:lnTo>
                    <a:pt x="2529466" y="636331"/>
                  </a:lnTo>
                  <a:lnTo>
                    <a:pt x="2599431" y="688809"/>
                  </a:lnTo>
                  <a:lnTo>
                    <a:pt x="2669397" y="832248"/>
                  </a:lnTo>
                  <a:lnTo>
                    <a:pt x="2669397" y="902219"/>
                  </a:lnTo>
                  <a:lnTo>
                    <a:pt x="2581940" y="867234"/>
                  </a:lnTo>
                  <a:lnTo>
                    <a:pt x="2564449" y="937205"/>
                  </a:lnTo>
                  <a:lnTo>
                    <a:pt x="2508476" y="993181"/>
                  </a:lnTo>
                  <a:lnTo>
                    <a:pt x="2456002" y="993181"/>
                  </a:lnTo>
                  <a:lnTo>
                    <a:pt x="2529466" y="1010674"/>
                  </a:lnTo>
                  <a:lnTo>
                    <a:pt x="2564449" y="958196"/>
                  </a:lnTo>
                  <a:lnTo>
                    <a:pt x="2634414" y="1098137"/>
                  </a:lnTo>
                  <a:lnTo>
                    <a:pt x="2616923" y="975689"/>
                  </a:lnTo>
                  <a:lnTo>
                    <a:pt x="2651905" y="958196"/>
                  </a:lnTo>
                  <a:lnTo>
                    <a:pt x="2795334" y="1098137"/>
                  </a:lnTo>
                  <a:lnTo>
                    <a:pt x="2795334" y="1171606"/>
                  </a:lnTo>
                  <a:lnTo>
                    <a:pt x="2725369" y="1189099"/>
                  </a:lnTo>
                  <a:lnTo>
                    <a:pt x="2742860" y="1224084"/>
                  </a:lnTo>
                  <a:lnTo>
                    <a:pt x="2669397" y="1276562"/>
                  </a:lnTo>
                  <a:lnTo>
                    <a:pt x="2581940" y="1259070"/>
                  </a:lnTo>
                  <a:lnTo>
                    <a:pt x="2546957" y="1154114"/>
                  </a:lnTo>
                  <a:lnTo>
                    <a:pt x="2564449" y="1329040"/>
                  </a:lnTo>
                  <a:lnTo>
                    <a:pt x="2599431" y="1346533"/>
                  </a:lnTo>
                  <a:lnTo>
                    <a:pt x="2760351" y="1329040"/>
                  </a:lnTo>
                  <a:lnTo>
                    <a:pt x="2795334" y="1472480"/>
                  </a:lnTo>
                  <a:lnTo>
                    <a:pt x="2725369" y="1489973"/>
                  </a:lnTo>
                  <a:lnTo>
                    <a:pt x="2669397" y="1580935"/>
                  </a:lnTo>
                  <a:lnTo>
                    <a:pt x="2490985" y="1542451"/>
                  </a:lnTo>
                  <a:lnTo>
                    <a:pt x="2438511" y="1472480"/>
                  </a:lnTo>
                  <a:lnTo>
                    <a:pt x="2421020" y="1542451"/>
                  </a:lnTo>
                  <a:lnTo>
                    <a:pt x="2295082" y="1489973"/>
                  </a:lnTo>
                  <a:lnTo>
                    <a:pt x="2403528" y="1580935"/>
                  </a:lnTo>
                  <a:lnTo>
                    <a:pt x="2312574" y="1703384"/>
                  </a:lnTo>
                  <a:lnTo>
                    <a:pt x="2169145" y="1668398"/>
                  </a:lnTo>
                  <a:lnTo>
                    <a:pt x="2260100" y="1703384"/>
                  </a:lnTo>
                  <a:lnTo>
                    <a:pt x="2260100" y="1738369"/>
                  </a:lnTo>
                  <a:lnTo>
                    <a:pt x="2260098" y="1738370"/>
                  </a:lnTo>
                  <a:lnTo>
                    <a:pt x="2207626" y="1755862"/>
                  </a:lnTo>
                  <a:lnTo>
                    <a:pt x="2207626" y="1760571"/>
                  </a:lnTo>
                  <a:lnTo>
                    <a:pt x="2169145" y="1776853"/>
                  </a:lnTo>
                  <a:lnTo>
                    <a:pt x="2207626" y="1794345"/>
                  </a:lnTo>
                  <a:lnTo>
                    <a:pt x="2207626" y="1760571"/>
                  </a:lnTo>
                  <a:lnTo>
                    <a:pt x="2260098" y="1738370"/>
                  </a:lnTo>
                  <a:lnTo>
                    <a:pt x="2312574" y="1720876"/>
                  </a:lnTo>
                  <a:lnTo>
                    <a:pt x="2368546" y="1668398"/>
                  </a:lnTo>
                  <a:lnTo>
                    <a:pt x="2368546" y="1633413"/>
                  </a:lnTo>
                  <a:lnTo>
                    <a:pt x="2438511" y="1598428"/>
                  </a:lnTo>
                  <a:lnTo>
                    <a:pt x="2725369" y="1685891"/>
                  </a:lnTo>
                  <a:lnTo>
                    <a:pt x="2795334" y="1951780"/>
                  </a:lnTo>
                  <a:lnTo>
                    <a:pt x="2616923" y="1916794"/>
                  </a:lnTo>
                  <a:lnTo>
                    <a:pt x="2456002" y="1720876"/>
                  </a:lnTo>
                  <a:lnTo>
                    <a:pt x="2295082" y="1881809"/>
                  </a:lnTo>
                  <a:lnTo>
                    <a:pt x="2330065" y="1899302"/>
                  </a:lnTo>
                  <a:lnTo>
                    <a:pt x="2456002" y="1776853"/>
                  </a:lnTo>
                  <a:lnTo>
                    <a:pt x="2508476" y="1881809"/>
                  </a:lnTo>
                  <a:lnTo>
                    <a:pt x="2473494" y="1951780"/>
                  </a:lnTo>
                  <a:lnTo>
                    <a:pt x="2490985" y="1969272"/>
                  </a:lnTo>
                  <a:lnTo>
                    <a:pt x="2529466" y="1916794"/>
                  </a:lnTo>
                  <a:lnTo>
                    <a:pt x="2546957" y="1951780"/>
                  </a:lnTo>
                  <a:lnTo>
                    <a:pt x="2795334" y="2025249"/>
                  </a:lnTo>
                  <a:lnTo>
                    <a:pt x="2812826" y="2077727"/>
                  </a:lnTo>
                  <a:lnTo>
                    <a:pt x="2868798" y="2060234"/>
                  </a:lnTo>
                  <a:lnTo>
                    <a:pt x="2830317" y="2165190"/>
                  </a:lnTo>
                  <a:lnTo>
                    <a:pt x="2868798" y="2238659"/>
                  </a:lnTo>
                  <a:lnTo>
                    <a:pt x="2868798" y="2165190"/>
                  </a:lnTo>
                  <a:lnTo>
                    <a:pt x="2921272" y="2147698"/>
                  </a:lnTo>
                  <a:lnTo>
                    <a:pt x="3047209" y="2469563"/>
                  </a:lnTo>
                  <a:lnTo>
                    <a:pt x="2956254" y="2487055"/>
                  </a:lnTo>
                  <a:lnTo>
                    <a:pt x="2903780" y="2361108"/>
                  </a:lnTo>
                  <a:lnTo>
                    <a:pt x="2938763" y="2504548"/>
                  </a:lnTo>
                  <a:lnTo>
                    <a:pt x="2903780" y="2522041"/>
                  </a:lnTo>
                  <a:lnTo>
                    <a:pt x="2795334" y="2504548"/>
                  </a:lnTo>
                  <a:lnTo>
                    <a:pt x="2707877" y="2417085"/>
                  </a:lnTo>
                  <a:lnTo>
                    <a:pt x="2707877" y="2361108"/>
                  </a:lnTo>
                  <a:lnTo>
                    <a:pt x="2651905" y="2326123"/>
                  </a:lnTo>
                  <a:lnTo>
                    <a:pt x="2473494" y="2238659"/>
                  </a:lnTo>
                  <a:lnTo>
                    <a:pt x="2347556" y="2256152"/>
                  </a:lnTo>
                  <a:lnTo>
                    <a:pt x="2347556" y="2291137"/>
                  </a:lnTo>
                  <a:lnTo>
                    <a:pt x="2490985" y="2273645"/>
                  </a:lnTo>
                  <a:lnTo>
                    <a:pt x="2529466" y="2361108"/>
                  </a:lnTo>
                  <a:lnTo>
                    <a:pt x="2456002" y="2469563"/>
                  </a:lnTo>
                  <a:lnTo>
                    <a:pt x="2260100" y="2504548"/>
                  </a:lnTo>
                  <a:lnTo>
                    <a:pt x="2312574" y="2522041"/>
                  </a:lnTo>
                  <a:lnTo>
                    <a:pt x="2312574" y="2613003"/>
                  </a:lnTo>
                  <a:lnTo>
                    <a:pt x="2225117" y="2700466"/>
                  </a:lnTo>
                  <a:lnTo>
                    <a:pt x="2403528" y="2682974"/>
                  </a:lnTo>
                  <a:lnTo>
                    <a:pt x="2490985" y="2630495"/>
                  </a:lnTo>
                  <a:lnTo>
                    <a:pt x="2508476" y="2665481"/>
                  </a:lnTo>
                  <a:lnTo>
                    <a:pt x="2456002" y="2700466"/>
                  </a:lnTo>
                  <a:lnTo>
                    <a:pt x="2421020" y="2805422"/>
                  </a:lnTo>
                  <a:lnTo>
                    <a:pt x="2456002" y="2805422"/>
                  </a:lnTo>
                  <a:lnTo>
                    <a:pt x="2473494" y="2735452"/>
                  </a:lnTo>
                  <a:lnTo>
                    <a:pt x="2634414" y="2630495"/>
                  </a:lnTo>
                  <a:lnTo>
                    <a:pt x="2851306" y="2647988"/>
                  </a:lnTo>
                  <a:lnTo>
                    <a:pt x="3012227" y="2592012"/>
                  </a:lnTo>
                  <a:lnTo>
                    <a:pt x="3029718" y="2613003"/>
                  </a:lnTo>
                  <a:lnTo>
                    <a:pt x="2938763" y="2700466"/>
                  </a:lnTo>
                  <a:lnTo>
                    <a:pt x="2956254" y="2735452"/>
                  </a:lnTo>
                  <a:lnTo>
                    <a:pt x="2868798" y="2787930"/>
                  </a:lnTo>
                  <a:lnTo>
                    <a:pt x="2903780" y="2826413"/>
                  </a:lnTo>
                  <a:lnTo>
                    <a:pt x="2830317" y="2843906"/>
                  </a:lnTo>
                  <a:lnTo>
                    <a:pt x="2868798" y="2878891"/>
                  </a:lnTo>
                  <a:lnTo>
                    <a:pt x="2760351" y="2983848"/>
                  </a:lnTo>
                  <a:lnTo>
                    <a:pt x="2795334" y="3018833"/>
                  </a:lnTo>
                  <a:lnTo>
                    <a:pt x="2669397" y="3214751"/>
                  </a:lnTo>
                  <a:lnTo>
                    <a:pt x="2368546" y="3428161"/>
                  </a:lnTo>
                  <a:lnTo>
                    <a:pt x="2277591" y="3428161"/>
                  </a:lnTo>
                  <a:lnTo>
                    <a:pt x="2242608" y="3484138"/>
                  </a:lnTo>
                  <a:lnTo>
                    <a:pt x="2186636" y="3484138"/>
                  </a:lnTo>
                  <a:lnTo>
                    <a:pt x="2207626" y="3519123"/>
                  </a:lnTo>
                  <a:lnTo>
                    <a:pt x="2151654" y="3554109"/>
                  </a:lnTo>
                  <a:lnTo>
                    <a:pt x="1973242" y="3449153"/>
                  </a:lnTo>
                  <a:lnTo>
                    <a:pt x="2008225" y="3624079"/>
                  </a:lnTo>
                  <a:lnTo>
                    <a:pt x="1903277" y="3732534"/>
                  </a:lnTo>
                  <a:lnTo>
                    <a:pt x="1812322" y="4106877"/>
                  </a:lnTo>
                  <a:lnTo>
                    <a:pt x="1794830" y="4089385"/>
                  </a:lnTo>
                  <a:lnTo>
                    <a:pt x="1777339" y="4106877"/>
                  </a:lnTo>
                  <a:lnTo>
                    <a:pt x="1777339" y="4159355"/>
                  </a:lnTo>
                  <a:lnTo>
                    <a:pt x="1686384" y="4246819"/>
                  </a:lnTo>
                  <a:lnTo>
                    <a:pt x="1598928" y="4176848"/>
                  </a:lnTo>
                  <a:lnTo>
                    <a:pt x="1633910" y="4302795"/>
                  </a:lnTo>
                  <a:lnTo>
                    <a:pt x="1581436" y="4337781"/>
                  </a:lnTo>
                  <a:lnTo>
                    <a:pt x="1563945" y="4390259"/>
                  </a:lnTo>
                  <a:lnTo>
                    <a:pt x="1525464" y="4337781"/>
                  </a:lnTo>
                  <a:lnTo>
                    <a:pt x="1490481" y="4425244"/>
                  </a:lnTo>
                  <a:lnTo>
                    <a:pt x="1455499" y="4390259"/>
                  </a:lnTo>
                  <a:lnTo>
                    <a:pt x="1403025" y="4481221"/>
                  </a:lnTo>
                  <a:lnTo>
                    <a:pt x="1364544" y="4498713"/>
                  </a:lnTo>
                  <a:lnTo>
                    <a:pt x="1329561" y="4481221"/>
                  </a:lnTo>
                  <a:lnTo>
                    <a:pt x="1403025" y="4246819"/>
                  </a:lnTo>
                  <a:lnTo>
                    <a:pt x="1277087" y="4229326"/>
                  </a:lnTo>
                  <a:lnTo>
                    <a:pt x="1347052" y="4264311"/>
                  </a:lnTo>
                  <a:lnTo>
                    <a:pt x="1294578" y="4390259"/>
                  </a:lnTo>
                  <a:lnTo>
                    <a:pt x="1292768" y="4389052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>
            <a:spLocks/>
          </p:cNvSpPr>
          <p:nvPr/>
        </p:nvSpPr>
        <p:spPr>
          <a:xfrm>
            <a:off x="122886" y="1873852"/>
            <a:ext cx="156479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>
                <a:solidFill>
                  <a:srgbClr val="006EB6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2184038" y="4530107"/>
            <a:ext cx="335198" cy="493080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>
            <a:spLocks/>
          </p:cNvSpPr>
          <p:nvPr/>
        </p:nvSpPr>
        <p:spPr>
          <a:xfrm>
            <a:off x="1815239" y="5096732"/>
            <a:ext cx="105275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800">
                <a:solidFill>
                  <a:srgbClr val="006EB6"/>
                </a:solidFill>
              </a:rPr>
              <a:t>Faroe </a:t>
            </a:r>
            <a:br>
              <a:rPr lang="en-GB" sz="2800">
                <a:solidFill>
                  <a:srgbClr val="006EB6"/>
                </a:solidFill>
              </a:rPr>
            </a:br>
            <a:r>
              <a:rPr lang="en-GB" sz="2800">
                <a:solidFill>
                  <a:srgbClr val="006EB6"/>
                </a:solidFill>
              </a:rPr>
              <a:t>Islands</a:t>
            </a:r>
          </a:p>
        </p:txBody>
      </p:sp>
      <p:sp>
        <p:nvSpPr>
          <p:cNvPr id="48" name="Åland Islands Text"/>
          <p:cNvSpPr txBox="1">
            <a:spLocks/>
          </p:cNvSpPr>
          <p:nvPr/>
        </p:nvSpPr>
        <p:spPr>
          <a:xfrm>
            <a:off x="5726117" y="5071219"/>
            <a:ext cx="123008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800" noProof="1">
                <a:solidFill>
                  <a:srgbClr val="006EB6"/>
                </a:solidFill>
              </a:rPr>
              <a:t>Åland Islands</a:t>
            </a:r>
          </a:p>
        </p:txBody>
      </p:sp>
      <p:grpSp>
        <p:nvGrpSpPr>
          <p:cNvPr id="34" name="Group 2">
            <a:extLst>
              <a:ext uri="{FF2B5EF4-FFF2-40B4-BE49-F238E27FC236}">
                <a16:creationId xmlns:a16="http://schemas.microsoft.com/office/drawing/2014/main" xmlns="" id="{A9C42406-FEFA-4CEA-AD7A-D886B42D5A4A}"/>
              </a:ext>
            </a:extLst>
          </p:cNvPr>
          <p:cNvGrpSpPr>
            <a:grpSpLocks noChangeAspect="1"/>
          </p:cNvGrpSpPr>
          <p:nvPr/>
        </p:nvGrpSpPr>
        <p:grpSpPr>
          <a:xfrm>
            <a:off x="8074652" y="4360949"/>
            <a:ext cx="3866622" cy="2066962"/>
            <a:chOff x="376238" y="1816693"/>
            <a:chExt cx="8281393" cy="4426945"/>
          </a:xfrm>
          <a:solidFill>
            <a:schemeClr val="accent3"/>
          </a:solidFill>
        </p:grpSpPr>
        <p:sp>
          <p:nvSpPr>
            <p:cNvPr id="35" name="Freeform 217">
              <a:extLst>
                <a:ext uri="{FF2B5EF4-FFF2-40B4-BE49-F238E27FC236}">
                  <a16:creationId xmlns:a16="http://schemas.microsoft.com/office/drawing/2014/main" xmlns="" id="{6B1B36EB-BF1C-4A82-A31A-682217D40186}"/>
                </a:ext>
              </a:extLst>
            </p:cNvPr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gray">
            <a:xfrm>
              <a:off x="4816496" y="1901993"/>
              <a:ext cx="3841135" cy="1521623"/>
            </a:xfrm>
            <a:custGeom>
              <a:avLst/>
              <a:gdLst/>
              <a:ahLst/>
              <a:cxnLst>
                <a:cxn ang="0">
                  <a:pos x="2516" y="430"/>
                </a:cxn>
                <a:cxn ang="0">
                  <a:pos x="1988" y="308"/>
                </a:cxn>
                <a:cxn ang="0">
                  <a:pos x="1640" y="284"/>
                </a:cxn>
                <a:cxn ang="0">
                  <a:pos x="1402" y="186"/>
                </a:cxn>
                <a:cxn ang="0">
                  <a:pos x="934" y="250"/>
                </a:cxn>
                <a:cxn ang="0">
                  <a:pos x="822" y="336"/>
                </a:cxn>
                <a:cxn ang="0">
                  <a:pos x="724" y="312"/>
                </a:cxn>
                <a:cxn ang="0">
                  <a:pos x="382" y="424"/>
                </a:cxn>
                <a:cxn ang="0">
                  <a:pos x="238" y="446"/>
                </a:cxn>
                <a:cxn ang="0">
                  <a:pos x="180" y="528"/>
                </a:cxn>
                <a:cxn ang="0">
                  <a:pos x="272" y="830"/>
                </a:cxn>
                <a:cxn ang="0">
                  <a:pos x="418" y="888"/>
                </a:cxn>
                <a:cxn ang="0">
                  <a:pos x="702" y="730"/>
                </a:cxn>
                <a:cxn ang="0">
                  <a:pos x="1112" y="818"/>
                </a:cxn>
                <a:cxn ang="0">
                  <a:pos x="1628" y="830"/>
                </a:cxn>
                <a:cxn ang="0">
                  <a:pos x="1844" y="800"/>
                </a:cxn>
                <a:cxn ang="0">
                  <a:pos x="1988" y="614"/>
                </a:cxn>
                <a:cxn ang="0">
                  <a:pos x="2104" y="650"/>
                </a:cxn>
                <a:cxn ang="0">
                  <a:pos x="2198" y="604"/>
                </a:cxn>
                <a:cxn ang="0">
                  <a:pos x="2470" y="470"/>
                </a:cxn>
                <a:cxn ang="0">
                  <a:pos x="2412" y="312"/>
                </a:cxn>
                <a:cxn ang="0">
                  <a:pos x="1570" y="266"/>
                </a:cxn>
                <a:cxn ang="0">
                  <a:pos x="1664" y="290"/>
                </a:cxn>
                <a:cxn ang="0">
                  <a:pos x="0" y="736"/>
                </a:cxn>
                <a:cxn ang="0">
                  <a:pos x="1078" y="18"/>
                </a:cxn>
                <a:cxn ang="0">
                  <a:pos x="580" y="28"/>
                </a:cxn>
                <a:cxn ang="0">
                  <a:pos x="574" y="40"/>
                </a:cxn>
                <a:cxn ang="0">
                  <a:pos x="452" y="52"/>
                </a:cxn>
                <a:cxn ang="0">
                  <a:pos x="1154" y="156"/>
                </a:cxn>
                <a:cxn ang="0">
                  <a:pos x="1624" y="254"/>
                </a:cxn>
                <a:cxn ang="0">
                  <a:pos x="1624" y="290"/>
                </a:cxn>
                <a:cxn ang="0">
                  <a:pos x="306" y="488"/>
                </a:cxn>
                <a:cxn ang="0">
                  <a:pos x="574" y="18"/>
                </a:cxn>
                <a:cxn ang="0">
                  <a:pos x="1142" y="22"/>
                </a:cxn>
                <a:cxn ang="0">
                  <a:pos x="568" y="40"/>
                </a:cxn>
                <a:cxn ang="0">
                  <a:pos x="440" y="46"/>
                </a:cxn>
                <a:cxn ang="0">
                  <a:pos x="422" y="28"/>
                </a:cxn>
                <a:cxn ang="0">
                  <a:pos x="1112" y="70"/>
                </a:cxn>
                <a:cxn ang="0">
                  <a:pos x="1160" y="92"/>
                </a:cxn>
                <a:cxn ang="0">
                  <a:pos x="1096" y="76"/>
                </a:cxn>
                <a:cxn ang="0">
                  <a:pos x="1282" y="86"/>
                </a:cxn>
                <a:cxn ang="0">
                  <a:pos x="1166" y="144"/>
                </a:cxn>
                <a:cxn ang="0">
                  <a:pos x="718" y="180"/>
                </a:cxn>
                <a:cxn ang="0">
                  <a:pos x="574" y="238"/>
                </a:cxn>
                <a:cxn ang="0">
                  <a:pos x="550" y="220"/>
                </a:cxn>
                <a:cxn ang="0">
                  <a:pos x="1182" y="156"/>
                </a:cxn>
                <a:cxn ang="0">
                  <a:pos x="1166" y="180"/>
                </a:cxn>
                <a:cxn ang="0">
                  <a:pos x="1820" y="186"/>
                </a:cxn>
                <a:cxn ang="0">
                  <a:pos x="1860" y="214"/>
                </a:cxn>
                <a:cxn ang="0">
                  <a:pos x="1982" y="202"/>
                </a:cxn>
                <a:cxn ang="0">
                  <a:pos x="910" y="220"/>
                </a:cxn>
                <a:cxn ang="0">
                  <a:pos x="950" y="232"/>
                </a:cxn>
                <a:cxn ang="0">
                  <a:pos x="1634" y="250"/>
                </a:cxn>
                <a:cxn ang="0">
                  <a:pos x="510" y="266"/>
                </a:cxn>
                <a:cxn ang="0">
                  <a:pos x="562" y="330"/>
                </a:cxn>
                <a:cxn ang="0">
                  <a:pos x="880" y="284"/>
                </a:cxn>
                <a:cxn ang="0">
                  <a:pos x="2266" y="360"/>
                </a:cxn>
                <a:cxn ang="0">
                  <a:pos x="434" y="372"/>
                </a:cxn>
                <a:cxn ang="0">
                  <a:pos x="2186" y="638"/>
                </a:cxn>
                <a:cxn ang="0">
                  <a:pos x="1856" y="858"/>
                </a:cxn>
                <a:cxn ang="0">
                  <a:pos x="1878" y="818"/>
                </a:cxn>
                <a:cxn ang="0">
                  <a:pos x="2046" y="852"/>
                </a:cxn>
                <a:cxn ang="0">
                  <a:pos x="1908" y="968"/>
                </a:cxn>
              </a:cxnLst>
              <a:rect l="0" t="0" r="r" b="b"/>
              <a:pathLst>
                <a:path w="2590" h="1026">
                  <a:moveTo>
                    <a:pt x="812" y="760"/>
                  </a:moveTo>
                  <a:lnTo>
                    <a:pt x="818" y="760"/>
                  </a:lnTo>
                  <a:lnTo>
                    <a:pt x="822" y="754"/>
                  </a:lnTo>
                  <a:lnTo>
                    <a:pt x="812" y="754"/>
                  </a:lnTo>
                  <a:lnTo>
                    <a:pt x="812" y="760"/>
                  </a:lnTo>
                  <a:close/>
                  <a:moveTo>
                    <a:pt x="1802" y="748"/>
                  </a:moveTo>
                  <a:lnTo>
                    <a:pt x="1798" y="754"/>
                  </a:lnTo>
                  <a:lnTo>
                    <a:pt x="1802" y="754"/>
                  </a:lnTo>
                  <a:lnTo>
                    <a:pt x="1802" y="748"/>
                  </a:lnTo>
                  <a:close/>
                  <a:moveTo>
                    <a:pt x="260" y="940"/>
                  </a:moveTo>
                  <a:lnTo>
                    <a:pt x="260" y="946"/>
                  </a:lnTo>
                  <a:lnTo>
                    <a:pt x="266" y="946"/>
                  </a:lnTo>
                  <a:lnTo>
                    <a:pt x="266" y="940"/>
                  </a:lnTo>
                  <a:lnTo>
                    <a:pt x="260" y="940"/>
                  </a:lnTo>
                  <a:close/>
                  <a:moveTo>
                    <a:pt x="132" y="586"/>
                  </a:moveTo>
                  <a:lnTo>
                    <a:pt x="128" y="586"/>
                  </a:lnTo>
                  <a:lnTo>
                    <a:pt x="128" y="592"/>
                  </a:lnTo>
                  <a:lnTo>
                    <a:pt x="132" y="592"/>
                  </a:lnTo>
                  <a:lnTo>
                    <a:pt x="132" y="586"/>
                  </a:lnTo>
                  <a:close/>
                  <a:moveTo>
                    <a:pt x="528" y="830"/>
                  </a:moveTo>
                  <a:lnTo>
                    <a:pt x="532" y="824"/>
                  </a:lnTo>
                  <a:lnTo>
                    <a:pt x="528" y="824"/>
                  </a:lnTo>
                  <a:lnTo>
                    <a:pt x="528" y="830"/>
                  </a:lnTo>
                  <a:close/>
                  <a:moveTo>
                    <a:pt x="1664" y="296"/>
                  </a:moveTo>
                  <a:lnTo>
                    <a:pt x="1658" y="296"/>
                  </a:lnTo>
                  <a:lnTo>
                    <a:pt x="1658" y="302"/>
                  </a:lnTo>
                  <a:lnTo>
                    <a:pt x="1664" y="302"/>
                  </a:lnTo>
                  <a:lnTo>
                    <a:pt x="1664" y="296"/>
                  </a:lnTo>
                  <a:close/>
                  <a:moveTo>
                    <a:pt x="190" y="348"/>
                  </a:moveTo>
                  <a:lnTo>
                    <a:pt x="186" y="348"/>
                  </a:lnTo>
                  <a:lnTo>
                    <a:pt x="186" y="354"/>
                  </a:lnTo>
                  <a:lnTo>
                    <a:pt x="190" y="354"/>
                  </a:lnTo>
                  <a:lnTo>
                    <a:pt x="190" y="348"/>
                  </a:lnTo>
                  <a:close/>
                  <a:moveTo>
                    <a:pt x="2122" y="580"/>
                  </a:moveTo>
                  <a:lnTo>
                    <a:pt x="2122" y="586"/>
                  </a:lnTo>
                  <a:lnTo>
                    <a:pt x="2128" y="586"/>
                  </a:lnTo>
                  <a:lnTo>
                    <a:pt x="2128" y="580"/>
                  </a:lnTo>
                  <a:lnTo>
                    <a:pt x="2122" y="580"/>
                  </a:lnTo>
                  <a:close/>
                  <a:moveTo>
                    <a:pt x="1792" y="748"/>
                  </a:moveTo>
                  <a:lnTo>
                    <a:pt x="1780" y="748"/>
                  </a:lnTo>
                  <a:lnTo>
                    <a:pt x="1780" y="754"/>
                  </a:lnTo>
                  <a:lnTo>
                    <a:pt x="1792" y="754"/>
                  </a:lnTo>
                  <a:lnTo>
                    <a:pt x="1792" y="748"/>
                  </a:lnTo>
                  <a:close/>
                  <a:moveTo>
                    <a:pt x="638" y="760"/>
                  </a:moveTo>
                  <a:lnTo>
                    <a:pt x="638" y="754"/>
                  </a:lnTo>
                  <a:lnTo>
                    <a:pt x="632" y="754"/>
                  </a:lnTo>
                  <a:lnTo>
                    <a:pt x="632" y="760"/>
                  </a:lnTo>
                  <a:lnTo>
                    <a:pt x="638" y="760"/>
                  </a:lnTo>
                  <a:close/>
                  <a:moveTo>
                    <a:pt x="1002" y="232"/>
                  </a:moveTo>
                  <a:lnTo>
                    <a:pt x="1008" y="232"/>
                  </a:lnTo>
                  <a:lnTo>
                    <a:pt x="1008" y="226"/>
                  </a:lnTo>
                  <a:lnTo>
                    <a:pt x="1002" y="226"/>
                  </a:lnTo>
                  <a:lnTo>
                    <a:pt x="1002" y="232"/>
                  </a:lnTo>
                  <a:close/>
                  <a:moveTo>
                    <a:pt x="360" y="382"/>
                  </a:moveTo>
                  <a:lnTo>
                    <a:pt x="360" y="388"/>
                  </a:lnTo>
                  <a:lnTo>
                    <a:pt x="364" y="388"/>
                  </a:lnTo>
                  <a:lnTo>
                    <a:pt x="364" y="382"/>
                  </a:lnTo>
                  <a:lnTo>
                    <a:pt x="360" y="382"/>
                  </a:lnTo>
                  <a:close/>
                  <a:moveTo>
                    <a:pt x="1008" y="214"/>
                  </a:moveTo>
                  <a:lnTo>
                    <a:pt x="1008" y="220"/>
                  </a:lnTo>
                  <a:lnTo>
                    <a:pt x="1014" y="220"/>
                  </a:lnTo>
                  <a:lnTo>
                    <a:pt x="1014" y="214"/>
                  </a:lnTo>
                  <a:lnTo>
                    <a:pt x="1008" y="214"/>
                  </a:lnTo>
                  <a:close/>
                  <a:moveTo>
                    <a:pt x="2504" y="418"/>
                  </a:moveTo>
                  <a:lnTo>
                    <a:pt x="2504" y="424"/>
                  </a:lnTo>
                  <a:lnTo>
                    <a:pt x="2510" y="424"/>
                  </a:lnTo>
                  <a:lnTo>
                    <a:pt x="2504" y="418"/>
                  </a:lnTo>
                  <a:close/>
                  <a:moveTo>
                    <a:pt x="2568" y="440"/>
                  </a:moveTo>
                  <a:lnTo>
                    <a:pt x="2562" y="440"/>
                  </a:lnTo>
                  <a:lnTo>
                    <a:pt x="2562" y="434"/>
                  </a:lnTo>
                  <a:lnTo>
                    <a:pt x="2550" y="434"/>
                  </a:lnTo>
                  <a:lnTo>
                    <a:pt x="2550" y="430"/>
                  </a:lnTo>
                  <a:lnTo>
                    <a:pt x="2546" y="430"/>
                  </a:lnTo>
                  <a:lnTo>
                    <a:pt x="2540" y="434"/>
                  </a:lnTo>
                  <a:lnTo>
                    <a:pt x="2528" y="434"/>
                  </a:lnTo>
                  <a:lnTo>
                    <a:pt x="2528" y="424"/>
                  </a:lnTo>
                  <a:lnTo>
                    <a:pt x="2510" y="424"/>
                  </a:lnTo>
                  <a:lnTo>
                    <a:pt x="2510" y="430"/>
                  </a:lnTo>
                  <a:lnTo>
                    <a:pt x="2516" y="430"/>
                  </a:lnTo>
                  <a:lnTo>
                    <a:pt x="2522" y="434"/>
                  </a:lnTo>
                  <a:lnTo>
                    <a:pt x="2516" y="434"/>
                  </a:lnTo>
                  <a:lnTo>
                    <a:pt x="2516" y="446"/>
                  </a:lnTo>
                  <a:lnTo>
                    <a:pt x="2510" y="446"/>
                  </a:lnTo>
                  <a:lnTo>
                    <a:pt x="2510" y="440"/>
                  </a:lnTo>
                  <a:lnTo>
                    <a:pt x="2504" y="440"/>
                  </a:lnTo>
                  <a:lnTo>
                    <a:pt x="2504" y="434"/>
                  </a:lnTo>
                  <a:lnTo>
                    <a:pt x="2510" y="434"/>
                  </a:lnTo>
                  <a:lnTo>
                    <a:pt x="2510" y="430"/>
                  </a:lnTo>
                  <a:lnTo>
                    <a:pt x="2504" y="430"/>
                  </a:lnTo>
                  <a:lnTo>
                    <a:pt x="2504" y="424"/>
                  </a:lnTo>
                  <a:lnTo>
                    <a:pt x="2498" y="424"/>
                  </a:lnTo>
                  <a:lnTo>
                    <a:pt x="2498" y="412"/>
                  </a:lnTo>
                  <a:lnTo>
                    <a:pt x="2488" y="406"/>
                  </a:lnTo>
                  <a:lnTo>
                    <a:pt x="2482" y="406"/>
                  </a:lnTo>
                  <a:lnTo>
                    <a:pt x="2482" y="400"/>
                  </a:lnTo>
                  <a:lnTo>
                    <a:pt x="2470" y="400"/>
                  </a:lnTo>
                  <a:lnTo>
                    <a:pt x="2470" y="394"/>
                  </a:lnTo>
                  <a:lnTo>
                    <a:pt x="2458" y="394"/>
                  </a:lnTo>
                  <a:lnTo>
                    <a:pt x="2458" y="388"/>
                  </a:lnTo>
                  <a:lnTo>
                    <a:pt x="2446" y="388"/>
                  </a:lnTo>
                  <a:lnTo>
                    <a:pt x="2446" y="382"/>
                  </a:lnTo>
                  <a:lnTo>
                    <a:pt x="2434" y="382"/>
                  </a:lnTo>
                  <a:lnTo>
                    <a:pt x="2434" y="376"/>
                  </a:lnTo>
                  <a:lnTo>
                    <a:pt x="2430" y="376"/>
                  </a:lnTo>
                  <a:lnTo>
                    <a:pt x="2424" y="372"/>
                  </a:lnTo>
                  <a:lnTo>
                    <a:pt x="2418" y="372"/>
                  </a:lnTo>
                  <a:lnTo>
                    <a:pt x="2412" y="366"/>
                  </a:lnTo>
                  <a:lnTo>
                    <a:pt x="2412" y="372"/>
                  </a:lnTo>
                  <a:lnTo>
                    <a:pt x="2406" y="372"/>
                  </a:lnTo>
                  <a:lnTo>
                    <a:pt x="2406" y="366"/>
                  </a:lnTo>
                  <a:lnTo>
                    <a:pt x="2400" y="366"/>
                  </a:lnTo>
                  <a:lnTo>
                    <a:pt x="2394" y="360"/>
                  </a:lnTo>
                  <a:lnTo>
                    <a:pt x="2372" y="360"/>
                  </a:lnTo>
                  <a:lnTo>
                    <a:pt x="2372" y="354"/>
                  </a:lnTo>
                  <a:lnTo>
                    <a:pt x="2330" y="354"/>
                  </a:lnTo>
                  <a:lnTo>
                    <a:pt x="2330" y="348"/>
                  </a:lnTo>
                  <a:lnTo>
                    <a:pt x="2324" y="348"/>
                  </a:lnTo>
                  <a:lnTo>
                    <a:pt x="2324" y="354"/>
                  </a:lnTo>
                  <a:lnTo>
                    <a:pt x="2318" y="354"/>
                  </a:lnTo>
                  <a:lnTo>
                    <a:pt x="2318" y="348"/>
                  </a:lnTo>
                  <a:lnTo>
                    <a:pt x="2296" y="348"/>
                  </a:lnTo>
                  <a:lnTo>
                    <a:pt x="2296" y="342"/>
                  </a:lnTo>
                  <a:lnTo>
                    <a:pt x="2284" y="342"/>
                  </a:lnTo>
                  <a:lnTo>
                    <a:pt x="2284" y="360"/>
                  </a:lnTo>
                  <a:lnTo>
                    <a:pt x="2290" y="360"/>
                  </a:lnTo>
                  <a:lnTo>
                    <a:pt x="2290" y="376"/>
                  </a:lnTo>
                  <a:lnTo>
                    <a:pt x="2284" y="376"/>
                  </a:lnTo>
                  <a:lnTo>
                    <a:pt x="2284" y="382"/>
                  </a:lnTo>
                  <a:lnTo>
                    <a:pt x="2266" y="382"/>
                  </a:lnTo>
                  <a:lnTo>
                    <a:pt x="2266" y="372"/>
                  </a:lnTo>
                  <a:lnTo>
                    <a:pt x="2250" y="372"/>
                  </a:lnTo>
                  <a:lnTo>
                    <a:pt x="2250" y="360"/>
                  </a:lnTo>
                  <a:lnTo>
                    <a:pt x="2150" y="360"/>
                  </a:lnTo>
                  <a:lnTo>
                    <a:pt x="2150" y="382"/>
                  </a:lnTo>
                  <a:lnTo>
                    <a:pt x="2146" y="382"/>
                  </a:lnTo>
                  <a:lnTo>
                    <a:pt x="2146" y="388"/>
                  </a:lnTo>
                  <a:lnTo>
                    <a:pt x="2140" y="388"/>
                  </a:lnTo>
                  <a:lnTo>
                    <a:pt x="2146" y="382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60"/>
                  </a:lnTo>
                  <a:lnTo>
                    <a:pt x="2128" y="360"/>
                  </a:lnTo>
                  <a:lnTo>
                    <a:pt x="2122" y="354"/>
                  </a:lnTo>
                  <a:lnTo>
                    <a:pt x="2122" y="348"/>
                  </a:lnTo>
                  <a:lnTo>
                    <a:pt x="2128" y="342"/>
                  </a:lnTo>
                  <a:lnTo>
                    <a:pt x="2128" y="330"/>
                  </a:lnTo>
                  <a:lnTo>
                    <a:pt x="2116" y="330"/>
                  </a:lnTo>
                  <a:lnTo>
                    <a:pt x="2110" y="324"/>
                  </a:lnTo>
                  <a:lnTo>
                    <a:pt x="2104" y="324"/>
                  </a:lnTo>
                  <a:lnTo>
                    <a:pt x="2098" y="318"/>
                  </a:lnTo>
                  <a:lnTo>
                    <a:pt x="2034" y="318"/>
                  </a:lnTo>
                  <a:lnTo>
                    <a:pt x="2034" y="324"/>
                  </a:lnTo>
                  <a:lnTo>
                    <a:pt x="2006" y="324"/>
                  </a:lnTo>
                  <a:lnTo>
                    <a:pt x="2006" y="318"/>
                  </a:lnTo>
                  <a:lnTo>
                    <a:pt x="2000" y="318"/>
                  </a:lnTo>
                  <a:lnTo>
                    <a:pt x="2000" y="312"/>
                  </a:lnTo>
                  <a:lnTo>
                    <a:pt x="1994" y="312"/>
                  </a:lnTo>
                  <a:lnTo>
                    <a:pt x="1988" y="308"/>
                  </a:lnTo>
                  <a:lnTo>
                    <a:pt x="1982" y="312"/>
                  </a:lnTo>
                  <a:lnTo>
                    <a:pt x="1982" y="308"/>
                  </a:lnTo>
                  <a:lnTo>
                    <a:pt x="1966" y="308"/>
                  </a:lnTo>
                  <a:lnTo>
                    <a:pt x="1966" y="302"/>
                  </a:lnTo>
                  <a:lnTo>
                    <a:pt x="1960" y="302"/>
                  </a:lnTo>
                  <a:lnTo>
                    <a:pt x="1960" y="296"/>
                  </a:lnTo>
                  <a:lnTo>
                    <a:pt x="1966" y="296"/>
                  </a:lnTo>
                  <a:lnTo>
                    <a:pt x="1972" y="302"/>
                  </a:lnTo>
                  <a:lnTo>
                    <a:pt x="1972" y="290"/>
                  </a:lnTo>
                  <a:lnTo>
                    <a:pt x="1960" y="290"/>
                  </a:lnTo>
                  <a:lnTo>
                    <a:pt x="1960" y="284"/>
                  </a:lnTo>
                  <a:lnTo>
                    <a:pt x="1930" y="284"/>
                  </a:lnTo>
                  <a:lnTo>
                    <a:pt x="1924" y="290"/>
                  </a:lnTo>
                  <a:lnTo>
                    <a:pt x="1914" y="302"/>
                  </a:lnTo>
                  <a:lnTo>
                    <a:pt x="1908" y="302"/>
                  </a:lnTo>
                  <a:lnTo>
                    <a:pt x="1902" y="308"/>
                  </a:lnTo>
                  <a:lnTo>
                    <a:pt x="1902" y="302"/>
                  </a:lnTo>
                  <a:lnTo>
                    <a:pt x="1896" y="302"/>
                  </a:lnTo>
                  <a:lnTo>
                    <a:pt x="1902" y="296"/>
                  </a:lnTo>
                  <a:lnTo>
                    <a:pt x="1908" y="296"/>
                  </a:lnTo>
                  <a:lnTo>
                    <a:pt x="1908" y="290"/>
                  </a:lnTo>
                  <a:lnTo>
                    <a:pt x="1924" y="290"/>
                  </a:lnTo>
                  <a:lnTo>
                    <a:pt x="1924" y="284"/>
                  </a:lnTo>
                  <a:lnTo>
                    <a:pt x="1918" y="278"/>
                  </a:lnTo>
                  <a:lnTo>
                    <a:pt x="1902" y="278"/>
                  </a:lnTo>
                  <a:lnTo>
                    <a:pt x="1902" y="284"/>
                  </a:lnTo>
                  <a:lnTo>
                    <a:pt x="1896" y="284"/>
                  </a:lnTo>
                  <a:lnTo>
                    <a:pt x="1896" y="290"/>
                  </a:lnTo>
                  <a:lnTo>
                    <a:pt x="1890" y="290"/>
                  </a:lnTo>
                  <a:lnTo>
                    <a:pt x="1884" y="290"/>
                  </a:lnTo>
                  <a:lnTo>
                    <a:pt x="1884" y="284"/>
                  </a:lnTo>
                  <a:lnTo>
                    <a:pt x="1890" y="284"/>
                  </a:lnTo>
                  <a:lnTo>
                    <a:pt x="1890" y="290"/>
                  </a:lnTo>
                  <a:lnTo>
                    <a:pt x="1896" y="284"/>
                  </a:lnTo>
                  <a:lnTo>
                    <a:pt x="1896" y="278"/>
                  </a:lnTo>
                  <a:lnTo>
                    <a:pt x="1884" y="278"/>
                  </a:lnTo>
                  <a:lnTo>
                    <a:pt x="1878" y="272"/>
                  </a:lnTo>
                  <a:lnTo>
                    <a:pt x="1844" y="272"/>
                  </a:lnTo>
                  <a:lnTo>
                    <a:pt x="1844" y="266"/>
                  </a:lnTo>
                  <a:lnTo>
                    <a:pt x="1832" y="266"/>
                  </a:lnTo>
                  <a:lnTo>
                    <a:pt x="1832" y="272"/>
                  </a:lnTo>
                  <a:lnTo>
                    <a:pt x="1838" y="272"/>
                  </a:lnTo>
                  <a:lnTo>
                    <a:pt x="1838" y="278"/>
                  </a:lnTo>
                  <a:lnTo>
                    <a:pt x="1814" y="278"/>
                  </a:lnTo>
                  <a:lnTo>
                    <a:pt x="1808" y="284"/>
                  </a:lnTo>
                  <a:lnTo>
                    <a:pt x="1808" y="290"/>
                  </a:lnTo>
                  <a:lnTo>
                    <a:pt x="1814" y="290"/>
                  </a:lnTo>
                  <a:lnTo>
                    <a:pt x="1820" y="284"/>
                  </a:lnTo>
                  <a:lnTo>
                    <a:pt x="1826" y="290"/>
                  </a:lnTo>
                  <a:lnTo>
                    <a:pt x="1820" y="290"/>
                  </a:lnTo>
                  <a:lnTo>
                    <a:pt x="1820" y="308"/>
                  </a:lnTo>
                  <a:lnTo>
                    <a:pt x="1792" y="308"/>
                  </a:lnTo>
                  <a:lnTo>
                    <a:pt x="1792" y="318"/>
                  </a:lnTo>
                  <a:lnTo>
                    <a:pt x="1786" y="312"/>
                  </a:lnTo>
                  <a:lnTo>
                    <a:pt x="1780" y="308"/>
                  </a:lnTo>
                  <a:lnTo>
                    <a:pt x="1740" y="308"/>
                  </a:lnTo>
                  <a:lnTo>
                    <a:pt x="1740" y="312"/>
                  </a:lnTo>
                  <a:lnTo>
                    <a:pt x="1734" y="308"/>
                  </a:lnTo>
                  <a:lnTo>
                    <a:pt x="1716" y="308"/>
                  </a:lnTo>
                  <a:lnTo>
                    <a:pt x="1716" y="296"/>
                  </a:lnTo>
                  <a:lnTo>
                    <a:pt x="1710" y="296"/>
                  </a:lnTo>
                  <a:lnTo>
                    <a:pt x="1704" y="302"/>
                  </a:lnTo>
                  <a:lnTo>
                    <a:pt x="1704" y="318"/>
                  </a:lnTo>
                  <a:lnTo>
                    <a:pt x="1698" y="318"/>
                  </a:lnTo>
                  <a:lnTo>
                    <a:pt x="1692" y="324"/>
                  </a:lnTo>
                  <a:lnTo>
                    <a:pt x="1686" y="330"/>
                  </a:lnTo>
                  <a:lnTo>
                    <a:pt x="1686" y="324"/>
                  </a:lnTo>
                  <a:lnTo>
                    <a:pt x="1682" y="318"/>
                  </a:lnTo>
                  <a:lnTo>
                    <a:pt x="1682" y="324"/>
                  </a:lnTo>
                  <a:lnTo>
                    <a:pt x="1676" y="324"/>
                  </a:lnTo>
                  <a:lnTo>
                    <a:pt x="1676" y="318"/>
                  </a:lnTo>
                  <a:lnTo>
                    <a:pt x="1664" y="318"/>
                  </a:lnTo>
                  <a:lnTo>
                    <a:pt x="1664" y="308"/>
                  </a:lnTo>
                  <a:lnTo>
                    <a:pt x="1652" y="308"/>
                  </a:lnTo>
                  <a:lnTo>
                    <a:pt x="1652" y="296"/>
                  </a:lnTo>
                  <a:lnTo>
                    <a:pt x="1646" y="296"/>
                  </a:lnTo>
                  <a:lnTo>
                    <a:pt x="1646" y="290"/>
                  </a:lnTo>
                  <a:lnTo>
                    <a:pt x="1640" y="290"/>
                  </a:lnTo>
                  <a:lnTo>
                    <a:pt x="1640" y="284"/>
                  </a:lnTo>
                  <a:lnTo>
                    <a:pt x="1628" y="284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90"/>
                  </a:lnTo>
                  <a:lnTo>
                    <a:pt x="1618" y="284"/>
                  </a:lnTo>
                  <a:lnTo>
                    <a:pt x="1600" y="284"/>
                  </a:lnTo>
                  <a:lnTo>
                    <a:pt x="1600" y="278"/>
                  </a:lnTo>
                  <a:lnTo>
                    <a:pt x="1588" y="278"/>
                  </a:lnTo>
                  <a:lnTo>
                    <a:pt x="1582" y="272"/>
                  </a:lnTo>
                  <a:lnTo>
                    <a:pt x="1560" y="272"/>
                  </a:lnTo>
                  <a:lnTo>
                    <a:pt x="1560" y="266"/>
                  </a:lnTo>
                  <a:lnTo>
                    <a:pt x="1512" y="266"/>
                  </a:lnTo>
                  <a:lnTo>
                    <a:pt x="1508" y="260"/>
                  </a:lnTo>
                  <a:lnTo>
                    <a:pt x="1502" y="260"/>
                  </a:lnTo>
                  <a:lnTo>
                    <a:pt x="1496" y="254"/>
                  </a:lnTo>
                  <a:lnTo>
                    <a:pt x="1508" y="254"/>
                  </a:lnTo>
                  <a:lnTo>
                    <a:pt x="1502" y="250"/>
                  </a:lnTo>
                  <a:lnTo>
                    <a:pt x="1472" y="250"/>
                  </a:lnTo>
                  <a:lnTo>
                    <a:pt x="1472" y="244"/>
                  </a:lnTo>
                  <a:lnTo>
                    <a:pt x="1444" y="244"/>
                  </a:lnTo>
                  <a:lnTo>
                    <a:pt x="1444" y="250"/>
                  </a:lnTo>
                  <a:lnTo>
                    <a:pt x="1420" y="250"/>
                  </a:lnTo>
                  <a:lnTo>
                    <a:pt x="1420" y="254"/>
                  </a:lnTo>
                  <a:lnTo>
                    <a:pt x="1414" y="254"/>
                  </a:lnTo>
                  <a:lnTo>
                    <a:pt x="1420" y="250"/>
                  </a:lnTo>
                  <a:lnTo>
                    <a:pt x="1420" y="244"/>
                  </a:lnTo>
                  <a:lnTo>
                    <a:pt x="1386" y="244"/>
                  </a:lnTo>
                  <a:lnTo>
                    <a:pt x="1380" y="238"/>
                  </a:lnTo>
                  <a:lnTo>
                    <a:pt x="1368" y="238"/>
                  </a:lnTo>
                  <a:lnTo>
                    <a:pt x="1368" y="244"/>
                  </a:lnTo>
                  <a:lnTo>
                    <a:pt x="1374" y="244"/>
                  </a:lnTo>
                  <a:lnTo>
                    <a:pt x="1374" y="250"/>
                  </a:lnTo>
                  <a:lnTo>
                    <a:pt x="1368" y="250"/>
                  </a:lnTo>
                  <a:lnTo>
                    <a:pt x="1368" y="254"/>
                  </a:lnTo>
                  <a:lnTo>
                    <a:pt x="1340" y="254"/>
                  </a:lnTo>
                  <a:lnTo>
                    <a:pt x="1340" y="260"/>
                  </a:lnTo>
                  <a:lnTo>
                    <a:pt x="1310" y="260"/>
                  </a:lnTo>
                  <a:lnTo>
                    <a:pt x="1310" y="266"/>
                  </a:lnTo>
                  <a:lnTo>
                    <a:pt x="1304" y="266"/>
                  </a:lnTo>
                  <a:lnTo>
                    <a:pt x="1298" y="272"/>
                  </a:lnTo>
                  <a:lnTo>
                    <a:pt x="1292" y="272"/>
                  </a:lnTo>
                  <a:lnTo>
                    <a:pt x="1298" y="266"/>
                  </a:lnTo>
                  <a:lnTo>
                    <a:pt x="1304" y="266"/>
                  </a:lnTo>
                  <a:lnTo>
                    <a:pt x="1304" y="254"/>
                  </a:lnTo>
                  <a:lnTo>
                    <a:pt x="1322" y="254"/>
                  </a:lnTo>
                  <a:lnTo>
                    <a:pt x="1328" y="250"/>
                  </a:lnTo>
                  <a:lnTo>
                    <a:pt x="1334" y="250"/>
                  </a:lnTo>
                  <a:lnTo>
                    <a:pt x="1340" y="244"/>
                  </a:lnTo>
                  <a:lnTo>
                    <a:pt x="1350" y="244"/>
                  </a:lnTo>
                  <a:lnTo>
                    <a:pt x="1350" y="238"/>
                  </a:lnTo>
                  <a:lnTo>
                    <a:pt x="1356" y="238"/>
                  </a:lnTo>
                  <a:lnTo>
                    <a:pt x="1356" y="232"/>
                  </a:lnTo>
                  <a:lnTo>
                    <a:pt x="1368" y="232"/>
                  </a:lnTo>
                  <a:lnTo>
                    <a:pt x="1368" y="226"/>
                  </a:lnTo>
                  <a:lnTo>
                    <a:pt x="1380" y="226"/>
                  </a:lnTo>
                  <a:lnTo>
                    <a:pt x="1380" y="220"/>
                  </a:lnTo>
                  <a:lnTo>
                    <a:pt x="1386" y="220"/>
                  </a:lnTo>
                  <a:lnTo>
                    <a:pt x="1386" y="214"/>
                  </a:lnTo>
                  <a:lnTo>
                    <a:pt x="1402" y="214"/>
                  </a:lnTo>
                  <a:lnTo>
                    <a:pt x="1402" y="208"/>
                  </a:lnTo>
                  <a:lnTo>
                    <a:pt x="1408" y="208"/>
                  </a:lnTo>
                  <a:lnTo>
                    <a:pt x="1414" y="202"/>
                  </a:lnTo>
                  <a:lnTo>
                    <a:pt x="1420" y="202"/>
                  </a:lnTo>
                  <a:lnTo>
                    <a:pt x="1420" y="196"/>
                  </a:lnTo>
                  <a:lnTo>
                    <a:pt x="1426" y="196"/>
                  </a:lnTo>
                  <a:lnTo>
                    <a:pt x="1420" y="192"/>
                  </a:lnTo>
                  <a:lnTo>
                    <a:pt x="1426" y="192"/>
                  </a:lnTo>
                  <a:lnTo>
                    <a:pt x="1426" y="180"/>
                  </a:lnTo>
                  <a:lnTo>
                    <a:pt x="1420" y="180"/>
                  </a:lnTo>
                  <a:lnTo>
                    <a:pt x="1420" y="168"/>
                  </a:lnTo>
                  <a:lnTo>
                    <a:pt x="1414" y="174"/>
                  </a:lnTo>
                  <a:lnTo>
                    <a:pt x="1414" y="180"/>
                  </a:lnTo>
                  <a:lnTo>
                    <a:pt x="1408" y="180"/>
                  </a:lnTo>
                  <a:lnTo>
                    <a:pt x="1408" y="186"/>
                  </a:lnTo>
                  <a:lnTo>
                    <a:pt x="1414" y="186"/>
                  </a:lnTo>
                  <a:lnTo>
                    <a:pt x="1414" y="192"/>
                  </a:lnTo>
                  <a:lnTo>
                    <a:pt x="1408" y="192"/>
                  </a:lnTo>
                  <a:lnTo>
                    <a:pt x="1408" y="186"/>
                  </a:lnTo>
                  <a:lnTo>
                    <a:pt x="1402" y="186"/>
                  </a:lnTo>
                  <a:lnTo>
                    <a:pt x="1402" y="180"/>
                  </a:lnTo>
                  <a:lnTo>
                    <a:pt x="1408" y="180"/>
                  </a:lnTo>
                  <a:lnTo>
                    <a:pt x="1408" y="168"/>
                  </a:lnTo>
                  <a:lnTo>
                    <a:pt x="1402" y="162"/>
                  </a:lnTo>
                  <a:lnTo>
                    <a:pt x="1392" y="162"/>
                  </a:lnTo>
                  <a:lnTo>
                    <a:pt x="1392" y="156"/>
                  </a:lnTo>
                  <a:lnTo>
                    <a:pt x="1340" y="156"/>
                  </a:lnTo>
                  <a:lnTo>
                    <a:pt x="1340" y="162"/>
                  </a:lnTo>
                  <a:lnTo>
                    <a:pt x="1322" y="162"/>
                  </a:lnTo>
                  <a:lnTo>
                    <a:pt x="1322" y="150"/>
                  </a:lnTo>
                  <a:lnTo>
                    <a:pt x="1304" y="150"/>
                  </a:lnTo>
                  <a:lnTo>
                    <a:pt x="1304" y="144"/>
                  </a:lnTo>
                  <a:lnTo>
                    <a:pt x="1292" y="144"/>
                  </a:lnTo>
                  <a:lnTo>
                    <a:pt x="1292" y="138"/>
                  </a:lnTo>
                  <a:lnTo>
                    <a:pt x="1304" y="138"/>
                  </a:lnTo>
                  <a:lnTo>
                    <a:pt x="1304" y="134"/>
                  </a:lnTo>
                  <a:lnTo>
                    <a:pt x="1292" y="134"/>
                  </a:lnTo>
                  <a:lnTo>
                    <a:pt x="1292" y="128"/>
                  </a:lnTo>
                  <a:lnTo>
                    <a:pt x="1264" y="128"/>
                  </a:lnTo>
                  <a:lnTo>
                    <a:pt x="1264" y="134"/>
                  </a:lnTo>
                  <a:lnTo>
                    <a:pt x="1252" y="134"/>
                  </a:lnTo>
                  <a:lnTo>
                    <a:pt x="1252" y="138"/>
                  </a:lnTo>
                  <a:lnTo>
                    <a:pt x="1246" y="138"/>
                  </a:lnTo>
                  <a:lnTo>
                    <a:pt x="1240" y="144"/>
                  </a:lnTo>
                  <a:lnTo>
                    <a:pt x="1234" y="144"/>
                  </a:lnTo>
                  <a:lnTo>
                    <a:pt x="1234" y="150"/>
                  </a:lnTo>
                  <a:lnTo>
                    <a:pt x="1228" y="150"/>
                  </a:lnTo>
                  <a:lnTo>
                    <a:pt x="1228" y="156"/>
                  </a:lnTo>
                  <a:lnTo>
                    <a:pt x="1234" y="156"/>
                  </a:lnTo>
                  <a:lnTo>
                    <a:pt x="1234" y="162"/>
                  </a:lnTo>
                  <a:lnTo>
                    <a:pt x="1200" y="162"/>
                  </a:lnTo>
                  <a:lnTo>
                    <a:pt x="1200" y="168"/>
                  </a:lnTo>
                  <a:lnTo>
                    <a:pt x="1212" y="168"/>
                  </a:lnTo>
                  <a:lnTo>
                    <a:pt x="1212" y="174"/>
                  </a:lnTo>
                  <a:lnTo>
                    <a:pt x="1218" y="174"/>
                  </a:lnTo>
                  <a:lnTo>
                    <a:pt x="1218" y="180"/>
                  </a:lnTo>
                  <a:lnTo>
                    <a:pt x="1212" y="186"/>
                  </a:lnTo>
                  <a:lnTo>
                    <a:pt x="1212" y="174"/>
                  </a:lnTo>
                  <a:lnTo>
                    <a:pt x="1200" y="174"/>
                  </a:lnTo>
                  <a:lnTo>
                    <a:pt x="1200" y="168"/>
                  </a:lnTo>
                  <a:lnTo>
                    <a:pt x="1194" y="174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60" y="180"/>
                  </a:lnTo>
                  <a:lnTo>
                    <a:pt x="1154" y="174"/>
                  </a:lnTo>
                  <a:lnTo>
                    <a:pt x="1136" y="174"/>
                  </a:lnTo>
                  <a:lnTo>
                    <a:pt x="1142" y="180"/>
                  </a:lnTo>
                  <a:lnTo>
                    <a:pt x="1130" y="180"/>
                  </a:lnTo>
                  <a:lnTo>
                    <a:pt x="1124" y="174"/>
                  </a:lnTo>
                  <a:lnTo>
                    <a:pt x="1118" y="174"/>
                  </a:lnTo>
                  <a:lnTo>
                    <a:pt x="1118" y="186"/>
                  </a:lnTo>
                  <a:lnTo>
                    <a:pt x="1090" y="186"/>
                  </a:lnTo>
                  <a:lnTo>
                    <a:pt x="1090" y="192"/>
                  </a:lnTo>
                  <a:lnTo>
                    <a:pt x="1060" y="192"/>
                  </a:lnTo>
                  <a:lnTo>
                    <a:pt x="1054" y="196"/>
                  </a:lnTo>
                  <a:lnTo>
                    <a:pt x="1054" y="192"/>
                  </a:lnTo>
                  <a:lnTo>
                    <a:pt x="1050" y="192"/>
                  </a:lnTo>
                  <a:lnTo>
                    <a:pt x="1050" y="196"/>
                  </a:lnTo>
                  <a:lnTo>
                    <a:pt x="1044" y="196"/>
                  </a:lnTo>
                  <a:lnTo>
                    <a:pt x="1038" y="202"/>
                  </a:lnTo>
                  <a:lnTo>
                    <a:pt x="1032" y="202"/>
                  </a:lnTo>
                  <a:lnTo>
                    <a:pt x="1032" y="208"/>
                  </a:lnTo>
                  <a:lnTo>
                    <a:pt x="1026" y="208"/>
                  </a:lnTo>
                  <a:lnTo>
                    <a:pt x="1026" y="214"/>
                  </a:lnTo>
                  <a:lnTo>
                    <a:pt x="1020" y="214"/>
                  </a:lnTo>
                  <a:lnTo>
                    <a:pt x="1020" y="220"/>
                  </a:lnTo>
                  <a:lnTo>
                    <a:pt x="1014" y="220"/>
                  </a:lnTo>
                  <a:lnTo>
                    <a:pt x="1014" y="226"/>
                  </a:lnTo>
                  <a:lnTo>
                    <a:pt x="1008" y="226"/>
                  </a:lnTo>
                  <a:lnTo>
                    <a:pt x="1014" y="232"/>
                  </a:lnTo>
                  <a:lnTo>
                    <a:pt x="1020" y="226"/>
                  </a:lnTo>
                  <a:lnTo>
                    <a:pt x="1026" y="226"/>
                  </a:lnTo>
                  <a:lnTo>
                    <a:pt x="1020" y="232"/>
                  </a:lnTo>
                  <a:lnTo>
                    <a:pt x="1026" y="232"/>
                  </a:lnTo>
                  <a:lnTo>
                    <a:pt x="1026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938" y="244"/>
                  </a:lnTo>
                  <a:lnTo>
                    <a:pt x="934" y="250"/>
                  </a:lnTo>
                  <a:lnTo>
                    <a:pt x="922" y="250"/>
                  </a:lnTo>
                  <a:lnTo>
                    <a:pt x="922" y="266"/>
                  </a:lnTo>
                  <a:lnTo>
                    <a:pt x="928" y="266"/>
                  </a:lnTo>
                  <a:lnTo>
                    <a:pt x="922" y="272"/>
                  </a:lnTo>
                  <a:lnTo>
                    <a:pt x="922" y="278"/>
                  </a:lnTo>
                  <a:lnTo>
                    <a:pt x="934" y="278"/>
                  </a:lnTo>
                  <a:lnTo>
                    <a:pt x="934" y="284"/>
                  </a:lnTo>
                  <a:lnTo>
                    <a:pt x="944" y="284"/>
                  </a:lnTo>
                  <a:lnTo>
                    <a:pt x="944" y="296"/>
                  </a:lnTo>
                  <a:lnTo>
                    <a:pt x="968" y="296"/>
                  </a:lnTo>
                  <a:lnTo>
                    <a:pt x="968" y="308"/>
                  </a:lnTo>
                  <a:lnTo>
                    <a:pt x="962" y="308"/>
                  </a:lnTo>
                  <a:lnTo>
                    <a:pt x="962" y="318"/>
                  </a:lnTo>
                  <a:lnTo>
                    <a:pt x="968" y="324"/>
                  </a:lnTo>
                  <a:lnTo>
                    <a:pt x="968" y="330"/>
                  </a:lnTo>
                  <a:lnTo>
                    <a:pt x="974" y="330"/>
                  </a:lnTo>
                  <a:lnTo>
                    <a:pt x="974" y="336"/>
                  </a:lnTo>
                  <a:lnTo>
                    <a:pt x="968" y="336"/>
                  </a:lnTo>
                  <a:lnTo>
                    <a:pt x="968" y="342"/>
                  </a:lnTo>
                  <a:lnTo>
                    <a:pt x="956" y="342"/>
                  </a:lnTo>
                  <a:lnTo>
                    <a:pt x="962" y="336"/>
                  </a:lnTo>
                  <a:lnTo>
                    <a:pt x="962" y="318"/>
                  </a:lnTo>
                  <a:lnTo>
                    <a:pt x="956" y="318"/>
                  </a:lnTo>
                  <a:lnTo>
                    <a:pt x="950" y="324"/>
                  </a:lnTo>
                  <a:lnTo>
                    <a:pt x="950" y="330"/>
                  </a:lnTo>
                  <a:lnTo>
                    <a:pt x="944" y="324"/>
                  </a:lnTo>
                  <a:lnTo>
                    <a:pt x="944" y="312"/>
                  </a:lnTo>
                  <a:lnTo>
                    <a:pt x="956" y="312"/>
                  </a:lnTo>
                  <a:lnTo>
                    <a:pt x="956" y="308"/>
                  </a:lnTo>
                  <a:lnTo>
                    <a:pt x="962" y="308"/>
                  </a:lnTo>
                  <a:lnTo>
                    <a:pt x="962" y="302"/>
                  </a:lnTo>
                  <a:lnTo>
                    <a:pt x="934" y="302"/>
                  </a:lnTo>
                  <a:lnTo>
                    <a:pt x="934" y="296"/>
                  </a:lnTo>
                  <a:lnTo>
                    <a:pt x="928" y="296"/>
                  </a:lnTo>
                  <a:lnTo>
                    <a:pt x="928" y="290"/>
                  </a:lnTo>
                  <a:lnTo>
                    <a:pt x="916" y="290"/>
                  </a:lnTo>
                  <a:lnTo>
                    <a:pt x="910" y="284"/>
                  </a:lnTo>
                  <a:lnTo>
                    <a:pt x="904" y="278"/>
                  </a:lnTo>
                  <a:lnTo>
                    <a:pt x="886" y="278"/>
                  </a:lnTo>
                  <a:lnTo>
                    <a:pt x="886" y="284"/>
                  </a:lnTo>
                  <a:lnTo>
                    <a:pt x="880" y="284"/>
                  </a:lnTo>
                  <a:lnTo>
                    <a:pt x="880" y="290"/>
                  </a:lnTo>
                  <a:lnTo>
                    <a:pt x="876" y="290"/>
                  </a:lnTo>
                  <a:lnTo>
                    <a:pt x="876" y="296"/>
                  </a:lnTo>
                  <a:lnTo>
                    <a:pt x="858" y="296"/>
                  </a:lnTo>
                  <a:lnTo>
                    <a:pt x="858" y="308"/>
                  </a:lnTo>
                  <a:lnTo>
                    <a:pt x="870" y="308"/>
                  </a:lnTo>
                  <a:lnTo>
                    <a:pt x="870" y="312"/>
                  </a:lnTo>
                  <a:lnTo>
                    <a:pt x="886" y="312"/>
                  </a:lnTo>
                  <a:lnTo>
                    <a:pt x="886" y="318"/>
                  </a:lnTo>
                  <a:lnTo>
                    <a:pt x="892" y="318"/>
                  </a:lnTo>
                  <a:lnTo>
                    <a:pt x="898" y="324"/>
                  </a:lnTo>
                  <a:lnTo>
                    <a:pt x="886" y="324"/>
                  </a:lnTo>
                  <a:lnTo>
                    <a:pt x="880" y="318"/>
                  </a:lnTo>
                  <a:lnTo>
                    <a:pt x="858" y="318"/>
                  </a:lnTo>
                  <a:lnTo>
                    <a:pt x="852" y="312"/>
                  </a:lnTo>
                  <a:lnTo>
                    <a:pt x="846" y="312"/>
                  </a:lnTo>
                  <a:lnTo>
                    <a:pt x="846" y="302"/>
                  </a:lnTo>
                  <a:lnTo>
                    <a:pt x="840" y="302"/>
                  </a:lnTo>
                  <a:lnTo>
                    <a:pt x="840" y="296"/>
                  </a:lnTo>
                  <a:lnTo>
                    <a:pt x="846" y="296"/>
                  </a:lnTo>
                  <a:lnTo>
                    <a:pt x="846" y="266"/>
                  </a:lnTo>
                  <a:lnTo>
                    <a:pt x="834" y="266"/>
                  </a:lnTo>
                  <a:lnTo>
                    <a:pt x="834" y="272"/>
                  </a:lnTo>
                  <a:lnTo>
                    <a:pt x="840" y="272"/>
                  </a:lnTo>
                  <a:lnTo>
                    <a:pt x="840" y="290"/>
                  </a:lnTo>
                  <a:lnTo>
                    <a:pt x="834" y="290"/>
                  </a:lnTo>
                  <a:lnTo>
                    <a:pt x="834" y="296"/>
                  </a:lnTo>
                  <a:lnTo>
                    <a:pt x="818" y="296"/>
                  </a:lnTo>
                  <a:lnTo>
                    <a:pt x="818" y="308"/>
                  </a:lnTo>
                  <a:lnTo>
                    <a:pt x="812" y="308"/>
                  </a:lnTo>
                  <a:lnTo>
                    <a:pt x="812" y="312"/>
                  </a:lnTo>
                  <a:lnTo>
                    <a:pt x="818" y="312"/>
                  </a:lnTo>
                  <a:lnTo>
                    <a:pt x="818" y="318"/>
                  </a:lnTo>
                  <a:lnTo>
                    <a:pt x="822" y="318"/>
                  </a:lnTo>
                  <a:lnTo>
                    <a:pt x="822" y="330"/>
                  </a:lnTo>
                  <a:lnTo>
                    <a:pt x="828" y="330"/>
                  </a:lnTo>
                  <a:lnTo>
                    <a:pt x="828" y="336"/>
                  </a:lnTo>
                  <a:lnTo>
                    <a:pt x="822" y="336"/>
                  </a:lnTo>
                  <a:lnTo>
                    <a:pt x="822" y="342"/>
                  </a:lnTo>
                  <a:lnTo>
                    <a:pt x="818" y="354"/>
                  </a:lnTo>
                  <a:lnTo>
                    <a:pt x="818" y="360"/>
                  </a:lnTo>
                  <a:lnTo>
                    <a:pt x="822" y="360"/>
                  </a:lnTo>
                  <a:lnTo>
                    <a:pt x="822" y="372"/>
                  </a:lnTo>
                  <a:lnTo>
                    <a:pt x="870" y="372"/>
                  </a:lnTo>
                  <a:lnTo>
                    <a:pt x="870" y="376"/>
                  </a:lnTo>
                  <a:lnTo>
                    <a:pt x="880" y="376"/>
                  </a:lnTo>
                  <a:lnTo>
                    <a:pt x="880" y="394"/>
                  </a:lnTo>
                  <a:lnTo>
                    <a:pt x="876" y="394"/>
                  </a:lnTo>
                  <a:lnTo>
                    <a:pt x="876" y="412"/>
                  </a:lnTo>
                  <a:lnTo>
                    <a:pt x="870" y="412"/>
                  </a:lnTo>
                  <a:lnTo>
                    <a:pt x="870" y="382"/>
                  </a:lnTo>
                  <a:lnTo>
                    <a:pt x="864" y="382"/>
                  </a:lnTo>
                  <a:lnTo>
                    <a:pt x="864" y="376"/>
                  </a:lnTo>
                  <a:lnTo>
                    <a:pt x="846" y="376"/>
                  </a:lnTo>
                  <a:lnTo>
                    <a:pt x="840" y="382"/>
                  </a:lnTo>
                  <a:lnTo>
                    <a:pt x="828" y="382"/>
                  </a:lnTo>
                  <a:lnTo>
                    <a:pt x="828" y="394"/>
                  </a:lnTo>
                  <a:lnTo>
                    <a:pt x="834" y="394"/>
                  </a:lnTo>
                  <a:lnTo>
                    <a:pt x="834" y="412"/>
                  </a:lnTo>
                  <a:lnTo>
                    <a:pt x="828" y="412"/>
                  </a:lnTo>
                  <a:lnTo>
                    <a:pt x="828" y="418"/>
                  </a:lnTo>
                  <a:lnTo>
                    <a:pt x="822" y="418"/>
                  </a:lnTo>
                  <a:lnTo>
                    <a:pt x="822" y="430"/>
                  </a:lnTo>
                  <a:lnTo>
                    <a:pt x="818" y="434"/>
                  </a:lnTo>
                  <a:lnTo>
                    <a:pt x="806" y="434"/>
                  </a:lnTo>
                  <a:lnTo>
                    <a:pt x="806" y="440"/>
                  </a:lnTo>
                  <a:lnTo>
                    <a:pt x="800" y="440"/>
                  </a:lnTo>
                  <a:lnTo>
                    <a:pt x="800" y="446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48" y="440"/>
                  </a:lnTo>
                  <a:lnTo>
                    <a:pt x="748" y="434"/>
                  </a:lnTo>
                  <a:lnTo>
                    <a:pt x="770" y="434"/>
                  </a:lnTo>
                  <a:lnTo>
                    <a:pt x="770" y="440"/>
                  </a:lnTo>
                  <a:lnTo>
                    <a:pt x="782" y="440"/>
                  </a:lnTo>
                  <a:lnTo>
                    <a:pt x="782" y="430"/>
                  </a:lnTo>
                  <a:lnTo>
                    <a:pt x="788" y="434"/>
                  </a:lnTo>
                  <a:lnTo>
                    <a:pt x="788" y="430"/>
                  </a:lnTo>
                  <a:lnTo>
                    <a:pt x="794" y="430"/>
                  </a:lnTo>
                  <a:lnTo>
                    <a:pt x="794" y="424"/>
                  </a:lnTo>
                  <a:lnTo>
                    <a:pt x="800" y="424"/>
                  </a:lnTo>
                  <a:lnTo>
                    <a:pt x="800" y="412"/>
                  </a:lnTo>
                  <a:lnTo>
                    <a:pt x="812" y="412"/>
                  </a:lnTo>
                  <a:lnTo>
                    <a:pt x="812" y="394"/>
                  </a:lnTo>
                  <a:lnTo>
                    <a:pt x="818" y="394"/>
                  </a:lnTo>
                  <a:lnTo>
                    <a:pt x="818" y="382"/>
                  </a:lnTo>
                  <a:lnTo>
                    <a:pt x="806" y="382"/>
                  </a:lnTo>
                  <a:lnTo>
                    <a:pt x="806" y="376"/>
                  </a:lnTo>
                  <a:lnTo>
                    <a:pt x="800" y="376"/>
                  </a:lnTo>
                  <a:lnTo>
                    <a:pt x="800" y="372"/>
                  </a:lnTo>
                  <a:lnTo>
                    <a:pt x="806" y="366"/>
                  </a:lnTo>
                  <a:lnTo>
                    <a:pt x="806" y="354"/>
                  </a:lnTo>
                  <a:lnTo>
                    <a:pt x="800" y="348"/>
                  </a:lnTo>
                  <a:lnTo>
                    <a:pt x="800" y="336"/>
                  </a:lnTo>
                  <a:lnTo>
                    <a:pt x="806" y="336"/>
                  </a:lnTo>
                  <a:lnTo>
                    <a:pt x="806" y="318"/>
                  </a:lnTo>
                  <a:lnTo>
                    <a:pt x="800" y="318"/>
                  </a:lnTo>
                  <a:lnTo>
                    <a:pt x="794" y="312"/>
                  </a:lnTo>
                  <a:lnTo>
                    <a:pt x="794" y="308"/>
                  </a:lnTo>
                  <a:lnTo>
                    <a:pt x="800" y="302"/>
                  </a:lnTo>
                  <a:lnTo>
                    <a:pt x="794" y="302"/>
                  </a:lnTo>
                  <a:lnTo>
                    <a:pt x="794" y="296"/>
                  </a:lnTo>
                  <a:lnTo>
                    <a:pt x="800" y="296"/>
                  </a:lnTo>
                  <a:lnTo>
                    <a:pt x="806" y="290"/>
                  </a:lnTo>
                  <a:lnTo>
                    <a:pt x="806" y="272"/>
                  </a:lnTo>
                  <a:lnTo>
                    <a:pt x="800" y="272"/>
                  </a:lnTo>
                  <a:lnTo>
                    <a:pt x="794" y="266"/>
                  </a:lnTo>
                  <a:lnTo>
                    <a:pt x="754" y="266"/>
                  </a:lnTo>
                  <a:lnTo>
                    <a:pt x="754" y="272"/>
                  </a:lnTo>
                  <a:lnTo>
                    <a:pt x="748" y="272"/>
                  </a:lnTo>
                  <a:lnTo>
                    <a:pt x="748" y="278"/>
                  </a:lnTo>
                  <a:lnTo>
                    <a:pt x="742" y="284"/>
                  </a:lnTo>
                  <a:lnTo>
                    <a:pt x="742" y="296"/>
                  </a:lnTo>
                  <a:lnTo>
                    <a:pt x="736" y="302"/>
                  </a:lnTo>
                  <a:lnTo>
                    <a:pt x="736" y="308"/>
                  </a:lnTo>
                  <a:lnTo>
                    <a:pt x="724" y="308"/>
                  </a:lnTo>
                  <a:lnTo>
                    <a:pt x="724" y="312"/>
                  </a:lnTo>
                  <a:lnTo>
                    <a:pt x="718" y="312"/>
                  </a:lnTo>
                  <a:lnTo>
                    <a:pt x="718" y="318"/>
                  </a:lnTo>
                  <a:lnTo>
                    <a:pt x="712" y="318"/>
                  </a:lnTo>
                  <a:lnTo>
                    <a:pt x="712" y="330"/>
                  </a:lnTo>
                  <a:lnTo>
                    <a:pt x="718" y="324"/>
                  </a:lnTo>
                  <a:lnTo>
                    <a:pt x="718" y="348"/>
                  </a:lnTo>
                  <a:lnTo>
                    <a:pt x="712" y="360"/>
                  </a:lnTo>
                  <a:lnTo>
                    <a:pt x="730" y="360"/>
                  </a:lnTo>
                  <a:lnTo>
                    <a:pt x="730" y="372"/>
                  </a:lnTo>
                  <a:lnTo>
                    <a:pt x="742" y="372"/>
                  </a:lnTo>
                  <a:lnTo>
                    <a:pt x="742" y="376"/>
                  </a:lnTo>
                  <a:lnTo>
                    <a:pt x="748" y="376"/>
                  </a:lnTo>
                  <a:lnTo>
                    <a:pt x="748" y="382"/>
                  </a:lnTo>
                  <a:lnTo>
                    <a:pt x="742" y="382"/>
                  </a:lnTo>
                  <a:lnTo>
                    <a:pt x="742" y="394"/>
                  </a:lnTo>
                  <a:lnTo>
                    <a:pt x="730" y="394"/>
                  </a:lnTo>
                  <a:lnTo>
                    <a:pt x="730" y="388"/>
                  </a:lnTo>
                  <a:lnTo>
                    <a:pt x="724" y="382"/>
                  </a:lnTo>
                  <a:lnTo>
                    <a:pt x="718" y="382"/>
                  </a:lnTo>
                  <a:lnTo>
                    <a:pt x="718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690" y="372"/>
                  </a:lnTo>
                  <a:lnTo>
                    <a:pt x="684" y="366"/>
                  </a:lnTo>
                  <a:lnTo>
                    <a:pt x="678" y="366"/>
                  </a:lnTo>
                  <a:lnTo>
                    <a:pt x="678" y="360"/>
                  </a:lnTo>
                  <a:lnTo>
                    <a:pt x="638" y="360"/>
                  </a:lnTo>
                  <a:lnTo>
                    <a:pt x="638" y="354"/>
                  </a:lnTo>
                  <a:lnTo>
                    <a:pt x="620" y="354"/>
                  </a:lnTo>
                  <a:lnTo>
                    <a:pt x="620" y="360"/>
                  </a:lnTo>
                  <a:lnTo>
                    <a:pt x="614" y="360"/>
                  </a:lnTo>
                  <a:lnTo>
                    <a:pt x="614" y="366"/>
                  </a:lnTo>
                  <a:lnTo>
                    <a:pt x="620" y="372"/>
                  </a:lnTo>
                  <a:lnTo>
                    <a:pt x="626" y="372"/>
                  </a:lnTo>
                  <a:lnTo>
                    <a:pt x="626" y="382"/>
                  </a:lnTo>
                  <a:lnTo>
                    <a:pt x="608" y="382"/>
                  </a:lnTo>
                  <a:lnTo>
                    <a:pt x="608" y="388"/>
                  </a:lnTo>
                  <a:lnTo>
                    <a:pt x="614" y="388"/>
                  </a:lnTo>
                  <a:lnTo>
                    <a:pt x="608" y="394"/>
                  </a:lnTo>
                  <a:lnTo>
                    <a:pt x="596" y="394"/>
                  </a:lnTo>
                  <a:lnTo>
                    <a:pt x="596" y="382"/>
                  </a:lnTo>
                  <a:lnTo>
                    <a:pt x="602" y="382"/>
                  </a:lnTo>
                  <a:lnTo>
                    <a:pt x="596" y="376"/>
                  </a:lnTo>
                  <a:lnTo>
                    <a:pt x="586" y="376"/>
                  </a:lnTo>
                  <a:lnTo>
                    <a:pt x="586" y="382"/>
                  </a:lnTo>
                  <a:lnTo>
                    <a:pt x="574" y="382"/>
                  </a:lnTo>
                  <a:lnTo>
                    <a:pt x="574" y="388"/>
                  </a:lnTo>
                  <a:lnTo>
                    <a:pt x="562" y="388"/>
                  </a:lnTo>
                  <a:lnTo>
                    <a:pt x="562" y="382"/>
                  </a:lnTo>
                  <a:lnTo>
                    <a:pt x="550" y="382"/>
                  </a:lnTo>
                  <a:lnTo>
                    <a:pt x="544" y="388"/>
                  </a:lnTo>
                  <a:lnTo>
                    <a:pt x="538" y="388"/>
                  </a:lnTo>
                  <a:lnTo>
                    <a:pt x="538" y="394"/>
                  </a:lnTo>
                  <a:lnTo>
                    <a:pt x="522" y="394"/>
                  </a:lnTo>
                  <a:lnTo>
                    <a:pt x="522" y="388"/>
                  </a:lnTo>
                  <a:lnTo>
                    <a:pt x="516" y="388"/>
                  </a:lnTo>
                  <a:lnTo>
                    <a:pt x="516" y="382"/>
                  </a:lnTo>
                  <a:lnTo>
                    <a:pt x="492" y="382"/>
                  </a:lnTo>
                  <a:lnTo>
                    <a:pt x="498" y="388"/>
                  </a:lnTo>
                  <a:lnTo>
                    <a:pt x="498" y="394"/>
                  </a:lnTo>
                  <a:lnTo>
                    <a:pt x="492" y="394"/>
                  </a:lnTo>
                  <a:lnTo>
                    <a:pt x="498" y="388"/>
                  </a:lnTo>
                  <a:lnTo>
                    <a:pt x="486" y="388"/>
                  </a:lnTo>
                  <a:lnTo>
                    <a:pt x="486" y="394"/>
                  </a:lnTo>
                  <a:lnTo>
                    <a:pt x="464" y="394"/>
                  </a:lnTo>
                  <a:lnTo>
                    <a:pt x="464" y="400"/>
                  </a:lnTo>
                  <a:lnTo>
                    <a:pt x="458" y="400"/>
                  </a:lnTo>
                  <a:lnTo>
                    <a:pt x="452" y="406"/>
                  </a:lnTo>
                  <a:lnTo>
                    <a:pt x="440" y="406"/>
                  </a:lnTo>
                  <a:lnTo>
                    <a:pt x="440" y="412"/>
                  </a:lnTo>
                  <a:lnTo>
                    <a:pt x="422" y="412"/>
                  </a:lnTo>
                  <a:lnTo>
                    <a:pt x="428" y="418"/>
                  </a:lnTo>
                  <a:lnTo>
                    <a:pt x="428" y="424"/>
                  </a:lnTo>
                  <a:lnTo>
                    <a:pt x="422" y="424"/>
                  </a:lnTo>
                  <a:lnTo>
                    <a:pt x="422" y="434"/>
                  </a:lnTo>
                  <a:lnTo>
                    <a:pt x="400" y="434"/>
                  </a:lnTo>
                  <a:lnTo>
                    <a:pt x="394" y="430"/>
                  </a:lnTo>
                  <a:lnTo>
                    <a:pt x="394" y="424"/>
                  </a:lnTo>
                  <a:lnTo>
                    <a:pt x="382" y="424"/>
                  </a:lnTo>
                  <a:lnTo>
                    <a:pt x="382" y="418"/>
                  </a:lnTo>
                  <a:lnTo>
                    <a:pt x="388" y="418"/>
                  </a:lnTo>
                  <a:lnTo>
                    <a:pt x="388" y="412"/>
                  </a:lnTo>
                  <a:lnTo>
                    <a:pt x="412" y="412"/>
                  </a:lnTo>
                  <a:lnTo>
                    <a:pt x="412" y="400"/>
                  </a:lnTo>
                  <a:lnTo>
                    <a:pt x="406" y="394"/>
                  </a:lnTo>
                  <a:lnTo>
                    <a:pt x="400" y="394"/>
                  </a:lnTo>
                  <a:lnTo>
                    <a:pt x="400" y="388"/>
                  </a:lnTo>
                  <a:lnTo>
                    <a:pt x="364" y="388"/>
                  </a:lnTo>
                  <a:lnTo>
                    <a:pt x="364" y="394"/>
                  </a:lnTo>
                  <a:lnTo>
                    <a:pt x="370" y="394"/>
                  </a:lnTo>
                  <a:lnTo>
                    <a:pt x="370" y="412"/>
                  </a:lnTo>
                  <a:lnTo>
                    <a:pt x="364" y="418"/>
                  </a:lnTo>
                  <a:lnTo>
                    <a:pt x="364" y="424"/>
                  </a:lnTo>
                  <a:lnTo>
                    <a:pt x="370" y="424"/>
                  </a:lnTo>
                  <a:lnTo>
                    <a:pt x="370" y="430"/>
                  </a:lnTo>
                  <a:lnTo>
                    <a:pt x="376" y="430"/>
                  </a:lnTo>
                  <a:lnTo>
                    <a:pt x="376" y="434"/>
                  </a:lnTo>
                  <a:lnTo>
                    <a:pt x="370" y="440"/>
                  </a:lnTo>
                  <a:lnTo>
                    <a:pt x="370" y="452"/>
                  </a:lnTo>
                  <a:lnTo>
                    <a:pt x="364" y="446"/>
                  </a:lnTo>
                  <a:lnTo>
                    <a:pt x="360" y="452"/>
                  </a:lnTo>
                  <a:lnTo>
                    <a:pt x="360" y="446"/>
                  </a:lnTo>
                  <a:lnTo>
                    <a:pt x="348" y="446"/>
                  </a:lnTo>
                  <a:lnTo>
                    <a:pt x="348" y="440"/>
                  </a:lnTo>
                  <a:lnTo>
                    <a:pt x="342" y="440"/>
                  </a:lnTo>
                  <a:lnTo>
                    <a:pt x="342" y="446"/>
                  </a:lnTo>
                  <a:lnTo>
                    <a:pt x="336" y="446"/>
                  </a:lnTo>
                  <a:lnTo>
                    <a:pt x="330" y="452"/>
                  </a:lnTo>
                  <a:lnTo>
                    <a:pt x="324" y="452"/>
                  </a:lnTo>
                  <a:lnTo>
                    <a:pt x="324" y="458"/>
                  </a:lnTo>
                  <a:lnTo>
                    <a:pt x="318" y="458"/>
                  </a:lnTo>
                  <a:lnTo>
                    <a:pt x="318" y="464"/>
                  </a:lnTo>
                  <a:lnTo>
                    <a:pt x="306" y="464"/>
                  </a:lnTo>
                  <a:lnTo>
                    <a:pt x="306" y="482"/>
                  </a:lnTo>
                  <a:lnTo>
                    <a:pt x="312" y="482"/>
                  </a:lnTo>
                  <a:lnTo>
                    <a:pt x="312" y="488"/>
                  </a:lnTo>
                  <a:lnTo>
                    <a:pt x="318" y="488"/>
                  </a:lnTo>
                  <a:lnTo>
                    <a:pt x="318" y="492"/>
                  </a:lnTo>
                  <a:lnTo>
                    <a:pt x="296" y="492"/>
                  </a:lnTo>
                  <a:lnTo>
                    <a:pt x="296" y="488"/>
                  </a:lnTo>
                  <a:lnTo>
                    <a:pt x="278" y="488"/>
                  </a:lnTo>
                  <a:lnTo>
                    <a:pt x="272" y="482"/>
                  </a:lnTo>
                  <a:lnTo>
                    <a:pt x="272" y="476"/>
                  </a:lnTo>
                  <a:lnTo>
                    <a:pt x="260" y="476"/>
                  </a:lnTo>
                  <a:lnTo>
                    <a:pt x="260" y="482"/>
                  </a:lnTo>
                  <a:lnTo>
                    <a:pt x="254" y="488"/>
                  </a:lnTo>
                  <a:lnTo>
                    <a:pt x="260" y="492"/>
                  </a:lnTo>
                  <a:lnTo>
                    <a:pt x="266" y="498"/>
                  </a:lnTo>
                  <a:lnTo>
                    <a:pt x="278" y="498"/>
                  </a:lnTo>
                  <a:lnTo>
                    <a:pt x="278" y="510"/>
                  </a:lnTo>
                  <a:lnTo>
                    <a:pt x="254" y="510"/>
                  </a:lnTo>
                  <a:lnTo>
                    <a:pt x="254" y="504"/>
                  </a:lnTo>
                  <a:lnTo>
                    <a:pt x="248" y="498"/>
                  </a:lnTo>
                  <a:lnTo>
                    <a:pt x="232" y="498"/>
                  </a:lnTo>
                  <a:lnTo>
                    <a:pt x="232" y="476"/>
                  </a:lnTo>
                  <a:lnTo>
                    <a:pt x="220" y="476"/>
                  </a:lnTo>
                  <a:lnTo>
                    <a:pt x="226" y="470"/>
                  </a:lnTo>
                  <a:lnTo>
                    <a:pt x="232" y="470"/>
                  </a:lnTo>
                  <a:lnTo>
                    <a:pt x="232" y="458"/>
                  </a:lnTo>
                  <a:lnTo>
                    <a:pt x="226" y="452"/>
                  </a:lnTo>
                  <a:lnTo>
                    <a:pt x="220" y="452"/>
                  </a:lnTo>
                  <a:lnTo>
                    <a:pt x="220" y="446"/>
                  </a:lnTo>
                  <a:lnTo>
                    <a:pt x="214" y="446"/>
                  </a:lnTo>
                  <a:lnTo>
                    <a:pt x="214" y="440"/>
                  </a:lnTo>
                  <a:lnTo>
                    <a:pt x="208" y="440"/>
                  </a:lnTo>
                  <a:lnTo>
                    <a:pt x="208" y="446"/>
                  </a:lnTo>
                  <a:lnTo>
                    <a:pt x="202" y="440"/>
                  </a:lnTo>
                  <a:lnTo>
                    <a:pt x="202" y="434"/>
                  </a:lnTo>
                  <a:lnTo>
                    <a:pt x="190" y="434"/>
                  </a:lnTo>
                  <a:lnTo>
                    <a:pt x="190" y="424"/>
                  </a:lnTo>
                  <a:lnTo>
                    <a:pt x="196" y="424"/>
                  </a:lnTo>
                  <a:lnTo>
                    <a:pt x="196" y="430"/>
                  </a:lnTo>
                  <a:lnTo>
                    <a:pt x="202" y="430"/>
                  </a:lnTo>
                  <a:lnTo>
                    <a:pt x="202" y="434"/>
                  </a:lnTo>
                  <a:lnTo>
                    <a:pt x="220" y="434"/>
                  </a:lnTo>
                  <a:lnTo>
                    <a:pt x="220" y="440"/>
                  </a:lnTo>
                  <a:lnTo>
                    <a:pt x="232" y="440"/>
                  </a:lnTo>
                  <a:lnTo>
                    <a:pt x="238" y="446"/>
                  </a:lnTo>
                  <a:lnTo>
                    <a:pt x="272" y="446"/>
                  </a:lnTo>
                  <a:lnTo>
                    <a:pt x="272" y="452"/>
                  </a:lnTo>
                  <a:lnTo>
                    <a:pt x="296" y="452"/>
                  </a:lnTo>
                  <a:lnTo>
                    <a:pt x="302" y="446"/>
                  </a:lnTo>
                  <a:lnTo>
                    <a:pt x="318" y="446"/>
                  </a:lnTo>
                  <a:lnTo>
                    <a:pt x="324" y="440"/>
                  </a:lnTo>
                  <a:lnTo>
                    <a:pt x="324" y="434"/>
                  </a:lnTo>
                  <a:lnTo>
                    <a:pt x="330" y="434"/>
                  </a:lnTo>
                  <a:lnTo>
                    <a:pt x="330" y="424"/>
                  </a:lnTo>
                  <a:lnTo>
                    <a:pt x="324" y="424"/>
                  </a:lnTo>
                  <a:lnTo>
                    <a:pt x="324" y="412"/>
                  </a:lnTo>
                  <a:lnTo>
                    <a:pt x="312" y="412"/>
                  </a:lnTo>
                  <a:lnTo>
                    <a:pt x="312" y="406"/>
                  </a:lnTo>
                  <a:lnTo>
                    <a:pt x="306" y="406"/>
                  </a:lnTo>
                  <a:lnTo>
                    <a:pt x="306" y="400"/>
                  </a:lnTo>
                  <a:lnTo>
                    <a:pt x="302" y="400"/>
                  </a:lnTo>
                  <a:lnTo>
                    <a:pt x="296" y="394"/>
                  </a:lnTo>
                  <a:lnTo>
                    <a:pt x="284" y="394"/>
                  </a:lnTo>
                  <a:lnTo>
                    <a:pt x="278" y="388"/>
                  </a:lnTo>
                  <a:lnTo>
                    <a:pt x="278" y="382"/>
                  </a:lnTo>
                  <a:lnTo>
                    <a:pt x="266" y="382"/>
                  </a:lnTo>
                  <a:lnTo>
                    <a:pt x="260" y="376"/>
                  </a:lnTo>
                  <a:lnTo>
                    <a:pt x="254" y="376"/>
                  </a:lnTo>
                  <a:lnTo>
                    <a:pt x="254" y="372"/>
                  </a:lnTo>
                  <a:lnTo>
                    <a:pt x="220" y="372"/>
                  </a:lnTo>
                  <a:lnTo>
                    <a:pt x="220" y="366"/>
                  </a:lnTo>
                  <a:lnTo>
                    <a:pt x="214" y="366"/>
                  </a:lnTo>
                  <a:lnTo>
                    <a:pt x="214" y="372"/>
                  </a:lnTo>
                  <a:lnTo>
                    <a:pt x="208" y="372"/>
                  </a:lnTo>
                  <a:lnTo>
                    <a:pt x="208" y="366"/>
                  </a:lnTo>
                  <a:lnTo>
                    <a:pt x="202" y="366"/>
                  </a:lnTo>
                  <a:lnTo>
                    <a:pt x="202" y="372"/>
                  </a:lnTo>
                  <a:lnTo>
                    <a:pt x="196" y="372"/>
                  </a:lnTo>
                  <a:lnTo>
                    <a:pt x="202" y="366"/>
                  </a:lnTo>
                  <a:lnTo>
                    <a:pt x="202" y="354"/>
                  </a:lnTo>
                  <a:lnTo>
                    <a:pt x="190" y="35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0" y="354"/>
                  </a:lnTo>
                  <a:lnTo>
                    <a:pt x="180" y="360"/>
                  </a:lnTo>
                  <a:lnTo>
                    <a:pt x="168" y="354"/>
                  </a:lnTo>
                  <a:lnTo>
                    <a:pt x="168" y="360"/>
                  </a:lnTo>
                  <a:lnTo>
                    <a:pt x="156" y="360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8" y="376"/>
                  </a:lnTo>
                  <a:lnTo>
                    <a:pt x="132" y="376"/>
                  </a:lnTo>
                  <a:lnTo>
                    <a:pt x="132" y="382"/>
                  </a:lnTo>
                  <a:lnTo>
                    <a:pt x="138" y="382"/>
                  </a:lnTo>
                  <a:lnTo>
                    <a:pt x="132" y="388"/>
                  </a:lnTo>
                  <a:lnTo>
                    <a:pt x="132" y="394"/>
                  </a:lnTo>
                  <a:lnTo>
                    <a:pt x="138" y="394"/>
                  </a:lnTo>
                  <a:lnTo>
                    <a:pt x="144" y="400"/>
                  </a:lnTo>
                  <a:lnTo>
                    <a:pt x="150" y="400"/>
                  </a:lnTo>
                  <a:lnTo>
                    <a:pt x="150" y="406"/>
                  </a:lnTo>
                  <a:lnTo>
                    <a:pt x="156" y="412"/>
                  </a:lnTo>
                  <a:lnTo>
                    <a:pt x="156" y="418"/>
                  </a:lnTo>
                  <a:lnTo>
                    <a:pt x="150" y="424"/>
                  </a:lnTo>
                  <a:lnTo>
                    <a:pt x="144" y="430"/>
                  </a:lnTo>
                  <a:lnTo>
                    <a:pt x="138" y="430"/>
                  </a:lnTo>
                  <a:lnTo>
                    <a:pt x="138" y="434"/>
                  </a:lnTo>
                  <a:lnTo>
                    <a:pt x="144" y="434"/>
                  </a:lnTo>
                  <a:lnTo>
                    <a:pt x="150" y="440"/>
                  </a:lnTo>
                  <a:lnTo>
                    <a:pt x="150" y="446"/>
                  </a:lnTo>
                  <a:lnTo>
                    <a:pt x="156" y="446"/>
                  </a:lnTo>
                  <a:lnTo>
                    <a:pt x="156" y="482"/>
                  </a:lnTo>
                  <a:lnTo>
                    <a:pt x="150" y="482"/>
                  </a:lnTo>
                  <a:lnTo>
                    <a:pt x="150" y="488"/>
                  </a:lnTo>
                  <a:lnTo>
                    <a:pt x="162" y="488"/>
                  </a:lnTo>
                  <a:lnTo>
                    <a:pt x="156" y="492"/>
                  </a:lnTo>
                  <a:lnTo>
                    <a:pt x="156" y="498"/>
                  </a:lnTo>
                  <a:lnTo>
                    <a:pt x="168" y="498"/>
                  </a:lnTo>
                  <a:lnTo>
                    <a:pt x="168" y="510"/>
                  </a:lnTo>
                  <a:lnTo>
                    <a:pt x="156" y="510"/>
                  </a:lnTo>
                  <a:lnTo>
                    <a:pt x="168" y="522"/>
                  </a:lnTo>
                  <a:lnTo>
                    <a:pt x="168" y="528"/>
                  </a:lnTo>
                  <a:lnTo>
                    <a:pt x="180" y="528"/>
                  </a:lnTo>
                  <a:lnTo>
                    <a:pt x="180" y="546"/>
                  </a:lnTo>
                  <a:lnTo>
                    <a:pt x="174" y="550"/>
                  </a:lnTo>
                  <a:lnTo>
                    <a:pt x="168" y="550"/>
                  </a:lnTo>
                  <a:lnTo>
                    <a:pt x="162" y="556"/>
                  </a:lnTo>
                  <a:lnTo>
                    <a:pt x="162" y="562"/>
                  </a:lnTo>
                  <a:lnTo>
                    <a:pt x="156" y="562"/>
                  </a:lnTo>
                  <a:lnTo>
                    <a:pt x="156" y="568"/>
                  </a:lnTo>
                  <a:lnTo>
                    <a:pt x="150" y="574"/>
                  </a:lnTo>
                  <a:lnTo>
                    <a:pt x="138" y="574"/>
                  </a:lnTo>
                  <a:lnTo>
                    <a:pt x="138" y="598"/>
                  </a:lnTo>
                  <a:lnTo>
                    <a:pt x="156" y="598"/>
                  </a:lnTo>
                  <a:lnTo>
                    <a:pt x="156" y="604"/>
                  </a:lnTo>
                  <a:lnTo>
                    <a:pt x="162" y="608"/>
                  </a:lnTo>
                  <a:lnTo>
                    <a:pt x="150" y="608"/>
                  </a:lnTo>
                  <a:lnTo>
                    <a:pt x="144" y="604"/>
                  </a:lnTo>
                  <a:lnTo>
                    <a:pt x="138" y="608"/>
                  </a:lnTo>
                  <a:lnTo>
                    <a:pt x="138" y="614"/>
                  </a:lnTo>
                  <a:lnTo>
                    <a:pt x="132" y="608"/>
                  </a:lnTo>
                  <a:lnTo>
                    <a:pt x="132" y="614"/>
                  </a:lnTo>
                  <a:lnTo>
                    <a:pt x="128" y="614"/>
                  </a:lnTo>
                  <a:lnTo>
                    <a:pt x="128" y="626"/>
                  </a:lnTo>
                  <a:lnTo>
                    <a:pt x="122" y="626"/>
                  </a:lnTo>
                  <a:lnTo>
                    <a:pt x="122" y="632"/>
                  </a:lnTo>
                  <a:lnTo>
                    <a:pt x="116" y="632"/>
                  </a:lnTo>
                  <a:lnTo>
                    <a:pt x="116" y="650"/>
                  </a:lnTo>
                  <a:lnTo>
                    <a:pt x="122" y="650"/>
                  </a:lnTo>
                  <a:lnTo>
                    <a:pt x="122" y="662"/>
                  </a:lnTo>
                  <a:lnTo>
                    <a:pt x="116" y="662"/>
                  </a:lnTo>
                  <a:lnTo>
                    <a:pt x="116" y="666"/>
                  </a:lnTo>
                  <a:lnTo>
                    <a:pt x="122" y="666"/>
                  </a:lnTo>
                  <a:lnTo>
                    <a:pt x="128" y="672"/>
                  </a:lnTo>
                  <a:lnTo>
                    <a:pt x="122" y="678"/>
                  </a:lnTo>
                  <a:lnTo>
                    <a:pt x="128" y="678"/>
                  </a:lnTo>
                  <a:lnTo>
                    <a:pt x="128" y="702"/>
                  </a:lnTo>
                  <a:lnTo>
                    <a:pt x="150" y="702"/>
                  </a:lnTo>
                  <a:lnTo>
                    <a:pt x="144" y="708"/>
                  </a:lnTo>
                  <a:lnTo>
                    <a:pt x="156" y="708"/>
                  </a:lnTo>
                  <a:lnTo>
                    <a:pt x="156" y="702"/>
                  </a:lnTo>
                  <a:lnTo>
                    <a:pt x="162" y="702"/>
                  </a:lnTo>
                  <a:lnTo>
                    <a:pt x="168" y="708"/>
                  </a:lnTo>
                  <a:lnTo>
                    <a:pt x="168" y="720"/>
                  </a:lnTo>
                  <a:lnTo>
                    <a:pt x="174" y="720"/>
                  </a:lnTo>
                  <a:lnTo>
                    <a:pt x="174" y="724"/>
                  </a:lnTo>
                  <a:lnTo>
                    <a:pt x="168" y="724"/>
                  </a:lnTo>
                  <a:lnTo>
                    <a:pt x="168" y="730"/>
                  </a:lnTo>
                  <a:lnTo>
                    <a:pt x="174" y="730"/>
                  </a:lnTo>
                  <a:lnTo>
                    <a:pt x="174" y="736"/>
                  </a:lnTo>
                  <a:lnTo>
                    <a:pt x="180" y="736"/>
                  </a:lnTo>
                  <a:lnTo>
                    <a:pt x="180" y="742"/>
                  </a:lnTo>
                  <a:lnTo>
                    <a:pt x="186" y="742"/>
                  </a:lnTo>
                  <a:lnTo>
                    <a:pt x="186" y="754"/>
                  </a:lnTo>
                  <a:lnTo>
                    <a:pt x="190" y="754"/>
                  </a:lnTo>
                  <a:lnTo>
                    <a:pt x="190" y="760"/>
                  </a:lnTo>
                  <a:lnTo>
                    <a:pt x="196" y="760"/>
                  </a:lnTo>
                  <a:lnTo>
                    <a:pt x="196" y="766"/>
                  </a:lnTo>
                  <a:lnTo>
                    <a:pt x="180" y="766"/>
                  </a:lnTo>
                  <a:lnTo>
                    <a:pt x="180" y="788"/>
                  </a:lnTo>
                  <a:lnTo>
                    <a:pt x="186" y="788"/>
                  </a:lnTo>
                  <a:lnTo>
                    <a:pt x="186" y="794"/>
                  </a:lnTo>
                  <a:lnTo>
                    <a:pt x="190" y="794"/>
                  </a:lnTo>
                  <a:lnTo>
                    <a:pt x="190" y="788"/>
                  </a:lnTo>
                  <a:lnTo>
                    <a:pt x="202" y="788"/>
                  </a:lnTo>
                  <a:lnTo>
                    <a:pt x="202" y="782"/>
                  </a:lnTo>
                  <a:lnTo>
                    <a:pt x="208" y="782"/>
                  </a:lnTo>
                  <a:lnTo>
                    <a:pt x="208" y="788"/>
                  </a:lnTo>
                  <a:lnTo>
                    <a:pt x="214" y="788"/>
                  </a:lnTo>
                  <a:lnTo>
                    <a:pt x="214" y="782"/>
                  </a:lnTo>
                  <a:lnTo>
                    <a:pt x="220" y="788"/>
                  </a:lnTo>
                  <a:lnTo>
                    <a:pt x="220" y="794"/>
                  </a:lnTo>
                  <a:lnTo>
                    <a:pt x="226" y="800"/>
                  </a:lnTo>
                  <a:lnTo>
                    <a:pt x="220" y="800"/>
                  </a:lnTo>
                  <a:lnTo>
                    <a:pt x="220" y="812"/>
                  </a:lnTo>
                  <a:lnTo>
                    <a:pt x="232" y="812"/>
                  </a:lnTo>
                  <a:lnTo>
                    <a:pt x="232" y="818"/>
                  </a:lnTo>
                  <a:lnTo>
                    <a:pt x="244" y="818"/>
                  </a:lnTo>
                  <a:lnTo>
                    <a:pt x="244" y="824"/>
                  </a:lnTo>
                  <a:lnTo>
                    <a:pt x="238" y="824"/>
                  </a:lnTo>
                  <a:lnTo>
                    <a:pt x="238" y="830"/>
                  </a:lnTo>
                  <a:lnTo>
                    <a:pt x="272" y="830"/>
                  </a:lnTo>
                  <a:lnTo>
                    <a:pt x="272" y="836"/>
                  </a:lnTo>
                  <a:lnTo>
                    <a:pt x="278" y="836"/>
                  </a:lnTo>
                  <a:lnTo>
                    <a:pt x="278" y="840"/>
                  </a:lnTo>
                  <a:lnTo>
                    <a:pt x="296" y="840"/>
                  </a:lnTo>
                  <a:lnTo>
                    <a:pt x="296" y="846"/>
                  </a:lnTo>
                  <a:lnTo>
                    <a:pt x="306" y="846"/>
                  </a:lnTo>
                  <a:lnTo>
                    <a:pt x="306" y="888"/>
                  </a:lnTo>
                  <a:lnTo>
                    <a:pt x="290" y="888"/>
                  </a:lnTo>
                  <a:lnTo>
                    <a:pt x="290" y="894"/>
                  </a:lnTo>
                  <a:lnTo>
                    <a:pt x="284" y="894"/>
                  </a:lnTo>
                  <a:lnTo>
                    <a:pt x="284" y="904"/>
                  </a:lnTo>
                  <a:lnTo>
                    <a:pt x="290" y="904"/>
                  </a:lnTo>
                  <a:lnTo>
                    <a:pt x="290" y="898"/>
                  </a:lnTo>
                  <a:lnTo>
                    <a:pt x="296" y="898"/>
                  </a:lnTo>
                  <a:lnTo>
                    <a:pt x="296" y="910"/>
                  </a:lnTo>
                  <a:lnTo>
                    <a:pt x="272" y="910"/>
                  </a:lnTo>
                  <a:lnTo>
                    <a:pt x="278" y="916"/>
                  </a:lnTo>
                  <a:lnTo>
                    <a:pt x="278" y="928"/>
                  </a:lnTo>
                  <a:lnTo>
                    <a:pt x="284" y="922"/>
                  </a:lnTo>
                  <a:lnTo>
                    <a:pt x="284" y="928"/>
                  </a:lnTo>
                  <a:lnTo>
                    <a:pt x="278" y="928"/>
                  </a:lnTo>
                  <a:lnTo>
                    <a:pt x="278" y="934"/>
                  </a:lnTo>
                  <a:lnTo>
                    <a:pt x="272" y="934"/>
                  </a:lnTo>
                  <a:lnTo>
                    <a:pt x="272" y="940"/>
                  </a:lnTo>
                  <a:lnTo>
                    <a:pt x="266" y="940"/>
                  </a:lnTo>
                  <a:lnTo>
                    <a:pt x="272" y="946"/>
                  </a:lnTo>
                  <a:lnTo>
                    <a:pt x="266" y="946"/>
                  </a:lnTo>
                  <a:lnTo>
                    <a:pt x="272" y="952"/>
                  </a:lnTo>
                  <a:lnTo>
                    <a:pt x="272" y="956"/>
                  </a:lnTo>
                  <a:lnTo>
                    <a:pt x="278" y="956"/>
                  </a:lnTo>
                  <a:lnTo>
                    <a:pt x="284" y="962"/>
                  </a:lnTo>
                  <a:lnTo>
                    <a:pt x="290" y="962"/>
                  </a:lnTo>
                  <a:lnTo>
                    <a:pt x="296" y="968"/>
                  </a:lnTo>
                  <a:lnTo>
                    <a:pt x="296" y="974"/>
                  </a:lnTo>
                  <a:lnTo>
                    <a:pt x="302" y="974"/>
                  </a:lnTo>
                  <a:lnTo>
                    <a:pt x="306" y="980"/>
                  </a:lnTo>
                  <a:lnTo>
                    <a:pt x="324" y="980"/>
                  </a:lnTo>
                  <a:lnTo>
                    <a:pt x="324" y="986"/>
                  </a:lnTo>
                  <a:lnTo>
                    <a:pt x="354" y="986"/>
                  </a:lnTo>
                  <a:lnTo>
                    <a:pt x="360" y="992"/>
                  </a:lnTo>
                  <a:lnTo>
                    <a:pt x="360" y="998"/>
                  </a:lnTo>
                  <a:lnTo>
                    <a:pt x="400" y="998"/>
                  </a:lnTo>
                  <a:lnTo>
                    <a:pt x="400" y="1004"/>
                  </a:lnTo>
                  <a:lnTo>
                    <a:pt x="394" y="1004"/>
                  </a:lnTo>
                  <a:lnTo>
                    <a:pt x="394" y="1010"/>
                  </a:lnTo>
                  <a:lnTo>
                    <a:pt x="406" y="1010"/>
                  </a:lnTo>
                  <a:lnTo>
                    <a:pt x="406" y="1014"/>
                  </a:lnTo>
                  <a:lnTo>
                    <a:pt x="412" y="1014"/>
                  </a:lnTo>
                  <a:lnTo>
                    <a:pt x="412" y="1020"/>
                  </a:lnTo>
                  <a:lnTo>
                    <a:pt x="418" y="1020"/>
                  </a:lnTo>
                  <a:lnTo>
                    <a:pt x="418" y="1026"/>
                  </a:lnTo>
                  <a:lnTo>
                    <a:pt x="428" y="1026"/>
                  </a:lnTo>
                  <a:lnTo>
                    <a:pt x="428" y="1020"/>
                  </a:lnTo>
                  <a:lnTo>
                    <a:pt x="440" y="1020"/>
                  </a:lnTo>
                  <a:lnTo>
                    <a:pt x="440" y="1010"/>
                  </a:lnTo>
                  <a:lnTo>
                    <a:pt x="446" y="1010"/>
                  </a:lnTo>
                  <a:lnTo>
                    <a:pt x="452" y="1004"/>
                  </a:lnTo>
                  <a:lnTo>
                    <a:pt x="458" y="998"/>
                  </a:lnTo>
                  <a:lnTo>
                    <a:pt x="452" y="992"/>
                  </a:lnTo>
                  <a:lnTo>
                    <a:pt x="452" y="980"/>
                  </a:lnTo>
                  <a:lnTo>
                    <a:pt x="446" y="974"/>
                  </a:lnTo>
                  <a:lnTo>
                    <a:pt x="446" y="962"/>
                  </a:lnTo>
                  <a:lnTo>
                    <a:pt x="440" y="956"/>
                  </a:lnTo>
                  <a:lnTo>
                    <a:pt x="440" y="946"/>
                  </a:lnTo>
                  <a:lnTo>
                    <a:pt x="446" y="946"/>
                  </a:lnTo>
                  <a:lnTo>
                    <a:pt x="452" y="940"/>
                  </a:lnTo>
                  <a:lnTo>
                    <a:pt x="452" y="934"/>
                  </a:lnTo>
                  <a:lnTo>
                    <a:pt x="464" y="934"/>
                  </a:lnTo>
                  <a:lnTo>
                    <a:pt x="464" y="928"/>
                  </a:lnTo>
                  <a:lnTo>
                    <a:pt x="458" y="928"/>
                  </a:lnTo>
                  <a:lnTo>
                    <a:pt x="446" y="916"/>
                  </a:lnTo>
                  <a:lnTo>
                    <a:pt x="440" y="916"/>
                  </a:lnTo>
                  <a:lnTo>
                    <a:pt x="440" y="910"/>
                  </a:lnTo>
                  <a:lnTo>
                    <a:pt x="446" y="910"/>
                  </a:lnTo>
                  <a:lnTo>
                    <a:pt x="440" y="904"/>
                  </a:lnTo>
                  <a:lnTo>
                    <a:pt x="440" y="898"/>
                  </a:lnTo>
                  <a:lnTo>
                    <a:pt x="434" y="894"/>
                  </a:lnTo>
                  <a:lnTo>
                    <a:pt x="434" y="888"/>
                  </a:lnTo>
                  <a:lnTo>
                    <a:pt x="418" y="888"/>
                  </a:lnTo>
                  <a:lnTo>
                    <a:pt x="418" y="876"/>
                  </a:lnTo>
                  <a:lnTo>
                    <a:pt x="412" y="876"/>
                  </a:lnTo>
                  <a:lnTo>
                    <a:pt x="406" y="870"/>
                  </a:lnTo>
                  <a:lnTo>
                    <a:pt x="412" y="870"/>
                  </a:lnTo>
                  <a:lnTo>
                    <a:pt x="412" y="840"/>
                  </a:lnTo>
                  <a:lnTo>
                    <a:pt x="422" y="840"/>
                  </a:lnTo>
                  <a:lnTo>
                    <a:pt x="422" y="836"/>
                  </a:lnTo>
                  <a:lnTo>
                    <a:pt x="418" y="836"/>
                  </a:lnTo>
                  <a:lnTo>
                    <a:pt x="422" y="830"/>
                  </a:lnTo>
                  <a:lnTo>
                    <a:pt x="428" y="830"/>
                  </a:lnTo>
                  <a:lnTo>
                    <a:pt x="428" y="836"/>
                  </a:lnTo>
                  <a:lnTo>
                    <a:pt x="434" y="836"/>
                  </a:lnTo>
                  <a:lnTo>
                    <a:pt x="434" y="840"/>
                  </a:lnTo>
                  <a:lnTo>
                    <a:pt x="440" y="846"/>
                  </a:lnTo>
                  <a:lnTo>
                    <a:pt x="440" y="840"/>
                  </a:lnTo>
                  <a:lnTo>
                    <a:pt x="446" y="840"/>
                  </a:lnTo>
                  <a:lnTo>
                    <a:pt x="446" y="836"/>
                  </a:lnTo>
                  <a:lnTo>
                    <a:pt x="440" y="836"/>
                  </a:lnTo>
                  <a:lnTo>
                    <a:pt x="440" y="824"/>
                  </a:lnTo>
                  <a:lnTo>
                    <a:pt x="446" y="824"/>
                  </a:lnTo>
                  <a:lnTo>
                    <a:pt x="446" y="818"/>
                  </a:lnTo>
                  <a:lnTo>
                    <a:pt x="452" y="818"/>
                  </a:lnTo>
                  <a:lnTo>
                    <a:pt x="458" y="812"/>
                  </a:lnTo>
                  <a:lnTo>
                    <a:pt x="464" y="812"/>
                  </a:lnTo>
                  <a:lnTo>
                    <a:pt x="464" y="806"/>
                  </a:lnTo>
                  <a:lnTo>
                    <a:pt x="474" y="806"/>
                  </a:lnTo>
                  <a:lnTo>
                    <a:pt x="474" y="800"/>
                  </a:lnTo>
                  <a:lnTo>
                    <a:pt x="480" y="800"/>
                  </a:lnTo>
                  <a:lnTo>
                    <a:pt x="480" y="806"/>
                  </a:lnTo>
                  <a:lnTo>
                    <a:pt x="486" y="806"/>
                  </a:lnTo>
                  <a:lnTo>
                    <a:pt x="486" y="800"/>
                  </a:lnTo>
                  <a:lnTo>
                    <a:pt x="498" y="800"/>
                  </a:lnTo>
                  <a:lnTo>
                    <a:pt x="498" y="806"/>
                  </a:lnTo>
                  <a:lnTo>
                    <a:pt x="510" y="806"/>
                  </a:lnTo>
                  <a:lnTo>
                    <a:pt x="516" y="812"/>
                  </a:lnTo>
                  <a:lnTo>
                    <a:pt x="522" y="812"/>
                  </a:lnTo>
                  <a:lnTo>
                    <a:pt x="522" y="818"/>
                  </a:lnTo>
                  <a:lnTo>
                    <a:pt x="538" y="818"/>
                  </a:lnTo>
                  <a:lnTo>
                    <a:pt x="538" y="824"/>
                  </a:lnTo>
                  <a:lnTo>
                    <a:pt x="544" y="824"/>
                  </a:lnTo>
                  <a:lnTo>
                    <a:pt x="544" y="830"/>
                  </a:lnTo>
                  <a:lnTo>
                    <a:pt x="550" y="824"/>
                  </a:lnTo>
                  <a:lnTo>
                    <a:pt x="550" y="818"/>
                  </a:lnTo>
                  <a:lnTo>
                    <a:pt x="574" y="818"/>
                  </a:lnTo>
                  <a:lnTo>
                    <a:pt x="574" y="812"/>
                  </a:lnTo>
                  <a:lnTo>
                    <a:pt x="580" y="818"/>
                  </a:lnTo>
                  <a:lnTo>
                    <a:pt x="586" y="818"/>
                  </a:lnTo>
                  <a:lnTo>
                    <a:pt x="586" y="812"/>
                  </a:lnTo>
                  <a:lnTo>
                    <a:pt x="590" y="812"/>
                  </a:lnTo>
                  <a:lnTo>
                    <a:pt x="590" y="818"/>
                  </a:lnTo>
                  <a:lnTo>
                    <a:pt x="596" y="824"/>
                  </a:lnTo>
                  <a:lnTo>
                    <a:pt x="602" y="824"/>
                  </a:lnTo>
                  <a:lnTo>
                    <a:pt x="602" y="830"/>
                  </a:lnTo>
                  <a:lnTo>
                    <a:pt x="608" y="830"/>
                  </a:lnTo>
                  <a:lnTo>
                    <a:pt x="608" y="818"/>
                  </a:lnTo>
                  <a:lnTo>
                    <a:pt x="614" y="818"/>
                  </a:lnTo>
                  <a:lnTo>
                    <a:pt x="614" y="824"/>
                  </a:lnTo>
                  <a:lnTo>
                    <a:pt x="626" y="824"/>
                  </a:lnTo>
                  <a:lnTo>
                    <a:pt x="632" y="818"/>
                  </a:lnTo>
                  <a:lnTo>
                    <a:pt x="638" y="812"/>
                  </a:lnTo>
                  <a:lnTo>
                    <a:pt x="638" y="806"/>
                  </a:lnTo>
                  <a:lnTo>
                    <a:pt x="620" y="806"/>
                  </a:lnTo>
                  <a:lnTo>
                    <a:pt x="614" y="800"/>
                  </a:lnTo>
                  <a:lnTo>
                    <a:pt x="614" y="794"/>
                  </a:lnTo>
                  <a:lnTo>
                    <a:pt x="620" y="794"/>
                  </a:lnTo>
                  <a:lnTo>
                    <a:pt x="626" y="788"/>
                  </a:lnTo>
                  <a:lnTo>
                    <a:pt x="626" y="772"/>
                  </a:lnTo>
                  <a:lnTo>
                    <a:pt x="644" y="772"/>
                  </a:lnTo>
                  <a:lnTo>
                    <a:pt x="644" y="766"/>
                  </a:lnTo>
                  <a:lnTo>
                    <a:pt x="626" y="766"/>
                  </a:lnTo>
                  <a:lnTo>
                    <a:pt x="626" y="748"/>
                  </a:lnTo>
                  <a:lnTo>
                    <a:pt x="654" y="748"/>
                  </a:lnTo>
                  <a:lnTo>
                    <a:pt x="654" y="742"/>
                  </a:lnTo>
                  <a:lnTo>
                    <a:pt x="690" y="742"/>
                  </a:lnTo>
                  <a:lnTo>
                    <a:pt x="690" y="730"/>
                  </a:lnTo>
                  <a:lnTo>
                    <a:pt x="696" y="730"/>
                  </a:lnTo>
                  <a:lnTo>
                    <a:pt x="696" y="736"/>
                  </a:lnTo>
                  <a:lnTo>
                    <a:pt x="702" y="736"/>
                  </a:lnTo>
                  <a:lnTo>
                    <a:pt x="702" y="730"/>
                  </a:lnTo>
                  <a:lnTo>
                    <a:pt x="730" y="730"/>
                  </a:lnTo>
                  <a:lnTo>
                    <a:pt x="736" y="724"/>
                  </a:lnTo>
                  <a:lnTo>
                    <a:pt x="736" y="720"/>
                  </a:lnTo>
                  <a:lnTo>
                    <a:pt x="742" y="720"/>
                  </a:lnTo>
                  <a:lnTo>
                    <a:pt x="742" y="714"/>
                  </a:lnTo>
                  <a:lnTo>
                    <a:pt x="748" y="720"/>
                  </a:lnTo>
                  <a:lnTo>
                    <a:pt x="748" y="714"/>
                  </a:lnTo>
                  <a:lnTo>
                    <a:pt x="760" y="714"/>
                  </a:lnTo>
                  <a:lnTo>
                    <a:pt x="760" y="720"/>
                  </a:lnTo>
                  <a:lnTo>
                    <a:pt x="770" y="720"/>
                  </a:lnTo>
                  <a:lnTo>
                    <a:pt x="770" y="714"/>
                  </a:lnTo>
                  <a:lnTo>
                    <a:pt x="776" y="714"/>
                  </a:lnTo>
                  <a:lnTo>
                    <a:pt x="776" y="730"/>
                  </a:lnTo>
                  <a:lnTo>
                    <a:pt x="782" y="730"/>
                  </a:lnTo>
                  <a:lnTo>
                    <a:pt x="782" y="742"/>
                  </a:lnTo>
                  <a:lnTo>
                    <a:pt x="812" y="742"/>
                  </a:lnTo>
                  <a:lnTo>
                    <a:pt x="812" y="748"/>
                  </a:lnTo>
                  <a:lnTo>
                    <a:pt x="822" y="748"/>
                  </a:lnTo>
                  <a:lnTo>
                    <a:pt x="822" y="754"/>
                  </a:lnTo>
                  <a:lnTo>
                    <a:pt x="828" y="754"/>
                  </a:lnTo>
                  <a:lnTo>
                    <a:pt x="828" y="760"/>
                  </a:lnTo>
                  <a:lnTo>
                    <a:pt x="834" y="754"/>
                  </a:lnTo>
                  <a:lnTo>
                    <a:pt x="840" y="754"/>
                  </a:lnTo>
                  <a:lnTo>
                    <a:pt x="846" y="748"/>
                  </a:lnTo>
                  <a:lnTo>
                    <a:pt x="846" y="742"/>
                  </a:lnTo>
                  <a:lnTo>
                    <a:pt x="858" y="742"/>
                  </a:lnTo>
                  <a:lnTo>
                    <a:pt x="858" y="748"/>
                  </a:lnTo>
                  <a:lnTo>
                    <a:pt x="864" y="754"/>
                  </a:lnTo>
                  <a:lnTo>
                    <a:pt x="870" y="754"/>
                  </a:lnTo>
                  <a:lnTo>
                    <a:pt x="876" y="760"/>
                  </a:lnTo>
                  <a:lnTo>
                    <a:pt x="880" y="766"/>
                  </a:lnTo>
                  <a:lnTo>
                    <a:pt x="886" y="778"/>
                  </a:lnTo>
                  <a:lnTo>
                    <a:pt x="892" y="778"/>
                  </a:lnTo>
                  <a:lnTo>
                    <a:pt x="892" y="782"/>
                  </a:lnTo>
                  <a:lnTo>
                    <a:pt x="898" y="782"/>
                  </a:lnTo>
                  <a:lnTo>
                    <a:pt x="898" y="788"/>
                  </a:lnTo>
                  <a:lnTo>
                    <a:pt x="904" y="800"/>
                  </a:lnTo>
                  <a:lnTo>
                    <a:pt x="910" y="806"/>
                  </a:lnTo>
                  <a:lnTo>
                    <a:pt x="910" y="818"/>
                  </a:lnTo>
                  <a:lnTo>
                    <a:pt x="922" y="818"/>
                  </a:lnTo>
                  <a:lnTo>
                    <a:pt x="922" y="806"/>
                  </a:lnTo>
                  <a:lnTo>
                    <a:pt x="928" y="812"/>
                  </a:lnTo>
                  <a:lnTo>
                    <a:pt x="934" y="812"/>
                  </a:lnTo>
                  <a:lnTo>
                    <a:pt x="934" y="824"/>
                  </a:lnTo>
                  <a:lnTo>
                    <a:pt x="938" y="824"/>
                  </a:lnTo>
                  <a:lnTo>
                    <a:pt x="938" y="818"/>
                  </a:lnTo>
                  <a:lnTo>
                    <a:pt x="944" y="818"/>
                  </a:lnTo>
                  <a:lnTo>
                    <a:pt x="944" y="824"/>
                  </a:lnTo>
                  <a:lnTo>
                    <a:pt x="950" y="818"/>
                  </a:lnTo>
                  <a:lnTo>
                    <a:pt x="950" y="824"/>
                  </a:lnTo>
                  <a:lnTo>
                    <a:pt x="956" y="818"/>
                  </a:lnTo>
                  <a:lnTo>
                    <a:pt x="974" y="818"/>
                  </a:lnTo>
                  <a:lnTo>
                    <a:pt x="974" y="824"/>
                  </a:lnTo>
                  <a:lnTo>
                    <a:pt x="980" y="830"/>
                  </a:lnTo>
                  <a:lnTo>
                    <a:pt x="980" y="836"/>
                  </a:lnTo>
                  <a:lnTo>
                    <a:pt x="992" y="836"/>
                  </a:lnTo>
                  <a:lnTo>
                    <a:pt x="992" y="846"/>
                  </a:lnTo>
                  <a:lnTo>
                    <a:pt x="1002" y="846"/>
                  </a:lnTo>
                  <a:lnTo>
                    <a:pt x="1008" y="852"/>
                  </a:lnTo>
                  <a:lnTo>
                    <a:pt x="1008" y="846"/>
                  </a:lnTo>
                  <a:lnTo>
                    <a:pt x="1020" y="846"/>
                  </a:lnTo>
                  <a:lnTo>
                    <a:pt x="1020" y="858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50" y="852"/>
                  </a:lnTo>
                  <a:lnTo>
                    <a:pt x="1050" y="846"/>
                  </a:lnTo>
                  <a:lnTo>
                    <a:pt x="1060" y="846"/>
                  </a:lnTo>
                  <a:lnTo>
                    <a:pt x="1060" y="840"/>
                  </a:lnTo>
                  <a:lnTo>
                    <a:pt x="1066" y="840"/>
                  </a:lnTo>
                  <a:lnTo>
                    <a:pt x="1066" y="836"/>
                  </a:lnTo>
                  <a:lnTo>
                    <a:pt x="1072" y="836"/>
                  </a:lnTo>
                  <a:lnTo>
                    <a:pt x="1072" y="830"/>
                  </a:lnTo>
                  <a:lnTo>
                    <a:pt x="1090" y="830"/>
                  </a:lnTo>
                  <a:lnTo>
                    <a:pt x="1090" y="824"/>
                  </a:lnTo>
                  <a:lnTo>
                    <a:pt x="1102" y="824"/>
                  </a:lnTo>
                  <a:lnTo>
                    <a:pt x="1102" y="818"/>
                  </a:lnTo>
                  <a:lnTo>
                    <a:pt x="1108" y="824"/>
                  </a:lnTo>
                  <a:lnTo>
                    <a:pt x="1108" y="818"/>
                  </a:lnTo>
                  <a:lnTo>
                    <a:pt x="1112" y="818"/>
                  </a:lnTo>
                  <a:lnTo>
                    <a:pt x="1112" y="824"/>
                  </a:lnTo>
                  <a:lnTo>
                    <a:pt x="1130" y="824"/>
                  </a:lnTo>
                  <a:lnTo>
                    <a:pt x="1130" y="836"/>
                  </a:lnTo>
                  <a:lnTo>
                    <a:pt x="1136" y="836"/>
                  </a:lnTo>
                  <a:lnTo>
                    <a:pt x="1136" y="840"/>
                  </a:lnTo>
                  <a:lnTo>
                    <a:pt x="1142" y="836"/>
                  </a:lnTo>
                  <a:lnTo>
                    <a:pt x="1142" y="840"/>
                  </a:lnTo>
                  <a:lnTo>
                    <a:pt x="1170" y="840"/>
                  </a:lnTo>
                  <a:lnTo>
                    <a:pt x="1176" y="846"/>
                  </a:lnTo>
                  <a:lnTo>
                    <a:pt x="1182" y="846"/>
                  </a:lnTo>
                  <a:lnTo>
                    <a:pt x="1182" y="840"/>
                  </a:lnTo>
                  <a:lnTo>
                    <a:pt x="1188" y="840"/>
                  </a:lnTo>
                  <a:lnTo>
                    <a:pt x="1188" y="818"/>
                  </a:lnTo>
                  <a:lnTo>
                    <a:pt x="1182" y="818"/>
                  </a:lnTo>
                  <a:lnTo>
                    <a:pt x="1188" y="812"/>
                  </a:lnTo>
                  <a:lnTo>
                    <a:pt x="1188" y="800"/>
                  </a:lnTo>
                  <a:lnTo>
                    <a:pt x="1200" y="800"/>
                  </a:lnTo>
                  <a:lnTo>
                    <a:pt x="1200" y="794"/>
                  </a:lnTo>
                  <a:lnTo>
                    <a:pt x="1218" y="794"/>
                  </a:lnTo>
                  <a:lnTo>
                    <a:pt x="1218" y="800"/>
                  </a:lnTo>
                  <a:lnTo>
                    <a:pt x="1228" y="800"/>
                  </a:lnTo>
                  <a:lnTo>
                    <a:pt x="1228" y="806"/>
                  </a:lnTo>
                  <a:lnTo>
                    <a:pt x="1252" y="806"/>
                  </a:lnTo>
                  <a:lnTo>
                    <a:pt x="1252" y="830"/>
                  </a:lnTo>
                  <a:lnTo>
                    <a:pt x="1270" y="830"/>
                  </a:lnTo>
                  <a:lnTo>
                    <a:pt x="1270" y="836"/>
                  </a:lnTo>
                  <a:lnTo>
                    <a:pt x="1282" y="836"/>
                  </a:lnTo>
                  <a:lnTo>
                    <a:pt x="1282" y="830"/>
                  </a:lnTo>
                  <a:lnTo>
                    <a:pt x="1322" y="830"/>
                  </a:lnTo>
                  <a:lnTo>
                    <a:pt x="1322" y="836"/>
                  </a:lnTo>
                  <a:lnTo>
                    <a:pt x="1328" y="840"/>
                  </a:lnTo>
                  <a:lnTo>
                    <a:pt x="1340" y="840"/>
                  </a:lnTo>
                  <a:lnTo>
                    <a:pt x="1340" y="846"/>
                  </a:lnTo>
                  <a:lnTo>
                    <a:pt x="1344" y="852"/>
                  </a:lnTo>
                  <a:lnTo>
                    <a:pt x="1356" y="852"/>
                  </a:lnTo>
                  <a:lnTo>
                    <a:pt x="1362" y="858"/>
                  </a:lnTo>
                  <a:lnTo>
                    <a:pt x="1386" y="858"/>
                  </a:lnTo>
                  <a:lnTo>
                    <a:pt x="1386" y="852"/>
                  </a:lnTo>
                  <a:lnTo>
                    <a:pt x="1402" y="852"/>
                  </a:lnTo>
                  <a:lnTo>
                    <a:pt x="1408" y="846"/>
                  </a:lnTo>
                  <a:lnTo>
                    <a:pt x="1420" y="846"/>
                  </a:lnTo>
                  <a:lnTo>
                    <a:pt x="1420" y="840"/>
                  </a:lnTo>
                  <a:lnTo>
                    <a:pt x="1426" y="836"/>
                  </a:lnTo>
                  <a:lnTo>
                    <a:pt x="1432" y="836"/>
                  </a:lnTo>
                  <a:lnTo>
                    <a:pt x="1432" y="830"/>
                  </a:lnTo>
                  <a:lnTo>
                    <a:pt x="1444" y="830"/>
                  </a:lnTo>
                  <a:lnTo>
                    <a:pt x="1444" y="836"/>
                  </a:lnTo>
                  <a:lnTo>
                    <a:pt x="1450" y="836"/>
                  </a:lnTo>
                  <a:lnTo>
                    <a:pt x="1450" y="840"/>
                  </a:lnTo>
                  <a:lnTo>
                    <a:pt x="1472" y="840"/>
                  </a:lnTo>
                  <a:lnTo>
                    <a:pt x="1472" y="846"/>
                  </a:lnTo>
                  <a:lnTo>
                    <a:pt x="1502" y="846"/>
                  </a:lnTo>
                  <a:lnTo>
                    <a:pt x="1502" y="840"/>
                  </a:lnTo>
                  <a:lnTo>
                    <a:pt x="1508" y="840"/>
                  </a:lnTo>
                  <a:lnTo>
                    <a:pt x="1512" y="836"/>
                  </a:lnTo>
                  <a:lnTo>
                    <a:pt x="1512" y="818"/>
                  </a:lnTo>
                  <a:lnTo>
                    <a:pt x="1518" y="812"/>
                  </a:lnTo>
                  <a:lnTo>
                    <a:pt x="1518" y="806"/>
                  </a:lnTo>
                  <a:lnTo>
                    <a:pt x="1524" y="806"/>
                  </a:lnTo>
                  <a:lnTo>
                    <a:pt x="1524" y="794"/>
                  </a:lnTo>
                  <a:lnTo>
                    <a:pt x="1530" y="794"/>
                  </a:lnTo>
                  <a:lnTo>
                    <a:pt x="1530" y="778"/>
                  </a:lnTo>
                  <a:lnTo>
                    <a:pt x="1524" y="778"/>
                  </a:lnTo>
                  <a:lnTo>
                    <a:pt x="1524" y="772"/>
                  </a:lnTo>
                  <a:lnTo>
                    <a:pt x="1530" y="766"/>
                  </a:lnTo>
                  <a:lnTo>
                    <a:pt x="1548" y="766"/>
                  </a:lnTo>
                  <a:lnTo>
                    <a:pt x="1548" y="760"/>
                  </a:lnTo>
                  <a:lnTo>
                    <a:pt x="1582" y="760"/>
                  </a:lnTo>
                  <a:lnTo>
                    <a:pt x="1582" y="766"/>
                  </a:lnTo>
                  <a:lnTo>
                    <a:pt x="1606" y="766"/>
                  </a:lnTo>
                  <a:lnTo>
                    <a:pt x="1606" y="772"/>
                  </a:lnTo>
                  <a:lnTo>
                    <a:pt x="1612" y="778"/>
                  </a:lnTo>
                  <a:lnTo>
                    <a:pt x="1612" y="788"/>
                  </a:lnTo>
                  <a:lnTo>
                    <a:pt x="1618" y="788"/>
                  </a:lnTo>
                  <a:lnTo>
                    <a:pt x="1618" y="800"/>
                  </a:lnTo>
                  <a:lnTo>
                    <a:pt x="1624" y="800"/>
                  </a:lnTo>
                  <a:lnTo>
                    <a:pt x="1624" y="818"/>
                  </a:lnTo>
                  <a:lnTo>
                    <a:pt x="1628" y="818"/>
                  </a:lnTo>
                  <a:lnTo>
                    <a:pt x="1628" y="830"/>
                  </a:lnTo>
                  <a:lnTo>
                    <a:pt x="1634" y="830"/>
                  </a:lnTo>
                  <a:lnTo>
                    <a:pt x="1634" y="846"/>
                  </a:lnTo>
                  <a:lnTo>
                    <a:pt x="1652" y="846"/>
                  </a:lnTo>
                  <a:lnTo>
                    <a:pt x="1652" y="852"/>
                  </a:lnTo>
                  <a:lnTo>
                    <a:pt x="1664" y="852"/>
                  </a:lnTo>
                  <a:lnTo>
                    <a:pt x="1664" y="858"/>
                  </a:lnTo>
                  <a:lnTo>
                    <a:pt x="1670" y="858"/>
                  </a:lnTo>
                  <a:lnTo>
                    <a:pt x="1676" y="864"/>
                  </a:lnTo>
                  <a:lnTo>
                    <a:pt x="1682" y="864"/>
                  </a:lnTo>
                  <a:lnTo>
                    <a:pt x="1682" y="882"/>
                  </a:lnTo>
                  <a:lnTo>
                    <a:pt x="1686" y="882"/>
                  </a:lnTo>
                  <a:lnTo>
                    <a:pt x="1686" y="888"/>
                  </a:lnTo>
                  <a:lnTo>
                    <a:pt x="1692" y="888"/>
                  </a:lnTo>
                  <a:lnTo>
                    <a:pt x="1692" y="894"/>
                  </a:lnTo>
                  <a:lnTo>
                    <a:pt x="1704" y="894"/>
                  </a:lnTo>
                  <a:lnTo>
                    <a:pt x="1704" y="888"/>
                  </a:lnTo>
                  <a:lnTo>
                    <a:pt x="1710" y="888"/>
                  </a:lnTo>
                  <a:lnTo>
                    <a:pt x="1710" y="882"/>
                  </a:lnTo>
                  <a:lnTo>
                    <a:pt x="1728" y="882"/>
                  </a:lnTo>
                  <a:lnTo>
                    <a:pt x="1728" y="876"/>
                  </a:lnTo>
                  <a:lnTo>
                    <a:pt x="1740" y="876"/>
                  </a:lnTo>
                  <a:lnTo>
                    <a:pt x="1740" y="898"/>
                  </a:lnTo>
                  <a:lnTo>
                    <a:pt x="1734" y="898"/>
                  </a:lnTo>
                  <a:lnTo>
                    <a:pt x="1734" y="910"/>
                  </a:lnTo>
                  <a:lnTo>
                    <a:pt x="1728" y="910"/>
                  </a:lnTo>
                  <a:lnTo>
                    <a:pt x="1728" y="934"/>
                  </a:lnTo>
                  <a:lnTo>
                    <a:pt x="1716" y="934"/>
                  </a:lnTo>
                  <a:lnTo>
                    <a:pt x="1716" y="946"/>
                  </a:lnTo>
                  <a:lnTo>
                    <a:pt x="1704" y="946"/>
                  </a:lnTo>
                  <a:lnTo>
                    <a:pt x="1704" y="940"/>
                  </a:lnTo>
                  <a:lnTo>
                    <a:pt x="1698" y="940"/>
                  </a:lnTo>
                  <a:lnTo>
                    <a:pt x="1698" y="946"/>
                  </a:lnTo>
                  <a:lnTo>
                    <a:pt x="1686" y="946"/>
                  </a:lnTo>
                  <a:lnTo>
                    <a:pt x="1686" y="992"/>
                  </a:lnTo>
                  <a:lnTo>
                    <a:pt x="1682" y="992"/>
                  </a:lnTo>
                  <a:lnTo>
                    <a:pt x="1682" y="1004"/>
                  </a:lnTo>
                  <a:lnTo>
                    <a:pt x="1686" y="998"/>
                  </a:lnTo>
                  <a:lnTo>
                    <a:pt x="1692" y="992"/>
                  </a:lnTo>
                  <a:lnTo>
                    <a:pt x="1692" y="986"/>
                  </a:lnTo>
                  <a:lnTo>
                    <a:pt x="1704" y="986"/>
                  </a:lnTo>
                  <a:lnTo>
                    <a:pt x="1704" y="992"/>
                  </a:lnTo>
                  <a:lnTo>
                    <a:pt x="1710" y="992"/>
                  </a:lnTo>
                  <a:lnTo>
                    <a:pt x="1710" y="998"/>
                  </a:lnTo>
                  <a:lnTo>
                    <a:pt x="1716" y="992"/>
                  </a:lnTo>
                  <a:lnTo>
                    <a:pt x="1716" y="998"/>
                  </a:lnTo>
                  <a:lnTo>
                    <a:pt x="1728" y="998"/>
                  </a:lnTo>
                  <a:lnTo>
                    <a:pt x="1728" y="992"/>
                  </a:lnTo>
                  <a:lnTo>
                    <a:pt x="1734" y="992"/>
                  </a:lnTo>
                  <a:lnTo>
                    <a:pt x="1734" y="986"/>
                  </a:lnTo>
                  <a:lnTo>
                    <a:pt x="1744" y="986"/>
                  </a:lnTo>
                  <a:lnTo>
                    <a:pt x="1744" y="980"/>
                  </a:lnTo>
                  <a:lnTo>
                    <a:pt x="1750" y="980"/>
                  </a:lnTo>
                  <a:lnTo>
                    <a:pt x="1750" y="974"/>
                  </a:lnTo>
                  <a:lnTo>
                    <a:pt x="1756" y="974"/>
                  </a:lnTo>
                  <a:lnTo>
                    <a:pt x="1756" y="962"/>
                  </a:lnTo>
                  <a:lnTo>
                    <a:pt x="1768" y="962"/>
                  </a:lnTo>
                  <a:lnTo>
                    <a:pt x="1768" y="946"/>
                  </a:lnTo>
                  <a:lnTo>
                    <a:pt x="1774" y="946"/>
                  </a:lnTo>
                  <a:lnTo>
                    <a:pt x="1780" y="940"/>
                  </a:lnTo>
                  <a:lnTo>
                    <a:pt x="1780" y="934"/>
                  </a:lnTo>
                  <a:lnTo>
                    <a:pt x="1792" y="934"/>
                  </a:lnTo>
                  <a:lnTo>
                    <a:pt x="1792" y="916"/>
                  </a:lnTo>
                  <a:lnTo>
                    <a:pt x="1798" y="916"/>
                  </a:lnTo>
                  <a:lnTo>
                    <a:pt x="1798" y="910"/>
                  </a:lnTo>
                  <a:lnTo>
                    <a:pt x="1802" y="904"/>
                  </a:lnTo>
                  <a:lnTo>
                    <a:pt x="1802" y="898"/>
                  </a:lnTo>
                  <a:lnTo>
                    <a:pt x="1808" y="898"/>
                  </a:lnTo>
                  <a:lnTo>
                    <a:pt x="1808" y="888"/>
                  </a:lnTo>
                  <a:lnTo>
                    <a:pt x="1814" y="888"/>
                  </a:lnTo>
                  <a:lnTo>
                    <a:pt x="1814" y="882"/>
                  </a:lnTo>
                  <a:lnTo>
                    <a:pt x="1820" y="882"/>
                  </a:lnTo>
                  <a:lnTo>
                    <a:pt x="1820" y="876"/>
                  </a:lnTo>
                  <a:lnTo>
                    <a:pt x="1826" y="870"/>
                  </a:lnTo>
                  <a:lnTo>
                    <a:pt x="1826" y="864"/>
                  </a:lnTo>
                  <a:lnTo>
                    <a:pt x="1832" y="864"/>
                  </a:lnTo>
                  <a:lnTo>
                    <a:pt x="1832" y="806"/>
                  </a:lnTo>
                  <a:lnTo>
                    <a:pt x="1838" y="806"/>
                  </a:lnTo>
                  <a:lnTo>
                    <a:pt x="1838" y="800"/>
                  </a:lnTo>
                  <a:lnTo>
                    <a:pt x="1844" y="800"/>
                  </a:lnTo>
                  <a:lnTo>
                    <a:pt x="1844" y="778"/>
                  </a:lnTo>
                  <a:lnTo>
                    <a:pt x="1838" y="772"/>
                  </a:lnTo>
                  <a:lnTo>
                    <a:pt x="1832" y="766"/>
                  </a:lnTo>
                  <a:lnTo>
                    <a:pt x="1838" y="766"/>
                  </a:lnTo>
                  <a:lnTo>
                    <a:pt x="1844" y="772"/>
                  </a:lnTo>
                  <a:lnTo>
                    <a:pt x="1844" y="766"/>
                  </a:lnTo>
                  <a:lnTo>
                    <a:pt x="1838" y="760"/>
                  </a:lnTo>
                  <a:lnTo>
                    <a:pt x="1832" y="760"/>
                  </a:lnTo>
                  <a:lnTo>
                    <a:pt x="1832" y="754"/>
                  </a:lnTo>
                  <a:lnTo>
                    <a:pt x="1826" y="754"/>
                  </a:lnTo>
                  <a:lnTo>
                    <a:pt x="1826" y="742"/>
                  </a:lnTo>
                  <a:lnTo>
                    <a:pt x="1808" y="742"/>
                  </a:lnTo>
                  <a:lnTo>
                    <a:pt x="1808" y="748"/>
                  </a:lnTo>
                  <a:lnTo>
                    <a:pt x="1802" y="754"/>
                  </a:lnTo>
                  <a:lnTo>
                    <a:pt x="1802" y="760"/>
                  </a:lnTo>
                  <a:lnTo>
                    <a:pt x="1798" y="760"/>
                  </a:lnTo>
                  <a:lnTo>
                    <a:pt x="1798" y="754"/>
                  </a:lnTo>
                  <a:lnTo>
                    <a:pt x="1792" y="754"/>
                  </a:lnTo>
                  <a:lnTo>
                    <a:pt x="1792" y="760"/>
                  </a:lnTo>
                  <a:lnTo>
                    <a:pt x="1780" y="760"/>
                  </a:lnTo>
                  <a:lnTo>
                    <a:pt x="1780" y="754"/>
                  </a:lnTo>
                  <a:lnTo>
                    <a:pt x="1774" y="754"/>
                  </a:lnTo>
                  <a:lnTo>
                    <a:pt x="1774" y="730"/>
                  </a:lnTo>
                  <a:lnTo>
                    <a:pt x="1768" y="736"/>
                  </a:lnTo>
                  <a:lnTo>
                    <a:pt x="1768" y="730"/>
                  </a:lnTo>
                  <a:lnTo>
                    <a:pt x="1762" y="736"/>
                  </a:lnTo>
                  <a:lnTo>
                    <a:pt x="1756" y="736"/>
                  </a:lnTo>
                  <a:lnTo>
                    <a:pt x="1756" y="730"/>
                  </a:lnTo>
                  <a:lnTo>
                    <a:pt x="1750" y="730"/>
                  </a:lnTo>
                  <a:lnTo>
                    <a:pt x="1750" y="724"/>
                  </a:lnTo>
                  <a:lnTo>
                    <a:pt x="1756" y="724"/>
                  </a:lnTo>
                  <a:lnTo>
                    <a:pt x="1756" y="720"/>
                  </a:lnTo>
                  <a:lnTo>
                    <a:pt x="1762" y="720"/>
                  </a:lnTo>
                  <a:lnTo>
                    <a:pt x="1762" y="714"/>
                  </a:lnTo>
                  <a:lnTo>
                    <a:pt x="1768" y="714"/>
                  </a:lnTo>
                  <a:lnTo>
                    <a:pt x="1774" y="708"/>
                  </a:lnTo>
                  <a:lnTo>
                    <a:pt x="1780" y="708"/>
                  </a:lnTo>
                  <a:lnTo>
                    <a:pt x="1780" y="702"/>
                  </a:lnTo>
                  <a:lnTo>
                    <a:pt x="1786" y="702"/>
                  </a:lnTo>
                  <a:lnTo>
                    <a:pt x="1792" y="696"/>
                  </a:lnTo>
                  <a:lnTo>
                    <a:pt x="1792" y="690"/>
                  </a:lnTo>
                  <a:lnTo>
                    <a:pt x="1798" y="690"/>
                  </a:lnTo>
                  <a:lnTo>
                    <a:pt x="1798" y="684"/>
                  </a:lnTo>
                  <a:lnTo>
                    <a:pt x="1802" y="678"/>
                  </a:lnTo>
                  <a:lnTo>
                    <a:pt x="1808" y="678"/>
                  </a:lnTo>
                  <a:lnTo>
                    <a:pt x="1808" y="672"/>
                  </a:lnTo>
                  <a:lnTo>
                    <a:pt x="1814" y="672"/>
                  </a:lnTo>
                  <a:lnTo>
                    <a:pt x="1814" y="666"/>
                  </a:lnTo>
                  <a:lnTo>
                    <a:pt x="1820" y="666"/>
                  </a:lnTo>
                  <a:lnTo>
                    <a:pt x="1820" y="662"/>
                  </a:lnTo>
                  <a:lnTo>
                    <a:pt x="1832" y="662"/>
                  </a:lnTo>
                  <a:lnTo>
                    <a:pt x="1832" y="650"/>
                  </a:lnTo>
                  <a:lnTo>
                    <a:pt x="1838" y="644"/>
                  </a:lnTo>
                  <a:lnTo>
                    <a:pt x="1844" y="644"/>
                  </a:lnTo>
                  <a:lnTo>
                    <a:pt x="1844" y="638"/>
                  </a:lnTo>
                  <a:lnTo>
                    <a:pt x="1850" y="638"/>
                  </a:lnTo>
                  <a:lnTo>
                    <a:pt x="1850" y="632"/>
                  </a:lnTo>
                  <a:lnTo>
                    <a:pt x="1856" y="632"/>
                  </a:lnTo>
                  <a:lnTo>
                    <a:pt x="1856" y="626"/>
                  </a:lnTo>
                  <a:lnTo>
                    <a:pt x="1872" y="626"/>
                  </a:lnTo>
                  <a:lnTo>
                    <a:pt x="1872" y="620"/>
                  </a:lnTo>
                  <a:lnTo>
                    <a:pt x="1914" y="620"/>
                  </a:lnTo>
                  <a:lnTo>
                    <a:pt x="1908" y="626"/>
                  </a:lnTo>
                  <a:lnTo>
                    <a:pt x="1918" y="626"/>
                  </a:lnTo>
                  <a:lnTo>
                    <a:pt x="1918" y="620"/>
                  </a:lnTo>
                  <a:lnTo>
                    <a:pt x="1930" y="620"/>
                  </a:lnTo>
                  <a:lnTo>
                    <a:pt x="1930" y="626"/>
                  </a:lnTo>
                  <a:lnTo>
                    <a:pt x="1942" y="626"/>
                  </a:lnTo>
                  <a:lnTo>
                    <a:pt x="1942" y="620"/>
                  </a:lnTo>
                  <a:lnTo>
                    <a:pt x="1948" y="620"/>
                  </a:lnTo>
                  <a:lnTo>
                    <a:pt x="1948" y="626"/>
                  </a:lnTo>
                  <a:lnTo>
                    <a:pt x="1960" y="626"/>
                  </a:lnTo>
                  <a:lnTo>
                    <a:pt x="1960" y="620"/>
                  </a:lnTo>
                  <a:lnTo>
                    <a:pt x="1954" y="620"/>
                  </a:lnTo>
                  <a:lnTo>
                    <a:pt x="1960" y="614"/>
                  </a:lnTo>
                  <a:lnTo>
                    <a:pt x="1982" y="614"/>
                  </a:lnTo>
                  <a:lnTo>
                    <a:pt x="1982" y="620"/>
                  </a:lnTo>
                  <a:lnTo>
                    <a:pt x="1988" y="620"/>
                  </a:lnTo>
                  <a:lnTo>
                    <a:pt x="1988" y="614"/>
                  </a:lnTo>
                  <a:lnTo>
                    <a:pt x="1994" y="614"/>
                  </a:lnTo>
                  <a:lnTo>
                    <a:pt x="1994" y="620"/>
                  </a:lnTo>
                  <a:lnTo>
                    <a:pt x="2000" y="620"/>
                  </a:lnTo>
                  <a:lnTo>
                    <a:pt x="2000" y="626"/>
                  </a:lnTo>
                  <a:lnTo>
                    <a:pt x="1994" y="626"/>
                  </a:lnTo>
                  <a:lnTo>
                    <a:pt x="1994" y="632"/>
                  </a:lnTo>
                  <a:lnTo>
                    <a:pt x="2006" y="632"/>
                  </a:lnTo>
                  <a:lnTo>
                    <a:pt x="2012" y="626"/>
                  </a:lnTo>
                  <a:lnTo>
                    <a:pt x="2012" y="632"/>
                  </a:lnTo>
                  <a:lnTo>
                    <a:pt x="2018" y="632"/>
                  </a:lnTo>
                  <a:lnTo>
                    <a:pt x="2024" y="626"/>
                  </a:lnTo>
                  <a:lnTo>
                    <a:pt x="2052" y="626"/>
                  </a:lnTo>
                  <a:lnTo>
                    <a:pt x="2052" y="620"/>
                  </a:lnTo>
                  <a:lnTo>
                    <a:pt x="2046" y="620"/>
                  </a:lnTo>
                  <a:lnTo>
                    <a:pt x="2046" y="614"/>
                  </a:lnTo>
                  <a:lnTo>
                    <a:pt x="2040" y="614"/>
                  </a:lnTo>
                  <a:lnTo>
                    <a:pt x="2040" y="620"/>
                  </a:lnTo>
                  <a:lnTo>
                    <a:pt x="2034" y="620"/>
                  </a:lnTo>
                  <a:lnTo>
                    <a:pt x="2034" y="608"/>
                  </a:lnTo>
                  <a:lnTo>
                    <a:pt x="2040" y="608"/>
                  </a:lnTo>
                  <a:lnTo>
                    <a:pt x="2040" y="604"/>
                  </a:lnTo>
                  <a:lnTo>
                    <a:pt x="2046" y="604"/>
                  </a:lnTo>
                  <a:lnTo>
                    <a:pt x="2046" y="598"/>
                  </a:lnTo>
                  <a:lnTo>
                    <a:pt x="2052" y="598"/>
                  </a:lnTo>
                  <a:lnTo>
                    <a:pt x="2058" y="592"/>
                  </a:lnTo>
                  <a:lnTo>
                    <a:pt x="2058" y="586"/>
                  </a:lnTo>
                  <a:lnTo>
                    <a:pt x="2064" y="586"/>
                  </a:lnTo>
                  <a:lnTo>
                    <a:pt x="2064" y="580"/>
                  </a:lnTo>
                  <a:lnTo>
                    <a:pt x="2070" y="574"/>
                  </a:lnTo>
                  <a:lnTo>
                    <a:pt x="2076" y="574"/>
                  </a:lnTo>
                  <a:lnTo>
                    <a:pt x="2076" y="568"/>
                  </a:lnTo>
                  <a:lnTo>
                    <a:pt x="2082" y="568"/>
                  </a:lnTo>
                  <a:lnTo>
                    <a:pt x="2082" y="562"/>
                  </a:lnTo>
                  <a:lnTo>
                    <a:pt x="2128" y="562"/>
                  </a:lnTo>
                  <a:lnTo>
                    <a:pt x="2128" y="556"/>
                  </a:lnTo>
                  <a:lnTo>
                    <a:pt x="2134" y="556"/>
                  </a:lnTo>
                  <a:lnTo>
                    <a:pt x="2134" y="562"/>
                  </a:lnTo>
                  <a:lnTo>
                    <a:pt x="2128" y="568"/>
                  </a:lnTo>
                  <a:lnTo>
                    <a:pt x="2128" y="580"/>
                  </a:lnTo>
                  <a:lnTo>
                    <a:pt x="2134" y="580"/>
                  </a:lnTo>
                  <a:lnTo>
                    <a:pt x="2128" y="586"/>
                  </a:lnTo>
                  <a:lnTo>
                    <a:pt x="2140" y="586"/>
                  </a:lnTo>
                  <a:lnTo>
                    <a:pt x="2140" y="580"/>
                  </a:lnTo>
                  <a:lnTo>
                    <a:pt x="2146" y="580"/>
                  </a:lnTo>
                  <a:lnTo>
                    <a:pt x="2150" y="574"/>
                  </a:lnTo>
                  <a:lnTo>
                    <a:pt x="2156" y="574"/>
                  </a:lnTo>
                  <a:lnTo>
                    <a:pt x="2162" y="568"/>
                  </a:lnTo>
                  <a:lnTo>
                    <a:pt x="2174" y="568"/>
                  </a:lnTo>
                  <a:lnTo>
                    <a:pt x="2174" y="562"/>
                  </a:lnTo>
                  <a:lnTo>
                    <a:pt x="2168" y="562"/>
                  </a:lnTo>
                  <a:lnTo>
                    <a:pt x="2174" y="556"/>
                  </a:lnTo>
                  <a:lnTo>
                    <a:pt x="2174" y="546"/>
                  </a:lnTo>
                  <a:lnTo>
                    <a:pt x="2180" y="546"/>
                  </a:lnTo>
                  <a:lnTo>
                    <a:pt x="2180" y="540"/>
                  </a:lnTo>
                  <a:lnTo>
                    <a:pt x="2198" y="540"/>
                  </a:lnTo>
                  <a:lnTo>
                    <a:pt x="2198" y="546"/>
                  </a:lnTo>
                  <a:lnTo>
                    <a:pt x="2192" y="546"/>
                  </a:lnTo>
                  <a:lnTo>
                    <a:pt x="2192" y="562"/>
                  </a:lnTo>
                  <a:lnTo>
                    <a:pt x="2186" y="562"/>
                  </a:lnTo>
                  <a:lnTo>
                    <a:pt x="2180" y="574"/>
                  </a:lnTo>
                  <a:lnTo>
                    <a:pt x="2180" y="586"/>
                  </a:lnTo>
                  <a:lnTo>
                    <a:pt x="2168" y="586"/>
                  </a:lnTo>
                  <a:lnTo>
                    <a:pt x="2162" y="592"/>
                  </a:lnTo>
                  <a:lnTo>
                    <a:pt x="2156" y="592"/>
                  </a:lnTo>
                  <a:lnTo>
                    <a:pt x="2156" y="598"/>
                  </a:lnTo>
                  <a:lnTo>
                    <a:pt x="2150" y="598"/>
                  </a:lnTo>
                  <a:lnTo>
                    <a:pt x="2150" y="604"/>
                  </a:lnTo>
                  <a:lnTo>
                    <a:pt x="2146" y="608"/>
                  </a:lnTo>
                  <a:lnTo>
                    <a:pt x="2140" y="614"/>
                  </a:lnTo>
                  <a:lnTo>
                    <a:pt x="2134" y="614"/>
                  </a:lnTo>
                  <a:lnTo>
                    <a:pt x="2134" y="620"/>
                  </a:lnTo>
                  <a:lnTo>
                    <a:pt x="2128" y="620"/>
                  </a:lnTo>
                  <a:lnTo>
                    <a:pt x="2128" y="626"/>
                  </a:lnTo>
                  <a:lnTo>
                    <a:pt x="2122" y="626"/>
                  </a:lnTo>
                  <a:lnTo>
                    <a:pt x="2122" y="632"/>
                  </a:lnTo>
                  <a:lnTo>
                    <a:pt x="2116" y="638"/>
                  </a:lnTo>
                  <a:lnTo>
                    <a:pt x="2110" y="638"/>
                  </a:lnTo>
                  <a:lnTo>
                    <a:pt x="2110" y="644"/>
                  </a:lnTo>
                  <a:lnTo>
                    <a:pt x="2104" y="650"/>
                  </a:lnTo>
                  <a:lnTo>
                    <a:pt x="2098" y="650"/>
                  </a:lnTo>
                  <a:lnTo>
                    <a:pt x="2098" y="656"/>
                  </a:lnTo>
                  <a:lnTo>
                    <a:pt x="2088" y="656"/>
                  </a:lnTo>
                  <a:lnTo>
                    <a:pt x="2088" y="662"/>
                  </a:lnTo>
                  <a:lnTo>
                    <a:pt x="2082" y="662"/>
                  </a:lnTo>
                  <a:lnTo>
                    <a:pt x="2082" y="656"/>
                  </a:lnTo>
                  <a:lnTo>
                    <a:pt x="2076" y="662"/>
                  </a:lnTo>
                  <a:lnTo>
                    <a:pt x="2076" y="666"/>
                  </a:lnTo>
                  <a:lnTo>
                    <a:pt x="2082" y="666"/>
                  </a:lnTo>
                  <a:lnTo>
                    <a:pt x="2076" y="672"/>
                  </a:lnTo>
                  <a:lnTo>
                    <a:pt x="2076" y="678"/>
                  </a:lnTo>
                  <a:lnTo>
                    <a:pt x="2070" y="678"/>
                  </a:lnTo>
                  <a:lnTo>
                    <a:pt x="2070" y="684"/>
                  </a:lnTo>
                  <a:lnTo>
                    <a:pt x="2064" y="684"/>
                  </a:lnTo>
                  <a:lnTo>
                    <a:pt x="2064" y="690"/>
                  </a:lnTo>
                  <a:lnTo>
                    <a:pt x="2058" y="690"/>
                  </a:lnTo>
                  <a:lnTo>
                    <a:pt x="2058" y="748"/>
                  </a:lnTo>
                  <a:lnTo>
                    <a:pt x="2064" y="748"/>
                  </a:lnTo>
                  <a:lnTo>
                    <a:pt x="2064" y="778"/>
                  </a:lnTo>
                  <a:lnTo>
                    <a:pt x="2070" y="778"/>
                  </a:lnTo>
                  <a:lnTo>
                    <a:pt x="2070" y="782"/>
                  </a:lnTo>
                  <a:lnTo>
                    <a:pt x="2076" y="778"/>
                  </a:lnTo>
                  <a:lnTo>
                    <a:pt x="2076" y="782"/>
                  </a:lnTo>
                  <a:lnTo>
                    <a:pt x="2070" y="782"/>
                  </a:lnTo>
                  <a:lnTo>
                    <a:pt x="2076" y="788"/>
                  </a:lnTo>
                  <a:lnTo>
                    <a:pt x="2076" y="818"/>
                  </a:lnTo>
                  <a:lnTo>
                    <a:pt x="2082" y="812"/>
                  </a:lnTo>
                  <a:lnTo>
                    <a:pt x="2088" y="812"/>
                  </a:lnTo>
                  <a:lnTo>
                    <a:pt x="2088" y="806"/>
                  </a:lnTo>
                  <a:lnTo>
                    <a:pt x="2092" y="806"/>
                  </a:lnTo>
                  <a:lnTo>
                    <a:pt x="2092" y="800"/>
                  </a:lnTo>
                  <a:lnTo>
                    <a:pt x="2098" y="794"/>
                  </a:lnTo>
                  <a:lnTo>
                    <a:pt x="2098" y="788"/>
                  </a:lnTo>
                  <a:lnTo>
                    <a:pt x="2104" y="788"/>
                  </a:lnTo>
                  <a:lnTo>
                    <a:pt x="2104" y="772"/>
                  </a:lnTo>
                  <a:lnTo>
                    <a:pt x="2098" y="772"/>
                  </a:lnTo>
                  <a:lnTo>
                    <a:pt x="2104" y="766"/>
                  </a:lnTo>
                  <a:lnTo>
                    <a:pt x="2104" y="772"/>
                  </a:lnTo>
                  <a:lnTo>
                    <a:pt x="2110" y="772"/>
                  </a:lnTo>
                  <a:lnTo>
                    <a:pt x="2110" y="766"/>
                  </a:lnTo>
                  <a:lnTo>
                    <a:pt x="2128" y="766"/>
                  </a:lnTo>
                  <a:lnTo>
                    <a:pt x="2128" y="742"/>
                  </a:lnTo>
                  <a:lnTo>
                    <a:pt x="2134" y="742"/>
                  </a:lnTo>
                  <a:lnTo>
                    <a:pt x="2134" y="736"/>
                  </a:lnTo>
                  <a:lnTo>
                    <a:pt x="2150" y="736"/>
                  </a:lnTo>
                  <a:lnTo>
                    <a:pt x="2150" y="730"/>
                  </a:lnTo>
                  <a:lnTo>
                    <a:pt x="2156" y="730"/>
                  </a:lnTo>
                  <a:lnTo>
                    <a:pt x="2156" y="724"/>
                  </a:lnTo>
                  <a:lnTo>
                    <a:pt x="2150" y="724"/>
                  </a:lnTo>
                  <a:lnTo>
                    <a:pt x="2150" y="702"/>
                  </a:lnTo>
                  <a:lnTo>
                    <a:pt x="2156" y="702"/>
                  </a:lnTo>
                  <a:lnTo>
                    <a:pt x="2162" y="696"/>
                  </a:lnTo>
                  <a:lnTo>
                    <a:pt x="2168" y="702"/>
                  </a:lnTo>
                  <a:lnTo>
                    <a:pt x="2174" y="702"/>
                  </a:lnTo>
                  <a:lnTo>
                    <a:pt x="2180" y="696"/>
                  </a:lnTo>
                  <a:lnTo>
                    <a:pt x="2180" y="690"/>
                  </a:lnTo>
                  <a:lnTo>
                    <a:pt x="2174" y="690"/>
                  </a:lnTo>
                  <a:lnTo>
                    <a:pt x="2180" y="684"/>
                  </a:lnTo>
                  <a:lnTo>
                    <a:pt x="2168" y="684"/>
                  </a:lnTo>
                  <a:lnTo>
                    <a:pt x="2168" y="666"/>
                  </a:lnTo>
                  <a:lnTo>
                    <a:pt x="2174" y="666"/>
                  </a:lnTo>
                  <a:lnTo>
                    <a:pt x="2180" y="662"/>
                  </a:lnTo>
                  <a:lnTo>
                    <a:pt x="2174" y="656"/>
                  </a:lnTo>
                  <a:lnTo>
                    <a:pt x="2162" y="656"/>
                  </a:lnTo>
                  <a:lnTo>
                    <a:pt x="2162" y="662"/>
                  </a:lnTo>
                  <a:lnTo>
                    <a:pt x="2156" y="656"/>
                  </a:lnTo>
                  <a:lnTo>
                    <a:pt x="2156" y="644"/>
                  </a:lnTo>
                  <a:lnTo>
                    <a:pt x="2162" y="638"/>
                  </a:lnTo>
                  <a:lnTo>
                    <a:pt x="2168" y="638"/>
                  </a:lnTo>
                  <a:lnTo>
                    <a:pt x="2168" y="632"/>
                  </a:lnTo>
                  <a:lnTo>
                    <a:pt x="2174" y="632"/>
                  </a:lnTo>
                  <a:lnTo>
                    <a:pt x="2174" y="626"/>
                  </a:lnTo>
                  <a:lnTo>
                    <a:pt x="2180" y="626"/>
                  </a:lnTo>
                  <a:lnTo>
                    <a:pt x="2180" y="620"/>
                  </a:lnTo>
                  <a:lnTo>
                    <a:pt x="2174" y="620"/>
                  </a:lnTo>
                  <a:lnTo>
                    <a:pt x="2174" y="614"/>
                  </a:lnTo>
                  <a:lnTo>
                    <a:pt x="2180" y="614"/>
                  </a:lnTo>
                  <a:lnTo>
                    <a:pt x="2180" y="604"/>
                  </a:lnTo>
                  <a:lnTo>
                    <a:pt x="2198" y="604"/>
                  </a:lnTo>
                  <a:lnTo>
                    <a:pt x="2198" y="614"/>
                  </a:lnTo>
                  <a:lnTo>
                    <a:pt x="2204" y="608"/>
                  </a:lnTo>
                  <a:lnTo>
                    <a:pt x="2204" y="604"/>
                  </a:lnTo>
                  <a:lnTo>
                    <a:pt x="2208" y="598"/>
                  </a:lnTo>
                  <a:lnTo>
                    <a:pt x="2214" y="598"/>
                  </a:lnTo>
                  <a:lnTo>
                    <a:pt x="2220" y="592"/>
                  </a:lnTo>
                  <a:lnTo>
                    <a:pt x="2220" y="604"/>
                  </a:lnTo>
                  <a:lnTo>
                    <a:pt x="2214" y="604"/>
                  </a:lnTo>
                  <a:lnTo>
                    <a:pt x="2214" y="614"/>
                  </a:lnTo>
                  <a:lnTo>
                    <a:pt x="2220" y="614"/>
                  </a:lnTo>
                  <a:lnTo>
                    <a:pt x="2220" y="608"/>
                  </a:lnTo>
                  <a:lnTo>
                    <a:pt x="2226" y="608"/>
                  </a:lnTo>
                  <a:lnTo>
                    <a:pt x="2226" y="598"/>
                  </a:lnTo>
                  <a:lnTo>
                    <a:pt x="2244" y="598"/>
                  </a:lnTo>
                  <a:lnTo>
                    <a:pt x="2244" y="592"/>
                  </a:lnTo>
                  <a:lnTo>
                    <a:pt x="2266" y="592"/>
                  </a:lnTo>
                  <a:lnTo>
                    <a:pt x="2266" y="598"/>
                  </a:lnTo>
                  <a:lnTo>
                    <a:pt x="2272" y="598"/>
                  </a:lnTo>
                  <a:lnTo>
                    <a:pt x="2278" y="604"/>
                  </a:lnTo>
                  <a:lnTo>
                    <a:pt x="2278" y="608"/>
                  </a:lnTo>
                  <a:lnTo>
                    <a:pt x="2284" y="608"/>
                  </a:lnTo>
                  <a:lnTo>
                    <a:pt x="2284" y="598"/>
                  </a:lnTo>
                  <a:lnTo>
                    <a:pt x="2290" y="598"/>
                  </a:lnTo>
                  <a:lnTo>
                    <a:pt x="2290" y="592"/>
                  </a:lnTo>
                  <a:lnTo>
                    <a:pt x="2296" y="592"/>
                  </a:lnTo>
                  <a:lnTo>
                    <a:pt x="2296" y="586"/>
                  </a:lnTo>
                  <a:lnTo>
                    <a:pt x="2308" y="586"/>
                  </a:lnTo>
                  <a:lnTo>
                    <a:pt x="2308" y="580"/>
                  </a:lnTo>
                  <a:lnTo>
                    <a:pt x="2314" y="580"/>
                  </a:lnTo>
                  <a:lnTo>
                    <a:pt x="2314" y="574"/>
                  </a:lnTo>
                  <a:lnTo>
                    <a:pt x="2318" y="568"/>
                  </a:lnTo>
                  <a:lnTo>
                    <a:pt x="2318" y="574"/>
                  </a:lnTo>
                  <a:lnTo>
                    <a:pt x="2324" y="574"/>
                  </a:lnTo>
                  <a:lnTo>
                    <a:pt x="2330" y="568"/>
                  </a:lnTo>
                  <a:lnTo>
                    <a:pt x="2330" y="562"/>
                  </a:lnTo>
                  <a:lnTo>
                    <a:pt x="2348" y="562"/>
                  </a:lnTo>
                  <a:lnTo>
                    <a:pt x="2348" y="556"/>
                  </a:lnTo>
                  <a:lnTo>
                    <a:pt x="2354" y="556"/>
                  </a:lnTo>
                  <a:lnTo>
                    <a:pt x="2354" y="550"/>
                  </a:lnTo>
                  <a:lnTo>
                    <a:pt x="2372" y="550"/>
                  </a:lnTo>
                  <a:lnTo>
                    <a:pt x="2376" y="546"/>
                  </a:lnTo>
                  <a:lnTo>
                    <a:pt x="2406" y="546"/>
                  </a:lnTo>
                  <a:lnTo>
                    <a:pt x="2406" y="550"/>
                  </a:lnTo>
                  <a:lnTo>
                    <a:pt x="2418" y="550"/>
                  </a:lnTo>
                  <a:lnTo>
                    <a:pt x="2418" y="528"/>
                  </a:lnTo>
                  <a:lnTo>
                    <a:pt x="2412" y="528"/>
                  </a:lnTo>
                  <a:lnTo>
                    <a:pt x="2412" y="522"/>
                  </a:lnTo>
                  <a:lnTo>
                    <a:pt x="2406" y="516"/>
                  </a:lnTo>
                  <a:lnTo>
                    <a:pt x="2406" y="522"/>
                  </a:lnTo>
                  <a:lnTo>
                    <a:pt x="2400" y="516"/>
                  </a:lnTo>
                  <a:lnTo>
                    <a:pt x="2406" y="516"/>
                  </a:lnTo>
                  <a:lnTo>
                    <a:pt x="2406" y="498"/>
                  </a:lnTo>
                  <a:lnTo>
                    <a:pt x="2388" y="498"/>
                  </a:lnTo>
                  <a:lnTo>
                    <a:pt x="2388" y="488"/>
                  </a:lnTo>
                  <a:lnTo>
                    <a:pt x="2382" y="482"/>
                  </a:lnTo>
                  <a:lnTo>
                    <a:pt x="2388" y="482"/>
                  </a:lnTo>
                  <a:lnTo>
                    <a:pt x="2388" y="488"/>
                  </a:lnTo>
                  <a:lnTo>
                    <a:pt x="2406" y="488"/>
                  </a:lnTo>
                  <a:lnTo>
                    <a:pt x="2406" y="492"/>
                  </a:lnTo>
                  <a:lnTo>
                    <a:pt x="2412" y="488"/>
                  </a:lnTo>
                  <a:lnTo>
                    <a:pt x="2424" y="488"/>
                  </a:lnTo>
                  <a:lnTo>
                    <a:pt x="2424" y="482"/>
                  </a:lnTo>
                  <a:lnTo>
                    <a:pt x="2430" y="482"/>
                  </a:lnTo>
                  <a:lnTo>
                    <a:pt x="2430" y="476"/>
                  </a:lnTo>
                  <a:lnTo>
                    <a:pt x="2434" y="476"/>
                  </a:lnTo>
                  <a:lnTo>
                    <a:pt x="2434" y="470"/>
                  </a:lnTo>
                  <a:lnTo>
                    <a:pt x="2440" y="470"/>
                  </a:lnTo>
                  <a:lnTo>
                    <a:pt x="2434" y="464"/>
                  </a:lnTo>
                  <a:lnTo>
                    <a:pt x="2430" y="464"/>
                  </a:lnTo>
                  <a:lnTo>
                    <a:pt x="2430" y="446"/>
                  </a:lnTo>
                  <a:lnTo>
                    <a:pt x="2434" y="452"/>
                  </a:lnTo>
                  <a:lnTo>
                    <a:pt x="2440" y="452"/>
                  </a:lnTo>
                  <a:lnTo>
                    <a:pt x="2440" y="446"/>
                  </a:lnTo>
                  <a:lnTo>
                    <a:pt x="2452" y="446"/>
                  </a:lnTo>
                  <a:lnTo>
                    <a:pt x="2446" y="452"/>
                  </a:lnTo>
                  <a:lnTo>
                    <a:pt x="2446" y="464"/>
                  </a:lnTo>
                  <a:lnTo>
                    <a:pt x="2452" y="464"/>
                  </a:lnTo>
                  <a:lnTo>
                    <a:pt x="2446" y="470"/>
                  </a:lnTo>
                  <a:lnTo>
                    <a:pt x="2470" y="470"/>
                  </a:lnTo>
                  <a:lnTo>
                    <a:pt x="2470" y="464"/>
                  </a:lnTo>
                  <a:lnTo>
                    <a:pt x="2482" y="464"/>
                  </a:lnTo>
                  <a:lnTo>
                    <a:pt x="2482" y="470"/>
                  </a:lnTo>
                  <a:lnTo>
                    <a:pt x="2488" y="470"/>
                  </a:lnTo>
                  <a:lnTo>
                    <a:pt x="2488" y="476"/>
                  </a:lnTo>
                  <a:lnTo>
                    <a:pt x="2492" y="476"/>
                  </a:lnTo>
                  <a:lnTo>
                    <a:pt x="2492" y="488"/>
                  </a:lnTo>
                  <a:lnTo>
                    <a:pt x="2510" y="488"/>
                  </a:lnTo>
                  <a:lnTo>
                    <a:pt x="2516" y="492"/>
                  </a:lnTo>
                  <a:lnTo>
                    <a:pt x="2516" y="498"/>
                  </a:lnTo>
                  <a:lnTo>
                    <a:pt x="2546" y="498"/>
                  </a:lnTo>
                  <a:lnTo>
                    <a:pt x="2546" y="492"/>
                  </a:lnTo>
                  <a:lnTo>
                    <a:pt x="2534" y="492"/>
                  </a:lnTo>
                  <a:lnTo>
                    <a:pt x="2534" y="488"/>
                  </a:lnTo>
                  <a:lnTo>
                    <a:pt x="2546" y="488"/>
                  </a:lnTo>
                  <a:lnTo>
                    <a:pt x="2546" y="470"/>
                  </a:lnTo>
                  <a:lnTo>
                    <a:pt x="2562" y="470"/>
                  </a:lnTo>
                  <a:lnTo>
                    <a:pt x="2562" y="464"/>
                  </a:lnTo>
                  <a:lnTo>
                    <a:pt x="2574" y="464"/>
                  </a:lnTo>
                  <a:lnTo>
                    <a:pt x="2574" y="446"/>
                  </a:lnTo>
                  <a:lnTo>
                    <a:pt x="2568" y="446"/>
                  </a:lnTo>
                  <a:lnTo>
                    <a:pt x="2568" y="440"/>
                  </a:lnTo>
                  <a:close/>
                  <a:moveTo>
                    <a:pt x="864" y="742"/>
                  </a:moveTo>
                  <a:lnTo>
                    <a:pt x="864" y="736"/>
                  </a:lnTo>
                  <a:lnTo>
                    <a:pt x="870" y="742"/>
                  </a:lnTo>
                  <a:lnTo>
                    <a:pt x="864" y="742"/>
                  </a:lnTo>
                  <a:close/>
                  <a:moveTo>
                    <a:pt x="1002" y="254"/>
                  </a:moveTo>
                  <a:lnTo>
                    <a:pt x="1002" y="250"/>
                  </a:lnTo>
                  <a:lnTo>
                    <a:pt x="1008" y="250"/>
                  </a:lnTo>
                  <a:lnTo>
                    <a:pt x="1002" y="254"/>
                  </a:lnTo>
                  <a:close/>
                  <a:moveTo>
                    <a:pt x="1014" y="260"/>
                  </a:moveTo>
                  <a:lnTo>
                    <a:pt x="1008" y="260"/>
                  </a:lnTo>
                  <a:lnTo>
                    <a:pt x="1008" y="254"/>
                  </a:lnTo>
                  <a:lnTo>
                    <a:pt x="1014" y="254"/>
                  </a:lnTo>
                  <a:lnTo>
                    <a:pt x="1014" y="260"/>
                  </a:lnTo>
                  <a:close/>
                  <a:moveTo>
                    <a:pt x="1206" y="192"/>
                  </a:moveTo>
                  <a:lnTo>
                    <a:pt x="1200" y="192"/>
                  </a:lnTo>
                  <a:lnTo>
                    <a:pt x="1206" y="186"/>
                  </a:lnTo>
                  <a:lnTo>
                    <a:pt x="1206" y="192"/>
                  </a:lnTo>
                  <a:close/>
                  <a:moveTo>
                    <a:pt x="1218" y="196"/>
                  </a:moveTo>
                  <a:lnTo>
                    <a:pt x="1212" y="196"/>
                  </a:lnTo>
                  <a:lnTo>
                    <a:pt x="1212" y="192"/>
                  </a:lnTo>
                  <a:lnTo>
                    <a:pt x="1218" y="192"/>
                  </a:lnTo>
                  <a:lnTo>
                    <a:pt x="1218" y="196"/>
                  </a:lnTo>
                  <a:close/>
                  <a:moveTo>
                    <a:pt x="1252" y="168"/>
                  </a:moveTo>
                  <a:lnTo>
                    <a:pt x="1246" y="162"/>
                  </a:lnTo>
                  <a:lnTo>
                    <a:pt x="1252" y="162"/>
                  </a:lnTo>
                  <a:lnTo>
                    <a:pt x="1252" y="168"/>
                  </a:lnTo>
                  <a:close/>
                  <a:moveTo>
                    <a:pt x="1628" y="308"/>
                  </a:moveTo>
                  <a:lnTo>
                    <a:pt x="1624" y="302"/>
                  </a:lnTo>
                  <a:lnTo>
                    <a:pt x="1624" y="296"/>
                  </a:lnTo>
                  <a:lnTo>
                    <a:pt x="1628" y="296"/>
                  </a:lnTo>
                  <a:lnTo>
                    <a:pt x="1628" y="308"/>
                  </a:lnTo>
                  <a:close/>
                  <a:moveTo>
                    <a:pt x="1976" y="318"/>
                  </a:moveTo>
                  <a:lnTo>
                    <a:pt x="1972" y="318"/>
                  </a:lnTo>
                  <a:lnTo>
                    <a:pt x="1976" y="312"/>
                  </a:lnTo>
                  <a:lnTo>
                    <a:pt x="1976" y="318"/>
                  </a:lnTo>
                  <a:close/>
                  <a:moveTo>
                    <a:pt x="2372" y="492"/>
                  </a:moveTo>
                  <a:lnTo>
                    <a:pt x="2366" y="492"/>
                  </a:lnTo>
                  <a:lnTo>
                    <a:pt x="2366" y="482"/>
                  </a:lnTo>
                  <a:lnTo>
                    <a:pt x="2372" y="488"/>
                  </a:lnTo>
                  <a:lnTo>
                    <a:pt x="2372" y="492"/>
                  </a:lnTo>
                  <a:close/>
                  <a:moveTo>
                    <a:pt x="2580" y="446"/>
                  </a:moveTo>
                  <a:lnTo>
                    <a:pt x="2580" y="458"/>
                  </a:lnTo>
                  <a:lnTo>
                    <a:pt x="2586" y="458"/>
                  </a:lnTo>
                  <a:lnTo>
                    <a:pt x="2586" y="452"/>
                  </a:lnTo>
                  <a:lnTo>
                    <a:pt x="2580" y="446"/>
                  </a:lnTo>
                  <a:close/>
                  <a:moveTo>
                    <a:pt x="2470" y="312"/>
                  </a:moveTo>
                  <a:lnTo>
                    <a:pt x="2464" y="318"/>
                  </a:lnTo>
                  <a:lnTo>
                    <a:pt x="2446" y="318"/>
                  </a:lnTo>
                  <a:lnTo>
                    <a:pt x="2440" y="324"/>
                  </a:lnTo>
                  <a:lnTo>
                    <a:pt x="2434" y="324"/>
                  </a:lnTo>
                  <a:lnTo>
                    <a:pt x="2430" y="318"/>
                  </a:lnTo>
                  <a:lnTo>
                    <a:pt x="2424" y="318"/>
                  </a:lnTo>
                  <a:lnTo>
                    <a:pt x="2424" y="324"/>
                  </a:lnTo>
                  <a:lnTo>
                    <a:pt x="2406" y="324"/>
                  </a:lnTo>
                  <a:lnTo>
                    <a:pt x="2406" y="318"/>
                  </a:lnTo>
                  <a:lnTo>
                    <a:pt x="2412" y="318"/>
                  </a:lnTo>
                  <a:lnTo>
                    <a:pt x="2412" y="312"/>
                  </a:lnTo>
                  <a:lnTo>
                    <a:pt x="2418" y="312"/>
                  </a:lnTo>
                  <a:lnTo>
                    <a:pt x="2418" y="308"/>
                  </a:lnTo>
                  <a:lnTo>
                    <a:pt x="2458" y="308"/>
                  </a:lnTo>
                  <a:lnTo>
                    <a:pt x="2458" y="312"/>
                  </a:lnTo>
                  <a:lnTo>
                    <a:pt x="2470" y="312"/>
                  </a:lnTo>
                  <a:close/>
                  <a:moveTo>
                    <a:pt x="1408" y="162"/>
                  </a:moveTo>
                  <a:lnTo>
                    <a:pt x="1402" y="162"/>
                  </a:lnTo>
                  <a:lnTo>
                    <a:pt x="1402" y="162"/>
                  </a:lnTo>
                  <a:lnTo>
                    <a:pt x="1396" y="162"/>
                  </a:lnTo>
                  <a:lnTo>
                    <a:pt x="1402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close/>
                  <a:moveTo>
                    <a:pt x="1570" y="260"/>
                  </a:moveTo>
                  <a:lnTo>
                    <a:pt x="1570" y="254"/>
                  </a:lnTo>
                  <a:lnTo>
                    <a:pt x="1570" y="254"/>
                  </a:lnTo>
                  <a:lnTo>
                    <a:pt x="1570" y="250"/>
                  </a:lnTo>
                  <a:lnTo>
                    <a:pt x="1570" y="244"/>
                  </a:lnTo>
                  <a:lnTo>
                    <a:pt x="1570" y="244"/>
                  </a:lnTo>
                  <a:lnTo>
                    <a:pt x="1570" y="250"/>
                  </a:lnTo>
                  <a:lnTo>
                    <a:pt x="1576" y="250"/>
                  </a:lnTo>
                  <a:lnTo>
                    <a:pt x="1582" y="250"/>
                  </a:lnTo>
                  <a:lnTo>
                    <a:pt x="1576" y="244"/>
                  </a:lnTo>
                  <a:lnTo>
                    <a:pt x="1582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94" y="244"/>
                  </a:lnTo>
                  <a:lnTo>
                    <a:pt x="1594" y="250"/>
                  </a:lnTo>
                  <a:lnTo>
                    <a:pt x="1600" y="244"/>
                  </a:lnTo>
                  <a:lnTo>
                    <a:pt x="1600" y="250"/>
                  </a:lnTo>
                  <a:lnTo>
                    <a:pt x="1600" y="250"/>
                  </a:lnTo>
                  <a:lnTo>
                    <a:pt x="1606" y="250"/>
                  </a:lnTo>
                  <a:lnTo>
                    <a:pt x="1606" y="254"/>
                  </a:lnTo>
                  <a:lnTo>
                    <a:pt x="1600" y="254"/>
                  </a:lnTo>
                  <a:lnTo>
                    <a:pt x="1606" y="254"/>
                  </a:lnTo>
                  <a:lnTo>
                    <a:pt x="1612" y="254"/>
                  </a:lnTo>
                  <a:lnTo>
                    <a:pt x="1612" y="250"/>
                  </a:lnTo>
                  <a:lnTo>
                    <a:pt x="1612" y="250"/>
                  </a:lnTo>
                  <a:lnTo>
                    <a:pt x="1618" y="250"/>
                  </a:lnTo>
                  <a:lnTo>
                    <a:pt x="1612" y="254"/>
                  </a:lnTo>
                  <a:lnTo>
                    <a:pt x="1618" y="254"/>
                  </a:lnTo>
                  <a:lnTo>
                    <a:pt x="1618" y="254"/>
                  </a:lnTo>
                  <a:lnTo>
                    <a:pt x="1618" y="260"/>
                  </a:lnTo>
                  <a:lnTo>
                    <a:pt x="1624" y="260"/>
                  </a:lnTo>
                  <a:lnTo>
                    <a:pt x="1624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72"/>
                  </a:lnTo>
                  <a:lnTo>
                    <a:pt x="1612" y="272"/>
                  </a:lnTo>
                  <a:lnTo>
                    <a:pt x="1612" y="278"/>
                  </a:lnTo>
                  <a:lnTo>
                    <a:pt x="1612" y="278"/>
                  </a:lnTo>
                  <a:lnTo>
                    <a:pt x="1612" y="284"/>
                  </a:lnTo>
                  <a:lnTo>
                    <a:pt x="1612" y="284"/>
                  </a:lnTo>
                  <a:lnTo>
                    <a:pt x="1606" y="284"/>
                  </a:lnTo>
                  <a:lnTo>
                    <a:pt x="1606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594" y="278"/>
                  </a:lnTo>
                  <a:lnTo>
                    <a:pt x="1594" y="272"/>
                  </a:lnTo>
                  <a:lnTo>
                    <a:pt x="1588" y="272"/>
                  </a:lnTo>
                  <a:lnTo>
                    <a:pt x="1588" y="272"/>
                  </a:lnTo>
                  <a:lnTo>
                    <a:pt x="1582" y="272"/>
                  </a:lnTo>
                  <a:lnTo>
                    <a:pt x="1576" y="272"/>
                  </a:lnTo>
                  <a:lnTo>
                    <a:pt x="1570" y="272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70" y="260"/>
                  </a:lnTo>
                  <a:lnTo>
                    <a:pt x="1570" y="260"/>
                  </a:lnTo>
                  <a:lnTo>
                    <a:pt x="1570" y="260"/>
                  </a:lnTo>
                  <a:close/>
                  <a:moveTo>
                    <a:pt x="1624" y="266"/>
                  </a:moveTo>
                  <a:lnTo>
                    <a:pt x="1624" y="260"/>
                  </a:lnTo>
                  <a:lnTo>
                    <a:pt x="1618" y="254"/>
                  </a:lnTo>
                  <a:lnTo>
                    <a:pt x="1624" y="254"/>
                  </a:lnTo>
                  <a:lnTo>
                    <a:pt x="1624" y="254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8" y="250"/>
                  </a:lnTo>
                  <a:lnTo>
                    <a:pt x="1634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6" y="254"/>
                  </a:lnTo>
                  <a:lnTo>
                    <a:pt x="1652" y="254"/>
                  </a:lnTo>
                  <a:lnTo>
                    <a:pt x="1652" y="254"/>
                  </a:lnTo>
                  <a:lnTo>
                    <a:pt x="1652" y="260"/>
                  </a:lnTo>
                  <a:lnTo>
                    <a:pt x="1652" y="266"/>
                  </a:lnTo>
                  <a:lnTo>
                    <a:pt x="1652" y="260"/>
                  </a:lnTo>
                  <a:lnTo>
                    <a:pt x="1658" y="260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40" y="266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34" y="272"/>
                  </a:lnTo>
                  <a:lnTo>
                    <a:pt x="1628" y="272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18" y="278"/>
                  </a:lnTo>
                  <a:lnTo>
                    <a:pt x="1618" y="278"/>
                  </a:lnTo>
                  <a:lnTo>
                    <a:pt x="1612" y="278"/>
                  </a:lnTo>
                  <a:lnTo>
                    <a:pt x="1612" y="272"/>
                  </a:lnTo>
                  <a:lnTo>
                    <a:pt x="1618" y="272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24" y="266"/>
                  </a:lnTo>
                  <a:lnTo>
                    <a:pt x="1624" y="266"/>
                  </a:lnTo>
                  <a:close/>
                  <a:moveTo>
                    <a:pt x="1628" y="278"/>
                  </a:moveTo>
                  <a:lnTo>
                    <a:pt x="1628" y="272"/>
                  </a:lnTo>
                  <a:lnTo>
                    <a:pt x="1634" y="272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8" y="272"/>
                  </a:lnTo>
                  <a:lnTo>
                    <a:pt x="1664" y="272"/>
                  </a:lnTo>
                  <a:lnTo>
                    <a:pt x="1658" y="278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46" y="272"/>
                  </a:lnTo>
                  <a:lnTo>
                    <a:pt x="1640" y="278"/>
                  </a:lnTo>
                  <a:lnTo>
                    <a:pt x="1640" y="272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8" y="278"/>
                  </a:lnTo>
                  <a:close/>
                  <a:moveTo>
                    <a:pt x="1624" y="278"/>
                  </a:moveTo>
                  <a:lnTo>
                    <a:pt x="1624" y="278"/>
                  </a:lnTo>
                  <a:lnTo>
                    <a:pt x="1624" y="278"/>
                  </a:lnTo>
                  <a:lnTo>
                    <a:pt x="1628" y="278"/>
                  </a:lnTo>
                  <a:lnTo>
                    <a:pt x="1634" y="278"/>
                  </a:lnTo>
                  <a:lnTo>
                    <a:pt x="1640" y="278"/>
                  </a:lnTo>
                  <a:lnTo>
                    <a:pt x="1640" y="278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58" y="278"/>
                  </a:lnTo>
                  <a:lnTo>
                    <a:pt x="1664" y="278"/>
                  </a:lnTo>
                  <a:lnTo>
                    <a:pt x="1664" y="284"/>
                  </a:lnTo>
                  <a:lnTo>
                    <a:pt x="1664" y="284"/>
                  </a:lnTo>
                  <a:lnTo>
                    <a:pt x="1664" y="290"/>
                  </a:lnTo>
                  <a:lnTo>
                    <a:pt x="1664" y="290"/>
                  </a:lnTo>
                  <a:lnTo>
                    <a:pt x="1658" y="290"/>
                  </a:lnTo>
                  <a:lnTo>
                    <a:pt x="1664" y="290"/>
                  </a:lnTo>
                  <a:lnTo>
                    <a:pt x="1658" y="296"/>
                  </a:lnTo>
                  <a:lnTo>
                    <a:pt x="1652" y="296"/>
                  </a:lnTo>
                  <a:lnTo>
                    <a:pt x="1652" y="296"/>
                  </a:lnTo>
                  <a:lnTo>
                    <a:pt x="1652" y="290"/>
                  </a:lnTo>
                  <a:lnTo>
                    <a:pt x="1646" y="290"/>
                  </a:lnTo>
                  <a:lnTo>
                    <a:pt x="1646" y="284"/>
                  </a:lnTo>
                  <a:lnTo>
                    <a:pt x="1640" y="284"/>
                  </a:lnTo>
                  <a:lnTo>
                    <a:pt x="1640" y="284"/>
                  </a:lnTo>
                  <a:lnTo>
                    <a:pt x="1640" y="278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24" y="278"/>
                  </a:lnTo>
                  <a:close/>
                  <a:moveTo>
                    <a:pt x="2140" y="324"/>
                  </a:moveTo>
                  <a:lnTo>
                    <a:pt x="2134" y="324"/>
                  </a:lnTo>
                  <a:lnTo>
                    <a:pt x="2140" y="324"/>
                  </a:lnTo>
                  <a:lnTo>
                    <a:pt x="2140" y="324"/>
                  </a:lnTo>
                  <a:close/>
                  <a:moveTo>
                    <a:pt x="602" y="372"/>
                  </a:moveTo>
                  <a:lnTo>
                    <a:pt x="596" y="372"/>
                  </a:lnTo>
                  <a:lnTo>
                    <a:pt x="590" y="372"/>
                  </a:lnTo>
                  <a:lnTo>
                    <a:pt x="590" y="366"/>
                  </a:lnTo>
                  <a:lnTo>
                    <a:pt x="590" y="372"/>
                  </a:lnTo>
                  <a:lnTo>
                    <a:pt x="596" y="372"/>
                  </a:lnTo>
                  <a:lnTo>
                    <a:pt x="602" y="372"/>
                  </a:lnTo>
                  <a:lnTo>
                    <a:pt x="602" y="372"/>
                  </a:lnTo>
                  <a:lnTo>
                    <a:pt x="602" y="372"/>
                  </a:lnTo>
                  <a:close/>
                  <a:moveTo>
                    <a:pt x="16" y="720"/>
                  </a:moveTo>
                  <a:lnTo>
                    <a:pt x="22" y="720"/>
                  </a:lnTo>
                  <a:lnTo>
                    <a:pt x="16" y="72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30"/>
                  </a:lnTo>
                  <a:lnTo>
                    <a:pt x="16" y="730"/>
                  </a:lnTo>
                  <a:lnTo>
                    <a:pt x="22" y="730"/>
                  </a:lnTo>
                  <a:lnTo>
                    <a:pt x="28" y="730"/>
                  </a:lnTo>
                  <a:lnTo>
                    <a:pt x="28" y="724"/>
                  </a:lnTo>
                  <a:lnTo>
                    <a:pt x="22" y="720"/>
                  </a:lnTo>
                  <a:lnTo>
                    <a:pt x="28" y="720"/>
                  </a:lnTo>
                  <a:lnTo>
                    <a:pt x="28" y="720"/>
                  </a:lnTo>
                  <a:lnTo>
                    <a:pt x="40" y="724"/>
                  </a:lnTo>
                  <a:lnTo>
                    <a:pt x="40" y="724"/>
                  </a:lnTo>
                  <a:lnTo>
                    <a:pt x="46" y="724"/>
                  </a:lnTo>
                  <a:lnTo>
                    <a:pt x="52" y="730"/>
                  </a:lnTo>
                  <a:lnTo>
                    <a:pt x="52" y="730"/>
                  </a:lnTo>
                  <a:lnTo>
                    <a:pt x="46" y="730"/>
                  </a:lnTo>
                  <a:lnTo>
                    <a:pt x="46" y="736"/>
                  </a:lnTo>
                  <a:lnTo>
                    <a:pt x="46" y="742"/>
                  </a:lnTo>
                  <a:lnTo>
                    <a:pt x="40" y="742"/>
                  </a:lnTo>
                  <a:lnTo>
                    <a:pt x="40" y="742"/>
                  </a:lnTo>
                  <a:lnTo>
                    <a:pt x="34" y="742"/>
                  </a:lnTo>
                  <a:lnTo>
                    <a:pt x="28" y="742"/>
                  </a:lnTo>
                  <a:lnTo>
                    <a:pt x="28" y="742"/>
                  </a:lnTo>
                  <a:lnTo>
                    <a:pt x="22" y="742"/>
                  </a:lnTo>
                  <a:lnTo>
                    <a:pt x="16" y="742"/>
                  </a:lnTo>
                  <a:lnTo>
                    <a:pt x="16" y="742"/>
                  </a:lnTo>
                  <a:lnTo>
                    <a:pt x="12" y="742"/>
                  </a:lnTo>
                  <a:lnTo>
                    <a:pt x="6" y="742"/>
                  </a:lnTo>
                  <a:lnTo>
                    <a:pt x="0" y="742"/>
                  </a:lnTo>
                  <a:lnTo>
                    <a:pt x="0" y="736"/>
                  </a:lnTo>
                  <a:lnTo>
                    <a:pt x="6" y="736"/>
                  </a:lnTo>
                  <a:lnTo>
                    <a:pt x="12" y="736"/>
                  </a:lnTo>
                  <a:lnTo>
                    <a:pt x="12" y="730"/>
                  </a:lnTo>
                  <a:lnTo>
                    <a:pt x="6" y="730"/>
                  </a:lnTo>
                  <a:lnTo>
                    <a:pt x="0" y="730"/>
                  </a:lnTo>
                  <a:lnTo>
                    <a:pt x="6" y="730"/>
                  </a:lnTo>
                  <a:lnTo>
                    <a:pt x="6" y="730"/>
                  </a:lnTo>
                  <a:lnTo>
                    <a:pt x="6" y="724"/>
                  </a:lnTo>
                  <a:lnTo>
                    <a:pt x="6" y="730"/>
                  </a:lnTo>
                  <a:lnTo>
                    <a:pt x="12" y="730"/>
                  </a:lnTo>
                  <a:lnTo>
                    <a:pt x="16" y="73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20"/>
                  </a:lnTo>
                  <a:lnTo>
                    <a:pt x="16" y="720"/>
                  </a:lnTo>
                  <a:close/>
                  <a:moveTo>
                    <a:pt x="0" y="736"/>
                  </a:moveTo>
                  <a:lnTo>
                    <a:pt x="0" y="736"/>
                  </a:lnTo>
                  <a:lnTo>
                    <a:pt x="0" y="736"/>
                  </a:lnTo>
                  <a:lnTo>
                    <a:pt x="0" y="736"/>
                  </a:lnTo>
                  <a:close/>
                  <a:moveTo>
                    <a:pt x="644" y="6"/>
                  </a:moveTo>
                  <a:lnTo>
                    <a:pt x="648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6"/>
                  </a:lnTo>
                  <a:lnTo>
                    <a:pt x="666" y="12"/>
                  </a:lnTo>
                  <a:lnTo>
                    <a:pt x="660" y="6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48" y="6"/>
                  </a:lnTo>
                  <a:lnTo>
                    <a:pt x="644" y="6"/>
                  </a:lnTo>
                  <a:lnTo>
                    <a:pt x="644" y="6"/>
                  </a:lnTo>
                  <a:close/>
                  <a:moveTo>
                    <a:pt x="586" y="6"/>
                  </a:moveTo>
                  <a:lnTo>
                    <a:pt x="590" y="6"/>
                  </a:lnTo>
                  <a:lnTo>
                    <a:pt x="590" y="6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6" y="6"/>
                  </a:lnTo>
                  <a:lnTo>
                    <a:pt x="586" y="6"/>
                  </a:lnTo>
                  <a:close/>
                  <a:moveTo>
                    <a:pt x="638" y="6"/>
                  </a:moveTo>
                  <a:lnTo>
                    <a:pt x="644" y="6"/>
                  </a:lnTo>
                  <a:lnTo>
                    <a:pt x="644" y="12"/>
                  </a:lnTo>
                  <a:lnTo>
                    <a:pt x="644" y="12"/>
                  </a:lnTo>
                  <a:lnTo>
                    <a:pt x="638" y="6"/>
                  </a:lnTo>
                  <a:lnTo>
                    <a:pt x="638" y="6"/>
                  </a:lnTo>
                  <a:close/>
                  <a:moveTo>
                    <a:pt x="590" y="12"/>
                  </a:moveTo>
                  <a:lnTo>
                    <a:pt x="590" y="12"/>
                  </a:lnTo>
                  <a:lnTo>
                    <a:pt x="596" y="12"/>
                  </a:lnTo>
                  <a:lnTo>
                    <a:pt x="602" y="12"/>
                  </a:lnTo>
                  <a:lnTo>
                    <a:pt x="602" y="18"/>
                  </a:lnTo>
                  <a:lnTo>
                    <a:pt x="596" y="18"/>
                  </a:lnTo>
                  <a:lnTo>
                    <a:pt x="590" y="18"/>
                  </a:lnTo>
                  <a:lnTo>
                    <a:pt x="590" y="18"/>
                  </a:lnTo>
                  <a:lnTo>
                    <a:pt x="590" y="12"/>
                  </a:lnTo>
                  <a:lnTo>
                    <a:pt x="590" y="12"/>
                  </a:lnTo>
                  <a:close/>
                  <a:moveTo>
                    <a:pt x="528" y="18"/>
                  </a:moveTo>
                  <a:lnTo>
                    <a:pt x="522" y="12"/>
                  </a:lnTo>
                  <a:lnTo>
                    <a:pt x="528" y="12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close/>
                  <a:moveTo>
                    <a:pt x="608" y="18"/>
                  </a:moveTo>
                  <a:lnTo>
                    <a:pt x="614" y="18"/>
                  </a:lnTo>
                  <a:lnTo>
                    <a:pt x="614" y="18"/>
                  </a:lnTo>
                  <a:lnTo>
                    <a:pt x="620" y="18"/>
                  </a:lnTo>
                  <a:lnTo>
                    <a:pt x="614" y="18"/>
                  </a:lnTo>
                  <a:lnTo>
                    <a:pt x="614" y="18"/>
                  </a:lnTo>
                  <a:lnTo>
                    <a:pt x="608" y="18"/>
                  </a:lnTo>
                  <a:lnTo>
                    <a:pt x="608" y="18"/>
                  </a:lnTo>
                  <a:close/>
                  <a:moveTo>
                    <a:pt x="568" y="22"/>
                  </a:move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80" y="22"/>
                  </a:lnTo>
                  <a:lnTo>
                    <a:pt x="574" y="22"/>
                  </a:lnTo>
                  <a:lnTo>
                    <a:pt x="574" y="22"/>
                  </a:lnTo>
                  <a:lnTo>
                    <a:pt x="568" y="22"/>
                  </a:lnTo>
                  <a:lnTo>
                    <a:pt x="562" y="22"/>
                  </a:lnTo>
                  <a:lnTo>
                    <a:pt x="568" y="22"/>
                  </a:lnTo>
                  <a:lnTo>
                    <a:pt x="568" y="22"/>
                  </a:lnTo>
                  <a:close/>
                  <a:moveTo>
                    <a:pt x="1078" y="28"/>
                  </a:moveTo>
                  <a:lnTo>
                    <a:pt x="1078" y="28"/>
                  </a:lnTo>
                  <a:lnTo>
                    <a:pt x="1066" y="22"/>
                  </a:lnTo>
                  <a:lnTo>
                    <a:pt x="1060" y="22"/>
                  </a:lnTo>
                  <a:lnTo>
                    <a:pt x="1066" y="22"/>
                  </a:lnTo>
                  <a:lnTo>
                    <a:pt x="1066" y="18"/>
                  </a:lnTo>
                  <a:lnTo>
                    <a:pt x="1072" y="18"/>
                  </a:lnTo>
                  <a:lnTo>
                    <a:pt x="1078" y="18"/>
                  </a:lnTo>
                  <a:lnTo>
                    <a:pt x="1078" y="18"/>
                  </a:lnTo>
                  <a:lnTo>
                    <a:pt x="1084" y="18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8"/>
                  </a:lnTo>
                  <a:lnTo>
                    <a:pt x="1084" y="28"/>
                  </a:lnTo>
                  <a:lnTo>
                    <a:pt x="1078" y="28"/>
                  </a:lnTo>
                  <a:lnTo>
                    <a:pt x="1078" y="28"/>
                  </a:lnTo>
                  <a:close/>
                  <a:moveTo>
                    <a:pt x="596" y="18"/>
                  </a:moveTo>
                  <a:lnTo>
                    <a:pt x="602" y="18"/>
                  </a:lnTo>
                  <a:lnTo>
                    <a:pt x="602" y="18"/>
                  </a:lnTo>
                  <a:lnTo>
                    <a:pt x="602" y="22"/>
                  </a:lnTo>
                  <a:lnTo>
                    <a:pt x="608" y="22"/>
                  </a:lnTo>
                  <a:lnTo>
                    <a:pt x="602" y="22"/>
                  </a:lnTo>
                  <a:lnTo>
                    <a:pt x="596" y="22"/>
                  </a:lnTo>
                  <a:lnTo>
                    <a:pt x="596" y="18"/>
                  </a:lnTo>
                  <a:lnTo>
                    <a:pt x="596" y="18"/>
                  </a:lnTo>
                  <a:close/>
                  <a:moveTo>
                    <a:pt x="464" y="28"/>
                  </a:moveTo>
                  <a:lnTo>
                    <a:pt x="470" y="28"/>
                  </a:lnTo>
                  <a:lnTo>
                    <a:pt x="464" y="28"/>
                  </a:lnTo>
                  <a:lnTo>
                    <a:pt x="464" y="22"/>
                  </a:lnTo>
                  <a:lnTo>
                    <a:pt x="470" y="22"/>
                  </a:lnTo>
                  <a:lnTo>
                    <a:pt x="474" y="22"/>
                  </a:lnTo>
                  <a:lnTo>
                    <a:pt x="474" y="28"/>
                  </a:lnTo>
                  <a:lnTo>
                    <a:pt x="470" y="28"/>
                  </a:lnTo>
                  <a:lnTo>
                    <a:pt x="464" y="28"/>
                  </a:lnTo>
                  <a:lnTo>
                    <a:pt x="464" y="28"/>
                  </a:lnTo>
                  <a:close/>
                  <a:moveTo>
                    <a:pt x="586" y="22"/>
                  </a:moveTo>
                  <a:lnTo>
                    <a:pt x="590" y="22"/>
                  </a:lnTo>
                  <a:lnTo>
                    <a:pt x="590" y="22"/>
                  </a:lnTo>
                  <a:lnTo>
                    <a:pt x="590" y="22"/>
                  </a:lnTo>
                  <a:lnTo>
                    <a:pt x="586" y="22"/>
                  </a:lnTo>
                  <a:lnTo>
                    <a:pt x="586" y="22"/>
                  </a:lnTo>
                  <a:close/>
                  <a:moveTo>
                    <a:pt x="614" y="28"/>
                  </a:moveTo>
                  <a:lnTo>
                    <a:pt x="614" y="28"/>
                  </a:lnTo>
                  <a:lnTo>
                    <a:pt x="620" y="22"/>
                  </a:lnTo>
                  <a:lnTo>
                    <a:pt x="626" y="22"/>
                  </a:lnTo>
                  <a:lnTo>
                    <a:pt x="626" y="22"/>
                  </a:lnTo>
                  <a:lnTo>
                    <a:pt x="632" y="22"/>
                  </a:lnTo>
                  <a:lnTo>
                    <a:pt x="638" y="22"/>
                  </a:lnTo>
                  <a:lnTo>
                    <a:pt x="638" y="28"/>
                  </a:lnTo>
                  <a:lnTo>
                    <a:pt x="632" y="28"/>
                  </a:lnTo>
                  <a:lnTo>
                    <a:pt x="626" y="28"/>
                  </a:lnTo>
                  <a:lnTo>
                    <a:pt x="626" y="28"/>
                  </a:lnTo>
                  <a:lnTo>
                    <a:pt x="620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28"/>
                  </a:lnTo>
                  <a:close/>
                  <a:moveTo>
                    <a:pt x="550" y="22"/>
                  </a:moveTo>
                  <a:lnTo>
                    <a:pt x="556" y="22"/>
                  </a:lnTo>
                  <a:lnTo>
                    <a:pt x="562" y="22"/>
                  </a:lnTo>
                  <a:lnTo>
                    <a:pt x="562" y="22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80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68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56" y="28"/>
                  </a:lnTo>
                  <a:lnTo>
                    <a:pt x="550" y="28"/>
                  </a:lnTo>
                  <a:lnTo>
                    <a:pt x="550" y="22"/>
                  </a:lnTo>
                  <a:lnTo>
                    <a:pt x="550" y="22"/>
                  </a:lnTo>
                  <a:close/>
                  <a:moveTo>
                    <a:pt x="580" y="28"/>
                  </a:moveTo>
                  <a:lnTo>
                    <a:pt x="574" y="28"/>
                  </a:lnTo>
                  <a:lnTo>
                    <a:pt x="580" y="22"/>
                  </a:lnTo>
                  <a:lnTo>
                    <a:pt x="586" y="22"/>
                  </a:lnTo>
                  <a:lnTo>
                    <a:pt x="590" y="22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86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80" y="28"/>
                  </a:lnTo>
                  <a:close/>
                  <a:moveTo>
                    <a:pt x="904" y="28"/>
                  </a:move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6" y="28"/>
                  </a:lnTo>
                  <a:lnTo>
                    <a:pt x="922" y="28"/>
                  </a:lnTo>
                  <a:lnTo>
                    <a:pt x="916" y="34"/>
                  </a:lnTo>
                  <a:lnTo>
                    <a:pt x="910" y="34"/>
                  </a:lnTo>
                  <a:lnTo>
                    <a:pt x="904" y="34"/>
                  </a:lnTo>
                  <a:lnTo>
                    <a:pt x="898" y="34"/>
                  </a:lnTo>
                  <a:lnTo>
                    <a:pt x="898" y="28"/>
                  </a:lnTo>
                  <a:lnTo>
                    <a:pt x="904" y="28"/>
                  </a:lnTo>
                  <a:lnTo>
                    <a:pt x="904" y="28"/>
                  </a:lnTo>
                  <a:close/>
                  <a:moveTo>
                    <a:pt x="580" y="34"/>
                  </a:moveTo>
                  <a:lnTo>
                    <a:pt x="580" y="28"/>
                  </a:lnTo>
                  <a:lnTo>
                    <a:pt x="586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6" y="28"/>
                  </a:lnTo>
                  <a:lnTo>
                    <a:pt x="596" y="34"/>
                  </a:lnTo>
                  <a:lnTo>
                    <a:pt x="590" y="34"/>
                  </a:lnTo>
                  <a:lnTo>
                    <a:pt x="590" y="34"/>
                  </a:lnTo>
                  <a:lnTo>
                    <a:pt x="586" y="34"/>
                  </a:lnTo>
                  <a:lnTo>
                    <a:pt x="580" y="34"/>
                  </a:lnTo>
                  <a:lnTo>
                    <a:pt x="574" y="34"/>
                  </a:lnTo>
                  <a:lnTo>
                    <a:pt x="580" y="34"/>
                  </a:lnTo>
                  <a:lnTo>
                    <a:pt x="580" y="34"/>
                  </a:lnTo>
                  <a:close/>
                  <a:moveTo>
                    <a:pt x="522" y="34"/>
                  </a:moveTo>
                  <a:lnTo>
                    <a:pt x="522" y="28"/>
                  </a:lnTo>
                  <a:lnTo>
                    <a:pt x="528" y="28"/>
                  </a:lnTo>
                  <a:lnTo>
                    <a:pt x="528" y="28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34"/>
                  </a:lnTo>
                  <a:lnTo>
                    <a:pt x="550" y="34"/>
                  </a:lnTo>
                  <a:lnTo>
                    <a:pt x="544" y="34"/>
                  </a:lnTo>
                  <a:lnTo>
                    <a:pt x="538" y="34"/>
                  </a:lnTo>
                  <a:lnTo>
                    <a:pt x="53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28" y="34"/>
                  </a:lnTo>
                  <a:lnTo>
                    <a:pt x="522" y="34"/>
                  </a:lnTo>
                  <a:lnTo>
                    <a:pt x="522" y="34"/>
                  </a:lnTo>
                  <a:close/>
                  <a:moveTo>
                    <a:pt x="544" y="34"/>
                  </a:moveTo>
                  <a:lnTo>
                    <a:pt x="550" y="34"/>
                  </a:lnTo>
                  <a:lnTo>
                    <a:pt x="556" y="34"/>
                  </a:lnTo>
                  <a:lnTo>
                    <a:pt x="562" y="34"/>
                  </a:lnTo>
                  <a:lnTo>
                    <a:pt x="562" y="40"/>
                  </a:lnTo>
                  <a:lnTo>
                    <a:pt x="562" y="40"/>
                  </a:lnTo>
                  <a:lnTo>
                    <a:pt x="556" y="40"/>
                  </a:lnTo>
                  <a:lnTo>
                    <a:pt x="550" y="40"/>
                  </a:lnTo>
                  <a:lnTo>
                    <a:pt x="550" y="40"/>
                  </a:lnTo>
                  <a:lnTo>
                    <a:pt x="544" y="40"/>
                  </a:lnTo>
                  <a:lnTo>
                    <a:pt x="538" y="40"/>
                  </a:lnTo>
                  <a:lnTo>
                    <a:pt x="538" y="34"/>
                  </a:lnTo>
                  <a:lnTo>
                    <a:pt x="544" y="34"/>
                  </a:lnTo>
                  <a:lnTo>
                    <a:pt x="544" y="34"/>
                  </a:lnTo>
                  <a:close/>
                  <a:moveTo>
                    <a:pt x="510" y="40"/>
                  </a:move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close/>
                  <a:moveTo>
                    <a:pt x="590" y="40"/>
                  </a:moveTo>
                  <a:lnTo>
                    <a:pt x="590" y="40"/>
                  </a:lnTo>
                  <a:lnTo>
                    <a:pt x="590" y="40"/>
                  </a:lnTo>
                  <a:lnTo>
                    <a:pt x="590" y="40"/>
                  </a:lnTo>
                  <a:close/>
                  <a:moveTo>
                    <a:pt x="568" y="40"/>
                  </a:move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80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68" y="40"/>
                  </a:lnTo>
                  <a:lnTo>
                    <a:pt x="568" y="40"/>
                  </a:lnTo>
                  <a:close/>
                  <a:moveTo>
                    <a:pt x="516" y="40"/>
                  </a:move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8" y="46"/>
                  </a:lnTo>
                  <a:lnTo>
                    <a:pt x="522" y="46"/>
                  </a:ln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close/>
                  <a:moveTo>
                    <a:pt x="528" y="40"/>
                  </a:moveTo>
                  <a:lnTo>
                    <a:pt x="532" y="40"/>
                  </a:lnTo>
                  <a:lnTo>
                    <a:pt x="538" y="40"/>
                  </a:lnTo>
                  <a:lnTo>
                    <a:pt x="532" y="40"/>
                  </a:lnTo>
                  <a:lnTo>
                    <a:pt x="528" y="40"/>
                  </a:lnTo>
                  <a:lnTo>
                    <a:pt x="528" y="40"/>
                  </a:lnTo>
                  <a:close/>
                  <a:moveTo>
                    <a:pt x="528" y="46"/>
                  </a:moveTo>
                  <a:lnTo>
                    <a:pt x="528" y="40"/>
                  </a:lnTo>
                  <a:lnTo>
                    <a:pt x="532" y="40"/>
                  </a:lnTo>
                  <a:lnTo>
                    <a:pt x="532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close/>
                  <a:moveTo>
                    <a:pt x="538" y="46"/>
                  </a:moveTo>
                  <a:lnTo>
                    <a:pt x="538" y="46"/>
                  </a:lnTo>
                  <a:lnTo>
                    <a:pt x="538" y="46"/>
                  </a:lnTo>
                  <a:lnTo>
                    <a:pt x="538" y="46"/>
                  </a:lnTo>
                  <a:close/>
                  <a:moveTo>
                    <a:pt x="550" y="46"/>
                  </a:moveTo>
                  <a:lnTo>
                    <a:pt x="550" y="46"/>
                  </a:lnTo>
                  <a:lnTo>
                    <a:pt x="556" y="46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0" y="46"/>
                  </a:lnTo>
                  <a:close/>
                  <a:moveTo>
                    <a:pt x="498" y="52"/>
                  </a:moveTo>
                  <a:lnTo>
                    <a:pt x="492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46"/>
                  </a:lnTo>
                  <a:lnTo>
                    <a:pt x="504" y="46"/>
                  </a:lnTo>
                  <a:lnTo>
                    <a:pt x="510" y="46"/>
                  </a:lnTo>
                  <a:lnTo>
                    <a:pt x="510" y="46"/>
                  </a:lnTo>
                  <a:lnTo>
                    <a:pt x="510" y="52"/>
                  </a:lnTo>
                  <a:lnTo>
                    <a:pt x="516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04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close/>
                  <a:moveTo>
                    <a:pt x="532" y="52"/>
                  </a:moveTo>
                  <a:lnTo>
                    <a:pt x="538" y="52"/>
                  </a:lnTo>
                  <a:lnTo>
                    <a:pt x="538" y="46"/>
                  </a:lnTo>
                  <a:lnTo>
                    <a:pt x="544" y="52"/>
                  </a:lnTo>
                  <a:lnTo>
                    <a:pt x="538" y="52"/>
                  </a:lnTo>
                  <a:lnTo>
                    <a:pt x="538" y="52"/>
                  </a:lnTo>
                  <a:lnTo>
                    <a:pt x="532" y="52"/>
                  </a:lnTo>
                  <a:lnTo>
                    <a:pt x="532" y="52"/>
                  </a:lnTo>
                  <a:close/>
                  <a:moveTo>
                    <a:pt x="528" y="52"/>
                  </a:moveTo>
                  <a:lnTo>
                    <a:pt x="522" y="52"/>
                  </a:lnTo>
                  <a:lnTo>
                    <a:pt x="528" y="52"/>
                  </a:lnTo>
                  <a:lnTo>
                    <a:pt x="528" y="46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close/>
                  <a:moveTo>
                    <a:pt x="458" y="58"/>
                  </a:moveTo>
                  <a:lnTo>
                    <a:pt x="458" y="52"/>
                  </a:lnTo>
                  <a:lnTo>
                    <a:pt x="452" y="52"/>
                  </a:lnTo>
                  <a:lnTo>
                    <a:pt x="458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8"/>
                  </a:lnTo>
                  <a:lnTo>
                    <a:pt x="458" y="58"/>
                  </a:lnTo>
                  <a:lnTo>
                    <a:pt x="458" y="58"/>
                  </a:lnTo>
                  <a:close/>
                  <a:moveTo>
                    <a:pt x="608" y="52"/>
                  </a:moveTo>
                  <a:lnTo>
                    <a:pt x="608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08" y="52"/>
                  </a:lnTo>
                  <a:lnTo>
                    <a:pt x="608" y="52"/>
                  </a:lnTo>
                  <a:close/>
                  <a:moveTo>
                    <a:pt x="590" y="58"/>
                  </a:moveTo>
                  <a:lnTo>
                    <a:pt x="596" y="58"/>
                  </a:lnTo>
                  <a:lnTo>
                    <a:pt x="596" y="52"/>
                  </a:lnTo>
                  <a:lnTo>
                    <a:pt x="602" y="52"/>
                  </a:lnTo>
                  <a:lnTo>
                    <a:pt x="602" y="52"/>
                  </a:lnTo>
                  <a:lnTo>
                    <a:pt x="608" y="52"/>
                  </a:lnTo>
                  <a:lnTo>
                    <a:pt x="608" y="58"/>
                  </a:lnTo>
                  <a:lnTo>
                    <a:pt x="602" y="58"/>
                  </a:lnTo>
                  <a:lnTo>
                    <a:pt x="602" y="64"/>
                  </a:lnTo>
                  <a:lnTo>
                    <a:pt x="602" y="64"/>
                  </a:lnTo>
                  <a:lnTo>
                    <a:pt x="602" y="58"/>
                  </a:lnTo>
                  <a:lnTo>
                    <a:pt x="596" y="58"/>
                  </a:lnTo>
                  <a:lnTo>
                    <a:pt x="590" y="58"/>
                  </a:lnTo>
                  <a:lnTo>
                    <a:pt x="590" y="58"/>
                  </a:lnTo>
                  <a:close/>
                  <a:moveTo>
                    <a:pt x="464" y="58"/>
                  </a:moveTo>
                  <a:lnTo>
                    <a:pt x="464" y="58"/>
                  </a:lnTo>
                  <a:lnTo>
                    <a:pt x="470" y="58"/>
                  </a:lnTo>
                  <a:lnTo>
                    <a:pt x="474" y="58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8"/>
                  </a:lnTo>
                  <a:lnTo>
                    <a:pt x="480" y="58"/>
                  </a:lnTo>
                  <a:lnTo>
                    <a:pt x="480" y="64"/>
                  </a:lnTo>
                  <a:lnTo>
                    <a:pt x="474" y="64"/>
                  </a:lnTo>
                  <a:lnTo>
                    <a:pt x="474" y="64"/>
                  </a:lnTo>
                  <a:lnTo>
                    <a:pt x="474" y="58"/>
                  </a:lnTo>
                  <a:lnTo>
                    <a:pt x="470" y="58"/>
                  </a:lnTo>
                  <a:lnTo>
                    <a:pt x="470" y="64"/>
                  </a:lnTo>
                  <a:lnTo>
                    <a:pt x="464" y="58"/>
                  </a:lnTo>
                  <a:lnTo>
                    <a:pt x="464" y="58"/>
                  </a:lnTo>
                  <a:lnTo>
                    <a:pt x="464" y="58"/>
                  </a:lnTo>
                  <a:close/>
                  <a:moveTo>
                    <a:pt x="452" y="58"/>
                  </a:moveTo>
                  <a:lnTo>
                    <a:pt x="452" y="52"/>
                  </a:lnTo>
                  <a:lnTo>
                    <a:pt x="458" y="58"/>
                  </a:lnTo>
                  <a:lnTo>
                    <a:pt x="452" y="58"/>
                  </a:lnTo>
                  <a:lnTo>
                    <a:pt x="452" y="58"/>
                  </a:lnTo>
                  <a:lnTo>
                    <a:pt x="452" y="58"/>
                  </a:lnTo>
                  <a:close/>
                  <a:moveTo>
                    <a:pt x="1130" y="58"/>
                  </a:move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30" y="58"/>
                  </a:lnTo>
                  <a:lnTo>
                    <a:pt x="1130" y="58"/>
                  </a:lnTo>
                  <a:close/>
                  <a:moveTo>
                    <a:pt x="586" y="64"/>
                  </a:moveTo>
                  <a:lnTo>
                    <a:pt x="590" y="64"/>
                  </a:lnTo>
                  <a:lnTo>
                    <a:pt x="590" y="58"/>
                  </a:lnTo>
                  <a:lnTo>
                    <a:pt x="590" y="58"/>
                  </a:lnTo>
                  <a:lnTo>
                    <a:pt x="590" y="64"/>
                  </a:lnTo>
                  <a:lnTo>
                    <a:pt x="596" y="64"/>
                  </a:lnTo>
                  <a:lnTo>
                    <a:pt x="590" y="64"/>
                  </a:lnTo>
                  <a:lnTo>
                    <a:pt x="590" y="64"/>
                  </a:lnTo>
                  <a:lnTo>
                    <a:pt x="586" y="64"/>
                  </a:lnTo>
                  <a:lnTo>
                    <a:pt x="586" y="64"/>
                  </a:lnTo>
                  <a:close/>
                  <a:moveTo>
                    <a:pt x="1090" y="70"/>
                  </a:moveTo>
                  <a:lnTo>
                    <a:pt x="1090" y="70"/>
                  </a:lnTo>
                  <a:lnTo>
                    <a:pt x="1084" y="64"/>
                  </a:lnTo>
                  <a:lnTo>
                    <a:pt x="1090" y="64"/>
                  </a:lnTo>
                  <a:lnTo>
                    <a:pt x="1090" y="64"/>
                  </a:lnTo>
                  <a:lnTo>
                    <a:pt x="1096" y="70"/>
                  </a:lnTo>
                  <a:lnTo>
                    <a:pt x="1090" y="70"/>
                  </a:lnTo>
                  <a:lnTo>
                    <a:pt x="1090" y="70"/>
                  </a:lnTo>
                  <a:close/>
                  <a:moveTo>
                    <a:pt x="1154" y="156"/>
                  </a:moveTo>
                  <a:lnTo>
                    <a:pt x="1154" y="156"/>
                  </a:lnTo>
                  <a:lnTo>
                    <a:pt x="1154" y="162"/>
                  </a:lnTo>
                  <a:lnTo>
                    <a:pt x="1148" y="162"/>
                  </a:lnTo>
                  <a:lnTo>
                    <a:pt x="1148" y="156"/>
                  </a:lnTo>
                  <a:lnTo>
                    <a:pt x="1154" y="156"/>
                  </a:lnTo>
                  <a:lnTo>
                    <a:pt x="1154" y="156"/>
                  </a:lnTo>
                  <a:close/>
                  <a:moveTo>
                    <a:pt x="608" y="174"/>
                  </a:moveTo>
                  <a:lnTo>
                    <a:pt x="614" y="174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14" y="174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08" y="180"/>
                  </a:lnTo>
                  <a:lnTo>
                    <a:pt x="608" y="174"/>
                  </a:lnTo>
                  <a:lnTo>
                    <a:pt x="608" y="174"/>
                  </a:lnTo>
                  <a:close/>
                  <a:moveTo>
                    <a:pt x="590" y="180"/>
                  </a:move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590" y="180"/>
                  </a:lnTo>
                  <a:lnTo>
                    <a:pt x="590" y="180"/>
                  </a:lnTo>
                  <a:close/>
                  <a:moveTo>
                    <a:pt x="1832" y="192"/>
                  </a:moveTo>
                  <a:lnTo>
                    <a:pt x="1832" y="192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2" y="192"/>
                  </a:lnTo>
                  <a:close/>
                  <a:moveTo>
                    <a:pt x="1014" y="214"/>
                  </a:move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close/>
                  <a:moveTo>
                    <a:pt x="1002" y="226"/>
                  </a:moveTo>
                  <a:lnTo>
                    <a:pt x="996" y="226"/>
                  </a:lnTo>
                  <a:lnTo>
                    <a:pt x="996" y="220"/>
                  </a:lnTo>
                  <a:lnTo>
                    <a:pt x="1002" y="220"/>
                  </a:lnTo>
                  <a:lnTo>
                    <a:pt x="1008" y="220"/>
                  </a:lnTo>
                  <a:lnTo>
                    <a:pt x="1002" y="220"/>
                  </a:lnTo>
                  <a:lnTo>
                    <a:pt x="1002" y="226"/>
                  </a:lnTo>
                  <a:lnTo>
                    <a:pt x="1002" y="226"/>
                  </a:lnTo>
                  <a:close/>
                  <a:moveTo>
                    <a:pt x="992" y="226"/>
                  </a:moveTo>
                  <a:lnTo>
                    <a:pt x="996" y="226"/>
                  </a:lnTo>
                  <a:lnTo>
                    <a:pt x="996" y="226"/>
                  </a:lnTo>
                  <a:lnTo>
                    <a:pt x="996" y="226"/>
                  </a:lnTo>
                  <a:lnTo>
                    <a:pt x="992" y="226"/>
                  </a:lnTo>
                  <a:lnTo>
                    <a:pt x="992" y="226"/>
                  </a:lnTo>
                  <a:close/>
                  <a:moveTo>
                    <a:pt x="1020" y="250"/>
                  </a:moveTo>
                  <a:lnTo>
                    <a:pt x="1020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0" y="244"/>
                  </a:lnTo>
                  <a:lnTo>
                    <a:pt x="1020" y="250"/>
                  </a:lnTo>
                  <a:lnTo>
                    <a:pt x="1020" y="250"/>
                  </a:lnTo>
                  <a:close/>
                  <a:moveTo>
                    <a:pt x="1020" y="244"/>
                  </a:moveTo>
                  <a:lnTo>
                    <a:pt x="1014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1014" y="244"/>
                  </a:lnTo>
                  <a:lnTo>
                    <a:pt x="1020" y="244"/>
                  </a:lnTo>
                  <a:lnTo>
                    <a:pt x="1020" y="244"/>
                  </a:lnTo>
                  <a:close/>
                  <a:moveTo>
                    <a:pt x="846" y="254"/>
                  </a:moveTo>
                  <a:lnTo>
                    <a:pt x="846" y="250"/>
                  </a:lnTo>
                  <a:lnTo>
                    <a:pt x="852" y="250"/>
                  </a:lnTo>
                  <a:lnTo>
                    <a:pt x="858" y="250"/>
                  </a:lnTo>
                  <a:lnTo>
                    <a:pt x="852" y="254"/>
                  </a:lnTo>
                  <a:lnTo>
                    <a:pt x="846" y="254"/>
                  </a:lnTo>
                  <a:lnTo>
                    <a:pt x="846" y="254"/>
                  </a:lnTo>
                  <a:lnTo>
                    <a:pt x="846" y="254"/>
                  </a:lnTo>
                  <a:close/>
                  <a:moveTo>
                    <a:pt x="858" y="250"/>
                  </a:moveTo>
                  <a:lnTo>
                    <a:pt x="858" y="250"/>
                  </a:lnTo>
                  <a:lnTo>
                    <a:pt x="858" y="254"/>
                  </a:lnTo>
                  <a:lnTo>
                    <a:pt x="864" y="254"/>
                  </a:lnTo>
                  <a:lnTo>
                    <a:pt x="858" y="254"/>
                  </a:lnTo>
                  <a:lnTo>
                    <a:pt x="858" y="250"/>
                  </a:lnTo>
                  <a:lnTo>
                    <a:pt x="858" y="250"/>
                  </a:lnTo>
                  <a:lnTo>
                    <a:pt x="858" y="250"/>
                  </a:lnTo>
                  <a:close/>
                  <a:moveTo>
                    <a:pt x="1618" y="254"/>
                  </a:moveTo>
                  <a:lnTo>
                    <a:pt x="1624" y="254"/>
                  </a:lnTo>
                  <a:lnTo>
                    <a:pt x="1618" y="254"/>
                  </a:lnTo>
                  <a:lnTo>
                    <a:pt x="1618" y="254"/>
                  </a:lnTo>
                  <a:close/>
                  <a:moveTo>
                    <a:pt x="782" y="254"/>
                  </a:move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close/>
                  <a:moveTo>
                    <a:pt x="858" y="260"/>
                  </a:moveTo>
                  <a:lnTo>
                    <a:pt x="858" y="260"/>
                  </a:lnTo>
                  <a:lnTo>
                    <a:pt x="864" y="260"/>
                  </a:lnTo>
                  <a:lnTo>
                    <a:pt x="858" y="260"/>
                  </a:lnTo>
                  <a:lnTo>
                    <a:pt x="858" y="260"/>
                  </a:lnTo>
                  <a:lnTo>
                    <a:pt x="858" y="260"/>
                  </a:lnTo>
                  <a:close/>
                  <a:moveTo>
                    <a:pt x="822" y="266"/>
                  </a:moveTo>
                  <a:lnTo>
                    <a:pt x="822" y="260"/>
                  </a:lnTo>
                  <a:lnTo>
                    <a:pt x="828" y="260"/>
                  </a:lnTo>
                  <a:lnTo>
                    <a:pt x="834" y="260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28" y="266"/>
                  </a:lnTo>
                  <a:lnTo>
                    <a:pt x="828" y="266"/>
                  </a:lnTo>
                  <a:lnTo>
                    <a:pt x="822" y="266"/>
                  </a:lnTo>
                  <a:lnTo>
                    <a:pt x="822" y="266"/>
                  </a:lnTo>
                  <a:close/>
                  <a:moveTo>
                    <a:pt x="1548" y="266"/>
                  </a:moveTo>
                  <a:lnTo>
                    <a:pt x="1548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48" y="266"/>
                  </a:lnTo>
                  <a:lnTo>
                    <a:pt x="1548" y="266"/>
                  </a:lnTo>
                  <a:close/>
                  <a:moveTo>
                    <a:pt x="1652" y="266"/>
                  </a:moveTo>
                  <a:lnTo>
                    <a:pt x="1652" y="266"/>
                  </a:lnTo>
                  <a:lnTo>
                    <a:pt x="1658" y="266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close/>
                  <a:moveTo>
                    <a:pt x="1554" y="266"/>
                  </a:move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72"/>
                  </a:lnTo>
                  <a:lnTo>
                    <a:pt x="1570" y="272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54" y="266"/>
                  </a:lnTo>
                  <a:close/>
                  <a:moveTo>
                    <a:pt x="1658" y="272"/>
                  </a:moveTo>
                  <a:lnTo>
                    <a:pt x="1652" y="272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58" y="266"/>
                  </a:lnTo>
                  <a:lnTo>
                    <a:pt x="1664" y="266"/>
                  </a:lnTo>
                  <a:lnTo>
                    <a:pt x="1658" y="272"/>
                  </a:lnTo>
                  <a:lnTo>
                    <a:pt x="1658" y="272"/>
                  </a:lnTo>
                  <a:close/>
                  <a:moveTo>
                    <a:pt x="1640" y="278"/>
                  </a:moveTo>
                  <a:lnTo>
                    <a:pt x="1646" y="278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46" y="278"/>
                  </a:lnTo>
                  <a:lnTo>
                    <a:pt x="1640" y="278"/>
                  </a:lnTo>
                  <a:lnTo>
                    <a:pt x="1640" y="278"/>
                  </a:lnTo>
                  <a:close/>
                  <a:moveTo>
                    <a:pt x="1624" y="290"/>
                  </a:moveTo>
                  <a:lnTo>
                    <a:pt x="1624" y="284"/>
                  </a:lnTo>
                  <a:lnTo>
                    <a:pt x="1618" y="284"/>
                  </a:lnTo>
                  <a:lnTo>
                    <a:pt x="1624" y="284"/>
                  </a:lnTo>
                  <a:lnTo>
                    <a:pt x="1624" y="290"/>
                  </a:lnTo>
                  <a:lnTo>
                    <a:pt x="1624" y="290"/>
                  </a:lnTo>
                  <a:close/>
                  <a:moveTo>
                    <a:pt x="1624" y="296"/>
                  </a:moveTo>
                  <a:lnTo>
                    <a:pt x="1628" y="296"/>
                  </a:lnTo>
                  <a:lnTo>
                    <a:pt x="1628" y="296"/>
                  </a:lnTo>
                  <a:lnTo>
                    <a:pt x="1624" y="296"/>
                  </a:lnTo>
                  <a:lnTo>
                    <a:pt x="1624" y="296"/>
                  </a:lnTo>
                  <a:lnTo>
                    <a:pt x="1624" y="296"/>
                  </a:lnTo>
                  <a:close/>
                  <a:moveTo>
                    <a:pt x="950" y="324"/>
                  </a:moveTo>
                  <a:lnTo>
                    <a:pt x="944" y="324"/>
                  </a:lnTo>
                  <a:lnTo>
                    <a:pt x="944" y="318"/>
                  </a:lnTo>
                  <a:lnTo>
                    <a:pt x="950" y="318"/>
                  </a:lnTo>
                  <a:lnTo>
                    <a:pt x="950" y="324"/>
                  </a:lnTo>
                  <a:lnTo>
                    <a:pt x="950" y="324"/>
                  </a:lnTo>
                  <a:close/>
                  <a:moveTo>
                    <a:pt x="962" y="324"/>
                  </a:moveTo>
                  <a:lnTo>
                    <a:pt x="962" y="324"/>
                  </a:lnTo>
                  <a:lnTo>
                    <a:pt x="962" y="318"/>
                  </a:lnTo>
                  <a:lnTo>
                    <a:pt x="962" y="318"/>
                  </a:lnTo>
                  <a:lnTo>
                    <a:pt x="962" y="324"/>
                  </a:lnTo>
                  <a:lnTo>
                    <a:pt x="962" y="324"/>
                  </a:lnTo>
                  <a:close/>
                  <a:moveTo>
                    <a:pt x="962" y="336"/>
                  </a:moveTo>
                  <a:lnTo>
                    <a:pt x="962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24"/>
                  </a:lnTo>
                  <a:lnTo>
                    <a:pt x="968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36"/>
                  </a:lnTo>
                  <a:lnTo>
                    <a:pt x="962" y="336"/>
                  </a:lnTo>
                  <a:lnTo>
                    <a:pt x="962" y="336"/>
                  </a:lnTo>
                  <a:close/>
                  <a:moveTo>
                    <a:pt x="568" y="336"/>
                  </a:moveTo>
                  <a:lnTo>
                    <a:pt x="562" y="330"/>
                  </a:lnTo>
                  <a:lnTo>
                    <a:pt x="568" y="330"/>
                  </a:lnTo>
                  <a:lnTo>
                    <a:pt x="568" y="336"/>
                  </a:lnTo>
                  <a:lnTo>
                    <a:pt x="568" y="336"/>
                  </a:lnTo>
                  <a:close/>
                  <a:moveTo>
                    <a:pt x="968" y="330"/>
                  </a:moveTo>
                  <a:lnTo>
                    <a:pt x="962" y="330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0"/>
                  </a:lnTo>
                  <a:close/>
                  <a:moveTo>
                    <a:pt x="968" y="336"/>
                  </a:moveTo>
                  <a:lnTo>
                    <a:pt x="962" y="336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6"/>
                  </a:lnTo>
                  <a:close/>
                  <a:moveTo>
                    <a:pt x="956" y="342"/>
                  </a:moveTo>
                  <a:lnTo>
                    <a:pt x="956" y="342"/>
                  </a:lnTo>
                  <a:lnTo>
                    <a:pt x="962" y="342"/>
                  </a:lnTo>
                  <a:lnTo>
                    <a:pt x="962" y="342"/>
                  </a:lnTo>
                  <a:lnTo>
                    <a:pt x="956" y="342"/>
                  </a:lnTo>
                  <a:lnTo>
                    <a:pt x="956" y="342"/>
                  </a:lnTo>
                  <a:close/>
                  <a:moveTo>
                    <a:pt x="718" y="366"/>
                  </a:moveTo>
                  <a:lnTo>
                    <a:pt x="718" y="366"/>
                  </a:lnTo>
                  <a:lnTo>
                    <a:pt x="718" y="366"/>
                  </a:lnTo>
                  <a:lnTo>
                    <a:pt x="718" y="366"/>
                  </a:lnTo>
                  <a:close/>
                  <a:moveTo>
                    <a:pt x="760" y="440"/>
                  </a:moveTo>
                  <a:lnTo>
                    <a:pt x="760" y="440"/>
                  </a:lnTo>
                  <a:lnTo>
                    <a:pt x="760" y="434"/>
                  </a:lnTo>
                  <a:lnTo>
                    <a:pt x="754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54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4" y="434"/>
                  </a:lnTo>
                  <a:lnTo>
                    <a:pt x="764" y="440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60" y="440"/>
                  </a:lnTo>
                  <a:close/>
                  <a:moveTo>
                    <a:pt x="312" y="488"/>
                  </a:moveTo>
                  <a:lnTo>
                    <a:pt x="318" y="492"/>
                  </a:lnTo>
                  <a:lnTo>
                    <a:pt x="312" y="492"/>
                  </a:lnTo>
                  <a:lnTo>
                    <a:pt x="306" y="492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12" y="488"/>
                  </a:lnTo>
                  <a:close/>
                  <a:moveTo>
                    <a:pt x="1982" y="626"/>
                  </a:moveTo>
                  <a:lnTo>
                    <a:pt x="1982" y="626"/>
                  </a:lnTo>
                  <a:lnTo>
                    <a:pt x="1982" y="626"/>
                  </a:lnTo>
                  <a:lnTo>
                    <a:pt x="1982" y="632"/>
                  </a:lnTo>
                  <a:lnTo>
                    <a:pt x="1982" y="626"/>
                  </a:lnTo>
                  <a:lnTo>
                    <a:pt x="1982" y="626"/>
                  </a:lnTo>
                  <a:close/>
                  <a:moveTo>
                    <a:pt x="1774" y="730"/>
                  </a:moveTo>
                  <a:lnTo>
                    <a:pt x="1774" y="724"/>
                  </a:lnTo>
                  <a:lnTo>
                    <a:pt x="1780" y="724"/>
                  </a:lnTo>
                  <a:lnTo>
                    <a:pt x="1780" y="724"/>
                  </a:lnTo>
                  <a:lnTo>
                    <a:pt x="1780" y="730"/>
                  </a:lnTo>
                  <a:lnTo>
                    <a:pt x="1780" y="724"/>
                  </a:lnTo>
                  <a:lnTo>
                    <a:pt x="1774" y="724"/>
                  </a:lnTo>
                  <a:lnTo>
                    <a:pt x="1774" y="730"/>
                  </a:lnTo>
                  <a:lnTo>
                    <a:pt x="1774" y="730"/>
                  </a:lnTo>
                  <a:close/>
                  <a:moveTo>
                    <a:pt x="1786" y="742"/>
                  </a:moveTo>
                  <a:lnTo>
                    <a:pt x="1786" y="736"/>
                  </a:lnTo>
                  <a:lnTo>
                    <a:pt x="1786" y="742"/>
                  </a:lnTo>
                  <a:lnTo>
                    <a:pt x="1786" y="742"/>
                  </a:lnTo>
                  <a:close/>
                  <a:moveTo>
                    <a:pt x="1792" y="742"/>
                  </a:moveTo>
                  <a:lnTo>
                    <a:pt x="1792" y="736"/>
                  </a:lnTo>
                  <a:lnTo>
                    <a:pt x="1792" y="742"/>
                  </a:lnTo>
                  <a:lnTo>
                    <a:pt x="1792" y="742"/>
                  </a:lnTo>
                  <a:close/>
                  <a:moveTo>
                    <a:pt x="1704" y="992"/>
                  </a:moveTo>
                  <a:lnTo>
                    <a:pt x="1698" y="992"/>
                  </a:lnTo>
                  <a:lnTo>
                    <a:pt x="1698" y="986"/>
                  </a:lnTo>
                  <a:lnTo>
                    <a:pt x="1704" y="992"/>
                  </a:lnTo>
                  <a:lnTo>
                    <a:pt x="1704" y="992"/>
                  </a:lnTo>
                  <a:close/>
                  <a:moveTo>
                    <a:pt x="580" y="6"/>
                  </a:moveTo>
                  <a:lnTo>
                    <a:pt x="580" y="0"/>
                  </a:lnTo>
                  <a:lnTo>
                    <a:pt x="58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96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59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86" y="6"/>
                  </a:lnTo>
                  <a:lnTo>
                    <a:pt x="580" y="6"/>
                  </a:lnTo>
                  <a:lnTo>
                    <a:pt x="580" y="6"/>
                  </a:lnTo>
                  <a:close/>
                  <a:moveTo>
                    <a:pt x="580" y="12"/>
                  </a:moveTo>
                  <a:lnTo>
                    <a:pt x="574" y="12"/>
                  </a:lnTo>
                  <a:lnTo>
                    <a:pt x="574" y="12"/>
                  </a:lnTo>
                  <a:lnTo>
                    <a:pt x="568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2"/>
                  </a:lnTo>
                  <a:lnTo>
                    <a:pt x="574" y="12"/>
                  </a:lnTo>
                  <a:lnTo>
                    <a:pt x="580" y="12"/>
                  </a:lnTo>
                  <a:lnTo>
                    <a:pt x="586" y="12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0" y="12"/>
                  </a:lnTo>
                  <a:lnTo>
                    <a:pt x="580" y="12"/>
                  </a:lnTo>
                  <a:close/>
                  <a:moveTo>
                    <a:pt x="544" y="18"/>
                  </a:moveTo>
                  <a:lnTo>
                    <a:pt x="538" y="18"/>
                  </a:lnTo>
                  <a:lnTo>
                    <a:pt x="544" y="18"/>
                  </a:lnTo>
                  <a:lnTo>
                    <a:pt x="550" y="18"/>
                  </a:lnTo>
                  <a:lnTo>
                    <a:pt x="550" y="18"/>
                  </a:lnTo>
                  <a:lnTo>
                    <a:pt x="556" y="18"/>
                  </a:lnTo>
                  <a:lnTo>
                    <a:pt x="562" y="18"/>
                  </a:lnTo>
                  <a:lnTo>
                    <a:pt x="556" y="18"/>
                  </a:lnTo>
                  <a:lnTo>
                    <a:pt x="556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68" y="18"/>
                  </a:lnTo>
                  <a:lnTo>
                    <a:pt x="562" y="18"/>
                  </a:lnTo>
                  <a:lnTo>
                    <a:pt x="562" y="22"/>
                  </a:lnTo>
                  <a:lnTo>
                    <a:pt x="556" y="22"/>
                  </a:lnTo>
                  <a:lnTo>
                    <a:pt x="556" y="18"/>
                  </a:lnTo>
                  <a:lnTo>
                    <a:pt x="550" y="18"/>
                  </a:lnTo>
                  <a:lnTo>
                    <a:pt x="550" y="22"/>
                  </a:lnTo>
                  <a:lnTo>
                    <a:pt x="550" y="22"/>
                  </a:lnTo>
                  <a:lnTo>
                    <a:pt x="544" y="22"/>
                  </a:lnTo>
                  <a:lnTo>
                    <a:pt x="544" y="18"/>
                  </a:lnTo>
                  <a:lnTo>
                    <a:pt x="544" y="18"/>
                  </a:lnTo>
                  <a:close/>
                  <a:moveTo>
                    <a:pt x="1166" y="52"/>
                  </a:moveTo>
                  <a:lnTo>
                    <a:pt x="1166" y="52"/>
                  </a:lnTo>
                  <a:lnTo>
                    <a:pt x="1160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48" y="52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36" y="52"/>
                  </a:lnTo>
                  <a:lnTo>
                    <a:pt x="1130" y="52"/>
                  </a:ln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1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090" y="52"/>
                  </a:lnTo>
                  <a:lnTo>
                    <a:pt x="1090" y="52"/>
                  </a:lnTo>
                  <a:lnTo>
                    <a:pt x="1090" y="46"/>
                  </a:lnTo>
                  <a:lnTo>
                    <a:pt x="1090" y="46"/>
                  </a:lnTo>
                  <a:lnTo>
                    <a:pt x="1096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096" y="46"/>
                  </a:lnTo>
                  <a:lnTo>
                    <a:pt x="1096" y="40"/>
                  </a:lnTo>
                  <a:lnTo>
                    <a:pt x="1102" y="40"/>
                  </a:lnTo>
                  <a:lnTo>
                    <a:pt x="1102" y="40"/>
                  </a:lnTo>
                  <a:lnTo>
                    <a:pt x="1108" y="40"/>
                  </a:lnTo>
                  <a:lnTo>
                    <a:pt x="1108" y="40"/>
                  </a:lnTo>
                  <a:lnTo>
                    <a:pt x="1112" y="40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08" y="34"/>
                  </a:lnTo>
                  <a:lnTo>
                    <a:pt x="1102" y="34"/>
                  </a:lnTo>
                  <a:lnTo>
                    <a:pt x="1108" y="34"/>
                  </a:lnTo>
                  <a:lnTo>
                    <a:pt x="1108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8" y="28"/>
                  </a:lnTo>
                  <a:lnTo>
                    <a:pt x="1124" y="28"/>
                  </a:lnTo>
                  <a:lnTo>
                    <a:pt x="1130" y="28"/>
                  </a:lnTo>
                  <a:lnTo>
                    <a:pt x="1130" y="22"/>
                  </a:lnTo>
                  <a:lnTo>
                    <a:pt x="1130" y="22"/>
                  </a:lnTo>
                  <a:lnTo>
                    <a:pt x="1136" y="22"/>
                  </a:lnTo>
                  <a:lnTo>
                    <a:pt x="1142" y="22"/>
                  </a:lnTo>
                  <a:lnTo>
                    <a:pt x="1142" y="22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48" y="18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54" y="18"/>
                  </a:lnTo>
                  <a:lnTo>
                    <a:pt x="1160" y="22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70" y="28"/>
                  </a:lnTo>
                  <a:lnTo>
                    <a:pt x="1182" y="28"/>
                  </a:lnTo>
                  <a:lnTo>
                    <a:pt x="1182" y="34"/>
                  </a:lnTo>
                  <a:lnTo>
                    <a:pt x="1188" y="34"/>
                  </a:lnTo>
                  <a:lnTo>
                    <a:pt x="1182" y="40"/>
                  </a:lnTo>
                  <a:lnTo>
                    <a:pt x="1182" y="40"/>
                  </a:lnTo>
                  <a:lnTo>
                    <a:pt x="1176" y="40"/>
                  </a:lnTo>
                  <a:lnTo>
                    <a:pt x="1170" y="40"/>
                  </a:lnTo>
                  <a:lnTo>
                    <a:pt x="1170" y="40"/>
                  </a:lnTo>
                  <a:lnTo>
                    <a:pt x="1176" y="40"/>
                  </a:lnTo>
                  <a:lnTo>
                    <a:pt x="1176" y="46"/>
                  </a:lnTo>
                  <a:lnTo>
                    <a:pt x="1182" y="52"/>
                  </a:lnTo>
                  <a:lnTo>
                    <a:pt x="1176" y="52"/>
                  </a:lnTo>
                  <a:lnTo>
                    <a:pt x="1170" y="52"/>
                  </a:lnTo>
                  <a:lnTo>
                    <a:pt x="1166" y="52"/>
                  </a:lnTo>
                  <a:lnTo>
                    <a:pt x="1166" y="52"/>
                  </a:lnTo>
                  <a:close/>
                  <a:moveTo>
                    <a:pt x="648" y="28"/>
                  </a:moveTo>
                  <a:lnTo>
                    <a:pt x="654" y="28"/>
                  </a:lnTo>
                  <a:lnTo>
                    <a:pt x="654" y="28"/>
                  </a:lnTo>
                  <a:lnTo>
                    <a:pt x="660" y="28"/>
                  </a:lnTo>
                  <a:lnTo>
                    <a:pt x="666" y="28"/>
                  </a:lnTo>
                  <a:lnTo>
                    <a:pt x="666" y="28"/>
                  </a:lnTo>
                  <a:lnTo>
                    <a:pt x="672" y="28"/>
                  </a:lnTo>
                  <a:lnTo>
                    <a:pt x="678" y="28"/>
                  </a:lnTo>
                  <a:lnTo>
                    <a:pt x="672" y="28"/>
                  </a:lnTo>
                  <a:lnTo>
                    <a:pt x="672" y="22"/>
                  </a:lnTo>
                  <a:lnTo>
                    <a:pt x="678" y="22"/>
                  </a:lnTo>
                  <a:lnTo>
                    <a:pt x="678" y="22"/>
                  </a:lnTo>
                  <a:lnTo>
                    <a:pt x="684" y="22"/>
                  </a:lnTo>
                  <a:lnTo>
                    <a:pt x="690" y="22"/>
                  </a:lnTo>
                  <a:lnTo>
                    <a:pt x="690" y="22"/>
                  </a:lnTo>
                  <a:lnTo>
                    <a:pt x="690" y="28"/>
                  </a:lnTo>
                  <a:lnTo>
                    <a:pt x="690" y="28"/>
                  </a:lnTo>
                  <a:lnTo>
                    <a:pt x="690" y="34"/>
                  </a:lnTo>
                  <a:lnTo>
                    <a:pt x="684" y="34"/>
                  </a:lnTo>
                  <a:lnTo>
                    <a:pt x="678" y="34"/>
                  </a:lnTo>
                  <a:lnTo>
                    <a:pt x="678" y="34"/>
                  </a:lnTo>
                  <a:lnTo>
                    <a:pt x="672" y="34"/>
                  </a:lnTo>
                  <a:lnTo>
                    <a:pt x="666" y="34"/>
                  </a:lnTo>
                  <a:lnTo>
                    <a:pt x="666" y="34"/>
                  </a:lnTo>
                  <a:lnTo>
                    <a:pt x="666" y="40"/>
                  </a:lnTo>
                  <a:lnTo>
                    <a:pt x="660" y="40"/>
                  </a:lnTo>
                  <a:lnTo>
                    <a:pt x="654" y="40"/>
                  </a:lnTo>
                  <a:lnTo>
                    <a:pt x="654" y="34"/>
                  </a:lnTo>
                  <a:lnTo>
                    <a:pt x="654" y="34"/>
                  </a:lnTo>
                  <a:lnTo>
                    <a:pt x="648" y="34"/>
                  </a:lnTo>
                  <a:lnTo>
                    <a:pt x="648" y="28"/>
                  </a:lnTo>
                  <a:lnTo>
                    <a:pt x="648" y="28"/>
                  </a:lnTo>
                  <a:close/>
                  <a:moveTo>
                    <a:pt x="528" y="28"/>
                  </a:moveTo>
                  <a:lnTo>
                    <a:pt x="528" y="22"/>
                  </a:lnTo>
                  <a:lnTo>
                    <a:pt x="532" y="22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28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56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34"/>
                  </a:lnTo>
                  <a:lnTo>
                    <a:pt x="574" y="34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2" y="34"/>
                  </a:lnTo>
                  <a:lnTo>
                    <a:pt x="562" y="34"/>
                  </a:lnTo>
                  <a:lnTo>
                    <a:pt x="556" y="34"/>
                  </a:lnTo>
                  <a:lnTo>
                    <a:pt x="550" y="34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44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2" y="28"/>
                  </a:lnTo>
                  <a:lnTo>
                    <a:pt x="528" y="28"/>
                  </a:lnTo>
                  <a:lnTo>
                    <a:pt x="528" y="28"/>
                  </a:lnTo>
                  <a:close/>
                  <a:moveTo>
                    <a:pt x="412" y="52"/>
                  </a:moveTo>
                  <a:lnTo>
                    <a:pt x="412" y="46"/>
                  </a:lnTo>
                  <a:lnTo>
                    <a:pt x="418" y="46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34" y="46"/>
                  </a:lnTo>
                  <a:lnTo>
                    <a:pt x="428" y="46"/>
                  </a:lnTo>
                  <a:lnTo>
                    <a:pt x="422" y="46"/>
                  </a:lnTo>
                  <a:lnTo>
                    <a:pt x="428" y="46"/>
                  </a:lnTo>
                  <a:lnTo>
                    <a:pt x="434" y="46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2" y="40"/>
                  </a:lnTo>
                  <a:lnTo>
                    <a:pt x="422" y="46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8" y="40"/>
                  </a:lnTo>
                  <a:lnTo>
                    <a:pt x="434" y="40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46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8" y="34"/>
                  </a:lnTo>
                  <a:lnTo>
                    <a:pt x="452" y="34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34"/>
                  </a:lnTo>
                  <a:lnTo>
                    <a:pt x="446" y="34"/>
                  </a:lnTo>
                  <a:lnTo>
                    <a:pt x="452" y="34"/>
                  </a:lnTo>
                  <a:lnTo>
                    <a:pt x="452" y="34"/>
                  </a:lnTo>
                  <a:lnTo>
                    <a:pt x="452" y="28"/>
                  </a:lnTo>
                  <a:lnTo>
                    <a:pt x="458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70" y="28"/>
                  </a:lnTo>
                  <a:lnTo>
                    <a:pt x="474" y="28"/>
                  </a:lnTo>
                  <a:lnTo>
                    <a:pt x="474" y="28"/>
                  </a:lnTo>
                  <a:lnTo>
                    <a:pt x="470" y="34"/>
                  </a:lnTo>
                  <a:lnTo>
                    <a:pt x="464" y="34"/>
                  </a:lnTo>
                  <a:lnTo>
                    <a:pt x="470" y="34"/>
                  </a:lnTo>
                  <a:lnTo>
                    <a:pt x="474" y="34"/>
                  </a:lnTo>
                  <a:lnTo>
                    <a:pt x="474" y="34"/>
                  </a:lnTo>
                  <a:lnTo>
                    <a:pt x="480" y="34"/>
                  </a:lnTo>
                  <a:lnTo>
                    <a:pt x="486" y="34"/>
                  </a:lnTo>
                  <a:lnTo>
                    <a:pt x="486" y="40"/>
                  </a:lnTo>
                  <a:lnTo>
                    <a:pt x="480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0" y="40"/>
                  </a:lnTo>
                  <a:lnTo>
                    <a:pt x="464" y="40"/>
                  </a:lnTo>
                  <a:lnTo>
                    <a:pt x="464" y="40"/>
                  </a:lnTo>
                  <a:lnTo>
                    <a:pt x="458" y="40"/>
                  </a:lnTo>
                  <a:lnTo>
                    <a:pt x="458" y="46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46" y="46"/>
                  </a:lnTo>
                  <a:lnTo>
                    <a:pt x="440" y="46"/>
                  </a:lnTo>
                  <a:lnTo>
                    <a:pt x="440" y="52"/>
                  </a:lnTo>
                  <a:lnTo>
                    <a:pt x="446" y="52"/>
                  </a:lnTo>
                  <a:lnTo>
                    <a:pt x="446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34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8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18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close/>
                  <a:moveTo>
                    <a:pt x="602" y="40"/>
                  </a:moveTo>
                  <a:lnTo>
                    <a:pt x="602" y="40"/>
                  </a:lnTo>
                  <a:lnTo>
                    <a:pt x="602" y="34"/>
                  </a:lnTo>
                  <a:lnTo>
                    <a:pt x="602" y="34"/>
                  </a:lnTo>
                  <a:lnTo>
                    <a:pt x="608" y="34"/>
                  </a:lnTo>
                  <a:lnTo>
                    <a:pt x="608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20" y="34"/>
                  </a:lnTo>
                  <a:lnTo>
                    <a:pt x="626" y="34"/>
                  </a:lnTo>
                  <a:lnTo>
                    <a:pt x="626" y="28"/>
                  </a:lnTo>
                  <a:lnTo>
                    <a:pt x="632" y="28"/>
                  </a:lnTo>
                  <a:lnTo>
                    <a:pt x="638" y="28"/>
                  </a:lnTo>
                  <a:lnTo>
                    <a:pt x="644" y="28"/>
                  </a:lnTo>
                  <a:lnTo>
                    <a:pt x="644" y="28"/>
                  </a:lnTo>
                  <a:lnTo>
                    <a:pt x="644" y="34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2" y="40"/>
                  </a:lnTo>
                  <a:lnTo>
                    <a:pt x="626" y="46"/>
                  </a:lnTo>
                  <a:lnTo>
                    <a:pt x="626" y="46"/>
                  </a:lnTo>
                  <a:lnTo>
                    <a:pt x="620" y="46"/>
                  </a:lnTo>
                  <a:lnTo>
                    <a:pt x="620" y="40"/>
                  </a:lnTo>
                  <a:lnTo>
                    <a:pt x="614" y="40"/>
                  </a:lnTo>
                  <a:lnTo>
                    <a:pt x="614" y="40"/>
                  </a:lnTo>
                  <a:lnTo>
                    <a:pt x="608" y="46"/>
                  </a:lnTo>
                  <a:lnTo>
                    <a:pt x="602" y="46"/>
                  </a:lnTo>
                  <a:lnTo>
                    <a:pt x="602" y="40"/>
                  </a:lnTo>
                  <a:lnTo>
                    <a:pt x="602" y="40"/>
                  </a:lnTo>
                  <a:lnTo>
                    <a:pt x="602" y="40"/>
                  </a:lnTo>
                  <a:close/>
                  <a:moveTo>
                    <a:pt x="400" y="46"/>
                  </a:moveTo>
                  <a:lnTo>
                    <a:pt x="400" y="40"/>
                  </a:lnTo>
                  <a:lnTo>
                    <a:pt x="400" y="40"/>
                  </a:lnTo>
                  <a:lnTo>
                    <a:pt x="394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2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94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6" y="40"/>
                  </a:lnTo>
                  <a:lnTo>
                    <a:pt x="412" y="34"/>
                  </a:lnTo>
                  <a:lnTo>
                    <a:pt x="406" y="34"/>
                  </a:lnTo>
                  <a:lnTo>
                    <a:pt x="412" y="34"/>
                  </a:lnTo>
                  <a:lnTo>
                    <a:pt x="412" y="34"/>
                  </a:lnTo>
                  <a:lnTo>
                    <a:pt x="418" y="34"/>
                  </a:lnTo>
                  <a:lnTo>
                    <a:pt x="418" y="28"/>
                  </a:lnTo>
                  <a:lnTo>
                    <a:pt x="422" y="28"/>
                  </a:lnTo>
                  <a:lnTo>
                    <a:pt x="422" y="28"/>
                  </a:lnTo>
                  <a:lnTo>
                    <a:pt x="422" y="34"/>
                  </a:lnTo>
                  <a:lnTo>
                    <a:pt x="428" y="34"/>
                  </a:lnTo>
                  <a:lnTo>
                    <a:pt x="434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8" y="34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22" y="40"/>
                  </a:lnTo>
                  <a:lnTo>
                    <a:pt x="418" y="40"/>
                  </a:lnTo>
                  <a:lnTo>
                    <a:pt x="412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00" y="46"/>
                  </a:lnTo>
                  <a:lnTo>
                    <a:pt x="400" y="46"/>
                  </a:lnTo>
                  <a:close/>
                  <a:moveTo>
                    <a:pt x="574" y="52"/>
                  </a:moveTo>
                  <a:lnTo>
                    <a:pt x="574" y="52"/>
                  </a:lnTo>
                  <a:lnTo>
                    <a:pt x="568" y="52"/>
                  </a:lnTo>
                  <a:lnTo>
                    <a:pt x="568" y="46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8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90" y="40"/>
                  </a:lnTo>
                  <a:lnTo>
                    <a:pt x="590" y="46"/>
                  </a:lnTo>
                  <a:lnTo>
                    <a:pt x="596" y="46"/>
                  </a:lnTo>
                  <a:lnTo>
                    <a:pt x="602" y="46"/>
                  </a:lnTo>
                  <a:lnTo>
                    <a:pt x="602" y="52"/>
                  </a:lnTo>
                  <a:lnTo>
                    <a:pt x="590" y="46"/>
                  </a:lnTo>
                  <a:lnTo>
                    <a:pt x="590" y="46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6" y="52"/>
                  </a:lnTo>
                  <a:lnTo>
                    <a:pt x="590" y="52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74" y="52"/>
                  </a:lnTo>
                  <a:lnTo>
                    <a:pt x="574" y="52"/>
                  </a:lnTo>
                  <a:close/>
                  <a:moveTo>
                    <a:pt x="550" y="52"/>
                  </a:moveTo>
                  <a:lnTo>
                    <a:pt x="550" y="52"/>
                  </a:lnTo>
                  <a:lnTo>
                    <a:pt x="550" y="52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6" y="46"/>
                  </a:lnTo>
                  <a:lnTo>
                    <a:pt x="562" y="46"/>
                  </a:lnTo>
                  <a:lnTo>
                    <a:pt x="562" y="46"/>
                  </a:lnTo>
                  <a:lnTo>
                    <a:pt x="568" y="46"/>
                  </a:lnTo>
                  <a:lnTo>
                    <a:pt x="568" y="52"/>
                  </a:lnTo>
                  <a:lnTo>
                    <a:pt x="568" y="52"/>
                  </a:lnTo>
                  <a:lnTo>
                    <a:pt x="562" y="52"/>
                  </a:lnTo>
                  <a:lnTo>
                    <a:pt x="562" y="58"/>
                  </a:lnTo>
                  <a:lnTo>
                    <a:pt x="562" y="58"/>
                  </a:lnTo>
                  <a:lnTo>
                    <a:pt x="562" y="52"/>
                  </a:lnTo>
                  <a:lnTo>
                    <a:pt x="556" y="52"/>
                  </a:lnTo>
                  <a:lnTo>
                    <a:pt x="550" y="52"/>
                  </a:lnTo>
                  <a:lnTo>
                    <a:pt x="550" y="52"/>
                  </a:lnTo>
                  <a:lnTo>
                    <a:pt x="544" y="52"/>
                  </a:lnTo>
                  <a:lnTo>
                    <a:pt x="550" y="52"/>
                  </a:lnTo>
                  <a:lnTo>
                    <a:pt x="550" y="52"/>
                  </a:lnTo>
                  <a:close/>
                  <a:moveTo>
                    <a:pt x="1112" y="76"/>
                  </a:moveTo>
                  <a:lnTo>
                    <a:pt x="1112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0"/>
                  </a:lnTo>
                  <a:lnTo>
                    <a:pt x="1112" y="70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18" y="70"/>
                  </a:lnTo>
                  <a:lnTo>
                    <a:pt x="1124" y="70"/>
                  </a:lnTo>
                  <a:lnTo>
                    <a:pt x="1124" y="64"/>
                  </a:lnTo>
                  <a:lnTo>
                    <a:pt x="1130" y="64"/>
                  </a:lnTo>
                  <a:lnTo>
                    <a:pt x="1130" y="64"/>
                  </a:lnTo>
                  <a:lnTo>
                    <a:pt x="1136" y="64"/>
                  </a:lnTo>
                  <a:lnTo>
                    <a:pt x="1136" y="64"/>
                  </a:lnTo>
                  <a:lnTo>
                    <a:pt x="1130" y="64"/>
                  </a:lnTo>
                  <a:lnTo>
                    <a:pt x="1130" y="58"/>
                  </a:lnTo>
                  <a:lnTo>
                    <a:pt x="1136" y="58"/>
                  </a:lnTo>
                  <a:lnTo>
                    <a:pt x="1142" y="58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42" y="58"/>
                  </a:lnTo>
                  <a:lnTo>
                    <a:pt x="1148" y="58"/>
                  </a:lnTo>
                  <a:lnTo>
                    <a:pt x="1148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60" y="52"/>
                  </a:lnTo>
                  <a:lnTo>
                    <a:pt x="1166" y="52"/>
                  </a:lnTo>
                  <a:lnTo>
                    <a:pt x="1166" y="52"/>
                  </a:lnTo>
                  <a:lnTo>
                    <a:pt x="1170" y="52"/>
                  </a:lnTo>
                  <a:lnTo>
                    <a:pt x="1176" y="52"/>
                  </a:lnTo>
                  <a:lnTo>
                    <a:pt x="1182" y="52"/>
                  </a:lnTo>
                  <a:lnTo>
                    <a:pt x="1182" y="52"/>
                  </a:lnTo>
                  <a:lnTo>
                    <a:pt x="1188" y="58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76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8" y="64"/>
                  </a:lnTo>
                  <a:lnTo>
                    <a:pt x="1188" y="64"/>
                  </a:lnTo>
                  <a:lnTo>
                    <a:pt x="1194" y="64"/>
                  </a:lnTo>
                  <a:lnTo>
                    <a:pt x="1194" y="58"/>
                  </a:lnTo>
                  <a:lnTo>
                    <a:pt x="1200" y="58"/>
                  </a:lnTo>
                  <a:lnTo>
                    <a:pt x="1200" y="58"/>
                  </a:lnTo>
                  <a:lnTo>
                    <a:pt x="1206" y="58"/>
                  </a:lnTo>
                  <a:lnTo>
                    <a:pt x="1212" y="58"/>
                  </a:lnTo>
                  <a:lnTo>
                    <a:pt x="1212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70"/>
                  </a:lnTo>
                  <a:lnTo>
                    <a:pt x="1212" y="70"/>
                  </a:lnTo>
                  <a:lnTo>
                    <a:pt x="1212" y="76"/>
                  </a:lnTo>
                  <a:lnTo>
                    <a:pt x="1212" y="76"/>
                  </a:lnTo>
                  <a:lnTo>
                    <a:pt x="1218" y="76"/>
                  </a:lnTo>
                  <a:lnTo>
                    <a:pt x="1212" y="76"/>
                  </a:lnTo>
                  <a:lnTo>
                    <a:pt x="1212" y="80"/>
                  </a:lnTo>
                  <a:lnTo>
                    <a:pt x="1206" y="80"/>
                  </a:lnTo>
                  <a:lnTo>
                    <a:pt x="1206" y="76"/>
                  </a:lnTo>
                  <a:lnTo>
                    <a:pt x="1200" y="76"/>
                  </a:lnTo>
                  <a:lnTo>
                    <a:pt x="1200" y="80"/>
                  </a:lnTo>
                  <a:lnTo>
                    <a:pt x="1206" y="80"/>
                  </a:lnTo>
                  <a:lnTo>
                    <a:pt x="1212" y="80"/>
                  </a:lnTo>
                  <a:lnTo>
                    <a:pt x="1212" y="86"/>
                  </a:lnTo>
                  <a:lnTo>
                    <a:pt x="1218" y="86"/>
                  </a:lnTo>
                  <a:lnTo>
                    <a:pt x="1218" y="92"/>
                  </a:lnTo>
                  <a:lnTo>
                    <a:pt x="1212" y="92"/>
                  </a:lnTo>
                  <a:lnTo>
                    <a:pt x="1206" y="92"/>
                  </a:lnTo>
                  <a:lnTo>
                    <a:pt x="1200" y="92"/>
                  </a:lnTo>
                  <a:lnTo>
                    <a:pt x="1200" y="92"/>
                  </a:lnTo>
                  <a:lnTo>
                    <a:pt x="1194" y="92"/>
                  </a:lnTo>
                  <a:lnTo>
                    <a:pt x="1194" y="98"/>
                  </a:lnTo>
                  <a:lnTo>
                    <a:pt x="1188" y="92"/>
                  </a:lnTo>
                  <a:lnTo>
                    <a:pt x="1188" y="92"/>
                  </a:lnTo>
                  <a:lnTo>
                    <a:pt x="1182" y="92"/>
                  </a:lnTo>
                  <a:lnTo>
                    <a:pt x="1182" y="92"/>
                  </a:lnTo>
                  <a:lnTo>
                    <a:pt x="1176" y="92"/>
                  </a:lnTo>
                  <a:lnTo>
                    <a:pt x="1170" y="92"/>
                  </a:lnTo>
                  <a:lnTo>
                    <a:pt x="1170" y="92"/>
                  </a:lnTo>
                  <a:lnTo>
                    <a:pt x="1166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54" y="92"/>
                  </a:lnTo>
                  <a:lnTo>
                    <a:pt x="1154" y="92"/>
                  </a:lnTo>
                  <a:lnTo>
                    <a:pt x="1154" y="86"/>
                  </a:lnTo>
                  <a:lnTo>
                    <a:pt x="1148" y="86"/>
                  </a:lnTo>
                  <a:lnTo>
                    <a:pt x="1142" y="86"/>
                  </a:lnTo>
                  <a:lnTo>
                    <a:pt x="1142" y="86"/>
                  </a:lnTo>
                  <a:lnTo>
                    <a:pt x="1136" y="86"/>
                  </a:lnTo>
                  <a:lnTo>
                    <a:pt x="1136" y="80"/>
                  </a:lnTo>
                  <a:lnTo>
                    <a:pt x="1130" y="80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24" y="70"/>
                  </a:lnTo>
                  <a:lnTo>
                    <a:pt x="1118" y="76"/>
                  </a:lnTo>
                  <a:lnTo>
                    <a:pt x="1112" y="76"/>
                  </a:lnTo>
                  <a:lnTo>
                    <a:pt x="1112" y="76"/>
                  </a:lnTo>
                  <a:close/>
                  <a:moveTo>
                    <a:pt x="1084" y="58"/>
                  </a:moveTo>
                  <a:lnTo>
                    <a:pt x="1078" y="58"/>
                  </a:lnTo>
                  <a:lnTo>
                    <a:pt x="1084" y="58"/>
                  </a:lnTo>
                  <a:lnTo>
                    <a:pt x="1090" y="58"/>
                  </a:lnTo>
                  <a:lnTo>
                    <a:pt x="1090" y="58"/>
                  </a:lnTo>
                  <a:lnTo>
                    <a:pt x="1096" y="58"/>
                  </a:lnTo>
                  <a:lnTo>
                    <a:pt x="1102" y="58"/>
                  </a:lnTo>
                  <a:lnTo>
                    <a:pt x="1102" y="58"/>
                  </a:lnTo>
                  <a:lnTo>
                    <a:pt x="110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8" y="58"/>
                  </a:lnTo>
                  <a:lnTo>
                    <a:pt x="1124" y="64"/>
                  </a:lnTo>
                  <a:lnTo>
                    <a:pt x="1118" y="64"/>
                  </a:lnTo>
                  <a:lnTo>
                    <a:pt x="1118" y="64"/>
                  </a:lnTo>
                  <a:lnTo>
                    <a:pt x="1112" y="64"/>
                  </a:lnTo>
                  <a:lnTo>
                    <a:pt x="1112" y="64"/>
                  </a:lnTo>
                  <a:lnTo>
                    <a:pt x="1108" y="64"/>
                  </a:lnTo>
                  <a:lnTo>
                    <a:pt x="1108" y="70"/>
                  </a:lnTo>
                  <a:lnTo>
                    <a:pt x="1102" y="70"/>
                  </a:lnTo>
                  <a:lnTo>
                    <a:pt x="1102" y="70"/>
                  </a:lnTo>
                  <a:lnTo>
                    <a:pt x="1096" y="70"/>
                  </a:lnTo>
                  <a:lnTo>
                    <a:pt x="1096" y="64"/>
                  </a:lnTo>
                  <a:lnTo>
                    <a:pt x="1102" y="64"/>
                  </a:lnTo>
                  <a:lnTo>
                    <a:pt x="1096" y="64"/>
                  </a:lnTo>
                  <a:lnTo>
                    <a:pt x="1090" y="64"/>
                  </a:lnTo>
                  <a:lnTo>
                    <a:pt x="1084" y="64"/>
                  </a:lnTo>
                  <a:lnTo>
                    <a:pt x="1084" y="58"/>
                  </a:lnTo>
                  <a:lnTo>
                    <a:pt x="1084" y="58"/>
                  </a:lnTo>
                  <a:close/>
                  <a:moveTo>
                    <a:pt x="1218" y="70"/>
                  </a:moveTo>
                  <a:lnTo>
                    <a:pt x="1218" y="64"/>
                  </a:lnTo>
                  <a:lnTo>
                    <a:pt x="1218" y="64"/>
                  </a:lnTo>
                  <a:lnTo>
                    <a:pt x="1224" y="70"/>
                  </a:lnTo>
                  <a:lnTo>
                    <a:pt x="1218" y="70"/>
                  </a:lnTo>
                  <a:lnTo>
                    <a:pt x="1218" y="70"/>
                  </a:lnTo>
                  <a:lnTo>
                    <a:pt x="1218" y="70"/>
                  </a:lnTo>
                  <a:close/>
                  <a:moveTo>
                    <a:pt x="864" y="76"/>
                  </a:moveTo>
                  <a:lnTo>
                    <a:pt x="858" y="76"/>
                  </a:lnTo>
                  <a:lnTo>
                    <a:pt x="858" y="70"/>
                  </a:lnTo>
                  <a:lnTo>
                    <a:pt x="858" y="70"/>
                  </a:lnTo>
                  <a:lnTo>
                    <a:pt x="864" y="70"/>
                  </a:lnTo>
                  <a:lnTo>
                    <a:pt x="870" y="70"/>
                  </a:lnTo>
                  <a:lnTo>
                    <a:pt x="870" y="70"/>
                  </a:lnTo>
                  <a:lnTo>
                    <a:pt x="870" y="76"/>
                  </a:lnTo>
                  <a:lnTo>
                    <a:pt x="876" y="76"/>
                  </a:lnTo>
                  <a:lnTo>
                    <a:pt x="880" y="76"/>
                  </a:lnTo>
                  <a:lnTo>
                    <a:pt x="876" y="76"/>
                  </a:lnTo>
                  <a:lnTo>
                    <a:pt x="870" y="76"/>
                  </a:lnTo>
                  <a:lnTo>
                    <a:pt x="870" y="76"/>
                  </a:lnTo>
                  <a:lnTo>
                    <a:pt x="864" y="76"/>
                  </a:lnTo>
                  <a:lnTo>
                    <a:pt x="864" y="76"/>
                  </a:lnTo>
                  <a:close/>
                  <a:moveTo>
                    <a:pt x="1090" y="76"/>
                  </a:moveTo>
                  <a:lnTo>
                    <a:pt x="1096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096" y="76"/>
                  </a:lnTo>
                  <a:lnTo>
                    <a:pt x="1090" y="76"/>
                  </a:lnTo>
                  <a:lnTo>
                    <a:pt x="1090" y="76"/>
                  </a:lnTo>
                  <a:close/>
                  <a:moveTo>
                    <a:pt x="1102" y="76"/>
                  </a:moveTo>
                  <a:lnTo>
                    <a:pt x="1108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6"/>
                  </a:lnTo>
                  <a:lnTo>
                    <a:pt x="1102" y="76"/>
                  </a:lnTo>
                  <a:lnTo>
                    <a:pt x="1102" y="76"/>
                  </a:lnTo>
                  <a:close/>
                  <a:moveTo>
                    <a:pt x="1292" y="104"/>
                  </a:moveTo>
                  <a:lnTo>
                    <a:pt x="1292" y="104"/>
                  </a:lnTo>
                  <a:lnTo>
                    <a:pt x="1292" y="110"/>
                  </a:lnTo>
                  <a:lnTo>
                    <a:pt x="1286" y="110"/>
                  </a:lnTo>
                  <a:lnTo>
                    <a:pt x="1282" y="110"/>
                  </a:lnTo>
                  <a:lnTo>
                    <a:pt x="1282" y="110"/>
                  </a:lnTo>
                  <a:lnTo>
                    <a:pt x="1276" y="110"/>
                  </a:lnTo>
                  <a:lnTo>
                    <a:pt x="1270" y="110"/>
                  </a:lnTo>
                  <a:lnTo>
                    <a:pt x="1270" y="116"/>
                  </a:lnTo>
                  <a:lnTo>
                    <a:pt x="1264" y="116"/>
                  </a:lnTo>
                  <a:lnTo>
                    <a:pt x="1258" y="116"/>
                  </a:lnTo>
                  <a:lnTo>
                    <a:pt x="1252" y="116"/>
                  </a:lnTo>
                  <a:lnTo>
                    <a:pt x="1252" y="116"/>
                  </a:lnTo>
                  <a:lnTo>
                    <a:pt x="1246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34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4" y="116"/>
                  </a:lnTo>
                  <a:lnTo>
                    <a:pt x="1218" y="122"/>
                  </a:lnTo>
                  <a:lnTo>
                    <a:pt x="1218" y="122"/>
                  </a:lnTo>
                  <a:lnTo>
                    <a:pt x="1212" y="122"/>
                  </a:lnTo>
                  <a:lnTo>
                    <a:pt x="1206" y="122"/>
                  </a:lnTo>
                  <a:lnTo>
                    <a:pt x="1206" y="116"/>
                  </a:lnTo>
                  <a:lnTo>
                    <a:pt x="1212" y="116"/>
                  </a:lnTo>
                  <a:lnTo>
                    <a:pt x="1218" y="110"/>
                  </a:lnTo>
                  <a:lnTo>
                    <a:pt x="1218" y="110"/>
                  </a:lnTo>
                  <a:lnTo>
                    <a:pt x="1218" y="104"/>
                  </a:lnTo>
                  <a:lnTo>
                    <a:pt x="1218" y="98"/>
                  </a:lnTo>
                  <a:lnTo>
                    <a:pt x="1224" y="98"/>
                  </a:lnTo>
                  <a:lnTo>
                    <a:pt x="1228" y="92"/>
                  </a:lnTo>
                  <a:lnTo>
                    <a:pt x="1228" y="98"/>
                  </a:lnTo>
                  <a:lnTo>
                    <a:pt x="1234" y="98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34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34" y="92"/>
                  </a:lnTo>
                  <a:lnTo>
                    <a:pt x="1234" y="86"/>
                  </a:lnTo>
                  <a:lnTo>
                    <a:pt x="1228" y="86"/>
                  </a:lnTo>
                  <a:lnTo>
                    <a:pt x="1234" y="80"/>
                  </a:lnTo>
                  <a:lnTo>
                    <a:pt x="1240" y="80"/>
                  </a:lnTo>
                  <a:lnTo>
                    <a:pt x="1240" y="76"/>
                  </a:lnTo>
                  <a:lnTo>
                    <a:pt x="1240" y="76"/>
                  </a:lnTo>
                  <a:lnTo>
                    <a:pt x="1246" y="76"/>
                  </a:lnTo>
                  <a:lnTo>
                    <a:pt x="1246" y="80"/>
                  </a:lnTo>
                  <a:lnTo>
                    <a:pt x="1252" y="80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8" y="76"/>
                  </a:lnTo>
                  <a:lnTo>
                    <a:pt x="1264" y="76"/>
                  </a:lnTo>
                  <a:lnTo>
                    <a:pt x="1264" y="80"/>
                  </a:lnTo>
                  <a:lnTo>
                    <a:pt x="1258" y="80"/>
                  </a:lnTo>
                  <a:lnTo>
                    <a:pt x="1258" y="86"/>
                  </a:lnTo>
                  <a:lnTo>
                    <a:pt x="1252" y="92"/>
                  </a:lnTo>
                  <a:lnTo>
                    <a:pt x="1252" y="92"/>
                  </a:lnTo>
                  <a:lnTo>
                    <a:pt x="1258" y="92"/>
                  </a:lnTo>
                  <a:lnTo>
                    <a:pt x="1258" y="92"/>
                  </a:lnTo>
                  <a:lnTo>
                    <a:pt x="1264" y="86"/>
                  </a:lnTo>
                  <a:lnTo>
                    <a:pt x="1270" y="86"/>
                  </a:lnTo>
                  <a:lnTo>
                    <a:pt x="1270" y="86"/>
                  </a:lnTo>
                  <a:lnTo>
                    <a:pt x="1276" y="86"/>
                  </a:lnTo>
                  <a:lnTo>
                    <a:pt x="1282" y="86"/>
                  </a:lnTo>
                  <a:lnTo>
                    <a:pt x="1282" y="92"/>
                  </a:lnTo>
                  <a:lnTo>
                    <a:pt x="1282" y="92"/>
                  </a:lnTo>
                  <a:lnTo>
                    <a:pt x="1286" y="92"/>
                  </a:lnTo>
                  <a:lnTo>
                    <a:pt x="1286" y="92"/>
                  </a:lnTo>
                  <a:lnTo>
                    <a:pt x="1286" y="98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92" y="92"/>
                  </a:lnTo>
                  <a:lnTo>
                    <a:pt x="1292" y="98"/>
                  </a:lnTo>
                  <a:lnTo>
                    <a:pt x="1298" y="104"/>
                  </a:lnTo>
                  <a:lnTo>
                    <a:pt x="1298" y="104"/>
                  </a:lnTo>
                  <a:lnTo>
                    <a:pt x="1292" y="104"/>
                  </a:lnTo>
                  <a:lnTo>
                    <a:pt x="1292" y="104"/>
                  </a:lnTo>
                  <a:close/>
                  <a:moveTo>
                    <a:pt x="1310" y="116"/>
                  </a:moveTo>
                  <a:lnTo>
                    <a:pt x="1304" y="116"/>
                  </a:lnTo>
                  <a:lnTo>
                    <a:pt x="1304" y="110"/>
                  </a:lnTo>
                  <a:lnTo>
                    <a:pt x="1310" y="110"/>
                  </a:lnTo>
                  <a:lnTo>
                    <a:pt x="1316" y="110"/>
                  </a:lnTo>
                  <a:lnTo>
                    <a:pt x="1322" y="110"/>
                  </a:lnTo>
                  <a:lnTo>
                    <a:pt x="1316" y="110"/>
                  </a:lnTo>
                  <a:lnTo>
                    <a:pt x="1316" y="116"/>
                  </a:lnTo>
                  <a:lnTo>
                    <a:pt x="1310" y="116"/>
                  </a:lnTo>
                  <a:lnTo>
                    <a:pt x="1310" y="116"/>
                  </a:lnTo>
                  <a:close/>
                  <a:moveTo>
                    <a:pt x="1124" y="116"/>
                  </a:moveTo>
                  <a:lnTo>
                    <a:pt x="1118" y="116"/>
                  </a:lnTo>
                  <a:lnTo>
                    <a:pt x="1124" y="116"/>
                  </a:lnTo>
                  <a:lnTo>
                    <a:pt x="1124" y="116"/>
                  </a:lnTo>
                  <a:close/>
                  <a:moveTo>
                    <a:pt x="1334" y="116"/>
                  </a:moveTo>
                  <a:lnTo>
                    <a:pt x="1328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16" y="116"/>
                  </a:lnTo>
                  <a:lnTo>
                    <a:pt x="1316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28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close/>
                  <a:moveTo>
                    <a:pt x="1096" y="128"/>
                  </a:moveTo>
                  <a:lnTo>
                    <a:pt x="1090" y="128"/>
                  </a:lnTo>
                  <a:lnTo>
                    <a:pt x="1096" y="128"/>
                  </a:lnTo>
                  <a:lnTo>
                    <a:pt x="1096" y="128"/>
                  </a:lnTo>
                  <a:close/>
                  <a:moveTo>
                    <a:pt x="944" y="134"/>
                  </a:moveTo>
                  <a:lnTo>
                    <a:pt x="950" y="134"/>
                  </a:lnTo>
                  <a:lnTo>
                    <a:pt x="950" y="138"/>
                  </a:lnTo>
                  <a:lnTo>
                    <a:pt x="944" y="134"/>
                  </a:lnTo>
                  <a:lnTo>
                    <a:pt x="944" y="134"/>
                  </a:lnTo>
                  <a:close/>
                  <a:moveTo>
                    <a:pt x="1316" y="138"/>
                  </a:moveTo>
                  <a:lnTo>
                    <a:pt x="1322" y="134"/>
                  </a:lnTo>
                  <a:lnTo>
                    <a:pt x="1322" y="138"/>
                  </a:lnTo>
                  <a:lnTo>
                    <a:pt x="1322" y="138"/>
                  </a:lnTo>
                  <a:lnTo>
                    <a:pt x="1316" y="138"/>
                  </a:lnTo>
                  <a:lnTo>
                    <a:pt x="1316" y="138"/>
                  </a:lnTo>
                  <a:close/>
                  <a:moveTo>
                    <a:pt x="1328" y="138"/>
                  </a:moveTo>
                  <a:lnTo>
                    <a:pt x="1328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28" y="138"/>
                  </a:lnTo>
                  <a:lnTo>
                    <a:pt x="1328" y="138"/>
                  </a:lnTo>
                  <a:close/>
                  <a:moveTo>
                    <a:pt x="1050" y="144"/>
                  </a:moveTo>
                  <a:lnTo>
                    <a:pt x="1050" y="138"/>
                  </a:lnTo>
                  <a:lnTo>
                    <a:pt x="1054" y="138"/>
                  </a:lnTo>
                  <a:lnTo>
                    <a:pt x="1060" y="138"/>
                  </a:lnTo>
                  <a:lnTo>
                    <a:pt x="1060" y="144"/>
                  </a:lnTo>
                  <a:lnTo>
                    <a:pt x="1054" y="144"/>
                  </a:lnTo>
                  <a:lnTo>
                    <a:pt x="1050" y="138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1166" y="138"/>
                  </a:moveTo>
                  <a:lnTo>
                    <a:pt x="1166" y="144"/>
                  </a:lnTo>
                  <a:lnTo>
                    <a:pt x="1166" y="144"/>
                  </a:lnTo>
                  <a:lnTo>
                    <a:pt x="1166" y="144"/>
                  </a:ln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48" y="150"/>
                  </a:lnTo>
                  <a:lnTo>
                    <a:pt x="1142" y="150"/>
                  </a:lnTo>
                  <a:lnTo>
                    <a:pt x="1148" y="150"/>
                  </a:lnTo>
                  <a:lnTo>
                    <a:pt x="1154" y="144"/>
                  </a:lnTo>
                  <a:lnTo>
                    <a:pt x="1160" y="144"/>
                  </a:lnTo>
                  <a:lnTo>
                    <a:pt x="1166" y="144"/>
                  </a:lnTo>
                  <a:lnTo>
                    <a:pt x="1166" y="138"/>
                  </a:lnTo>
                  <a:lnTo>
                    <a:pt x="1166" y="138"/>
                  </a:lnTo>
                  <a:close/>
                  <a:moveTo>
                    <a:pt x="1050" y="144"/>
                  </a:moveTo>
                  <a:lnTo>
                    <a:pt x="1050" y="144"/>
                  </a:lnTo>
                  <a:lnTo>
                    <a:pt x="1050" y="144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50"/>
                  </a:lnTo>
                  <a:lnTo>
                    <a:pt x="1044" y="150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2076" y="144"/>
                  </a:moveTo>
                  <a:lnTo>
                    <a:pt x="2076" y="144"/>
                  </a:lnTo>
                  <a:lnTo>
                    <a:pt x="2076" y="144"/>
                  </a:lnTo>
                  <a:lnTo>
                    <a:pt x="2076" y="144"/>
                  </a:lnTo>
                  <a:close/>
                  <a:moveTo>
                    <a:pt x="626" y="180"/>
                  </a:moveTo>
                  <a:lnTo>
                    <a:pt x="626" y="180"/>
                  </a:lnTo>
                  <a:lnTo>
                    <a:pt x="626" y="174"/>
                  </a:lnTo>
                  <a:lnTo>
                    <a:pt x="626" y="174"/>
                  </a:lnTo>
                  <a:lnTo>
                    <a:pt x="626" y="168"/>
                  </a:lnTo>
                  <a:lnTo>
                    <a:pt x="632" y="168"/>
                  </a:lnTo>
                  <a:lnTo>
                    <a:pt x="638" y="168"/>
                  </a:lnTo>
                  <a:lnTo>
                    <a:pt x="644" y="168"/>
                  </a:lnTo>
                  <a:lnTo>
                    <a:pt x="644" y="174"/>
                  </a:lnTo>
                  <a:lnTo>
                    <a:pt x="644" y="174"/>
                  </a:lnTo>
                  <a:lnTo>
                    <a:pt x="644" y="168"/>
                  </a:lnTo>
                  <a:lnTo>
                    <a:pt x="648" y="174"/>
                  </a:lnTo>
                  <a:lnTo>
                    <a:pt x="654" y="174"/>
                  </a:lnTo>
                  <a:lnTo>
                    <a:pt x="654" y="168"/>
                  </a:lnTo>
                  <a:lnTo>
                    <a:pt x="654" y="174"/>
                  </a:lnTo>
                  <a:lnTo>
                    <a:pt x="660" y="174"/>
                  </a:lnTo>
                  <a:lnTo>
                    <a:pt x="660" y="168"/>
                  </a:lnTo>
                  <a:lnTo>
                    <a:pt x="666" y="168"/>
                  </a:lnTo>
                  <a:lnTo>
                    <a:pt x="666" y="168"/>
                  </a:lnTo>
                  <a:lnTo>
                    <a:pt x="672" y="168"/>
                  </a:lnTo>
                  <a:lnTo>
                    <a:pt x="678" y="168"/>
                  </a:lnTo>
                  <a:lnTo>
                    <a:pt x="678" y="162"/>
                  </a:lnTo>
                  <a:lnTo>
                    <a:pt x="684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6" y="162"/>
                  </a:lnTo>
                  <a:lnTo>
                    <a:pt x="702" y="162"/>
                  </a:lnTo>
                  <a:lnTo>
                    <a:pt x="706" y="162"/>
                  </a:lnTo>
                  <a:lnTo>
                    <a:pt x="702" y="162"/>
                  </a:lnTo>
                  <a:lnTo>
                    <a:pt x="702" y="156"/>
                  </a:lnTo>
                  <a:lnTo>
                    <a:pt x="706" y="156"/>
                  </a:lnTo>
                  <a:lnTo>
                    <a:pt x="706" y="150"/>
                  </a:lnTo>
                  <a:lnTo>
                    <a:pt x="712" y="150"/>
                  </a:lnTo>
                  <a:lnTo>
                    <a:pt x="718" y="150"/>
                  </a:lnTo>
                  <a:lnTo>
                    <a:pt x="718" y="150"/>
                  </a:lnTo>
                  <a:lnTo>
                    <a:pt x="724" y="150"/>
                  </a:lnTo>
                  <a:lnTo>
                    <a:pt x="730" y="150"/>
                  </a:lnTo>
                  <a:lnTo>
                    <a:pt x="730" y="150"/>
                  </a:lnTo>
                  <a:lnTo>
                    <a:pt x="736" y="150"/>
                  </a:lnTo>
                  <a:lnTo>
                    <a:pt x="742" y="150"/>
                  </a:lnTo>
                  <a:lnTo>
                    <a:pt x="742" y="150"/>
                  </a:lnTo>
                  <a:lnTo>
                    <a:pt x="748" y="156"/>
                  </a:lnTo>
                  <a:lnTo>
                    <a:pt x="742" y="156"/>
                  </a:lnTo>
                  <a:lnTo>
                    <a:pt x="742" y="162"/>
                  </a:lnTo>
                  <a:lnTo>
                    <a:pt x="742" y="168"/>
                  </a:lnTo>
                  <a:lnTo>
                    <a:pt x="736" y="168"/>
                  </a:lnTo>
                  <a:lnTo>
                    <a:pt x="730" y="168"/>
                  </a:lnTo>
                  <a:lnTo>
                    <a:pt x="730" y="174"/>
                  </a:lnTo>
                  <a:lnTo>
                    <a:pt x="724" y="174"/>
                  </a:lnTo>
                  <a:lnTo>
                    <a:pt x="718" y="174"/>
                  </a:lnTo>
                  <a:lnTo>
                    <a:pt x="718" y="180"/>
                  </a:lnTo>
                  <a:lnTo>
                    <a:pt x="718" y="180"/>
                  </a:lnTo>
                  <a:lnTo>
                    <a:pt x="712" y="180"/>
                  </a:lnTo>
                  <a:lnTo>
                    <a:pt x="706" y="180"/>
                  </a:lnTo>
                  <a:lnTo>
                    <a:pt x="706" y="180"/>
                  </a:lnTo>
                  <a:lnTo>
                    <a:pt x="702" y="180"/>
                  </a:lnTo>
                  <a:lnTo>
                    <a:pt x="696" y="180"/>
                  </a:lnTo>
                  <a:lnTo>
                    <a:pt x="690" y="180"/>
                  </a:lnTo>
                  <a:lnTo>
                    <a:pt x="690" y="186"/>
                  </a:lnTo>
                  <a:lnTo>
                    <a:pt x="684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2" y="186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0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48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44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38" y="196"/>
                  </a:lnTo>
                  <a:lnTo>
                    <a:pt x="638" y="202"/>
                  </a:lnTo>
                  <a:lnTo>
                    <a:pt x="632" y="202"/>
                  </a:lnTo>
                  <a:lnTo>
                    <a:pt x="632" y="196"/>
                  </a:lnTo>
                  <a:lnTo>
                    <a:pt x="632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0" y="208"/>
                  </a:lnTo>
                  <a:lnTo>
                    <a:pt x="620" y="202"/>
                  </a:lnTo>
                  <a:lnTo>
                    <a:pt x="614" y="202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08" y="208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20" y="208"/>
                  </a:lnTo>
                  <a:lnTo>
                    <a:pt x="620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08" y="214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8" y="214"/>
                  </a:lnTo>
                  <a:lnTo>
                    <a:pt x="608" y="220"/>
                  </a:lnTo>
                  <a:lnTo>
                    <a:pt x="602" y="220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2" y="220"/>
                  </a:lnTo>
                  <a:lnTo>
                    <a:pt x="596" y="220"/>
                  </a:lnTo>
                  <a:lnTo>
                    <a:pt x="596" y="226"/>
                  </a:lnTo>
                  <a:lnTo>
                    <a:pt x="590" y="226"/>
                  </a:lnTo>
                  <a:lnTo>
                    <a:pt x="590" y="220"/>
                  </a:lnTo>
                  <a:lnTo>
                    <a:pt x="590" y="220"/>
                  </a:lnTo>
                  <a:lnTo>
                    <a:pt x="586" y="220"/>
                  </a:lnTo>
                  <a:lnTo>
                    <a:pt x="590" y="220"/>
                  </a:lnTo>
                  <a:lnTo>
                    <a:pt x="590" y="226"/>
                  </a:lnTo>
                  <a:lnTo>
                    <a:pt x="590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8"/>
                  </a:lnTo>
                  <a:lnTo>
                    <a:pt x="580" y="238"/>
                  </a:lnTo>
                  <a:lnTo>
                    <a:pt x="574" y="238"/>
                  </a:lnTo>
                  <a:lnTo>
                    <a:pt x="574" y="232"/>
                  </a:lnTo>
                  <a:lnTo>
                    <a:pt x="574" y="232"/>
                  </a:lnTo>
                  <a:lnTo>
                    <a:pt x="568" y="232"/>
                  </a:lnTo>
                  <a:lnTo>
                    <a:pt x="574" y="232"/>
                  </a:lnTo>
                  <a:lnTo>
                    <a:pt x="574" y="238"/>
                  </a:lnTo>
                  <a:lnTo>
                    <a:pt x="574" y="238"/>
                  </a:lnTo>
                  <a:lnTo>
                    <a:pt x="580" y="238"/>
                  </a:lnTo>
                  <a:lnTo>
                    <a:pt x="580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68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8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50"/>
                  </a:lnTo>
                  <a:lnTo>
                    <a:pt x="574" y="250"/>
                  </a:lnTo>
                  <a:lnTo>
                    <a:pt x="568" y="250"/>
                  </a:lnTo>
                  <a:lnTo>
                    <a:pt x="562" y="250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50"/>
                  </a:lnTo>
                  <a:lnTo>
                    <a:pt x="562" y="250"/>
                  </a:lnTo>
                  <a:lnTo>
                    <a:pt x="568" y="250"/>
                  </a:lnTo>
                  <a:lnTo>
                    <a:pt x="568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56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44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0"/>
                  </a:lnTo>
                  <a:lnTo>
                    <a:pt x="528" y="250"/>
                  </a:lnTo>
                  <a:lnTo>
                    <a:pt x="532" y="250"/>
                  </a:lnTo>
                  <a:lnTo>
                    <a:pt x="532" y="244"/>
                  </a:lnTo>
                  <a:lnTo>
                    <a:pt x="538" y="244"/>
                  </a:lnTo>
                  <a:lnTo>
                    <a:pt x="532" y="244"/>
                  </a:lnTo>
                  <a:lnTo>
                    <a:pt x="528" y="244"/>
                  </a:lnTo>
                  <a:lnTo>
                    <a:pt x="528" y="250"/>
                  </a:lnTo>
                  <a:lnTo>
                    <a:pt x="522" y="250"/>
                  </a:lnTo>
                  <a:lnTo>
                    <a:pt x="522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22" y="244"/>
                  </a:lnTo>
                  <a:lnTo>
                    <a:pt x="522" y="244"/>
                  </a:lnTo>
                  <a:lnTo>
                    <a:pt x="528" y="244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32" y="238"/>
                  </a:lnTo>
                  <a:lnTo>
                    <a:pt x="528" y="238"/>
                  </a:lnTo>
                  <a:lnTo>
                    <a:pt x="532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44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38" y="226"/>
                  </a:lnTo>
                  <a:lnTo>
                    <a:pt x="550" y="226"/>
                  </a:lnTo>
                  <a:lnTo>
                    <a:pt x="550" y="226"/>
                  </a:lnTo>
                  <a:lnTo>
                    <a:pt x="556" y="220"/>
                  </a:lnTo>
                  <a:lnTo>
                    <a:pt x="550" y="220"/>
                  </a:lnTo>
                  <a:lnTo>
                    <a:pt x="550" y="220"/>
                  </a:lnTo>
                  <a:lnTo>
                    <a:pt x="544" y="220"/>
                  </a:lnTo>
                  <a:lnTo>
                    <a:pt x="544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56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08"/>
                  </a:lnTo>
                  <a:lnTo>
                    <a:pt x="562" y="208"/>
                  </a:lnTo>
                  <a:lnTo>
                    <a:pt x="556" y="208"/>
                  </a:lnTo>
                  <a:lnTo>
                    <a:pt x="556" y="202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0" y="202"/>
                  </a:lnTo>
                  <a:lnTo>
                    <a:pt x="544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6" y="202"/>
                  </a:lnTo>
                  <a:lnTo>
                    <a:pt x="556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8" y="196"/>
                  </a:lnTo>
                  <a:lnTo>
                    <a:pt x="574" y="196"/>
                  </a:lnTo>
                  <a:lnTo>
                    <a:pt x="574" y="196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86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90" y="186"/>
                  </a:lnTo>
                  <a:lnTo>
                    <a:pt x="590" y="186"/>
                  </a:lnTo>
                  <a:lnTo>
                    <a:pt x="590" y="180"/>
                  </a:lnTo>
                  <a:lnTo>
                    <a:pt x="596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8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26" y="174"/>
                  </a:lnTo>
                  <a:lnTo>
                    <a:pt x="626" y="180"/>
                  </a:lnTo>
                  <a:lnTo>
                    <a:pt x="620" y="180"/>
                  </a:lnTo>
                  <a:lnTo>
                    <a:pt x="614" y="180"/>
                  </a:lnTo>
                  <a:lnTo>
                    <a:pt x="620" y="180"/>
                  </a:lnTo>
                  <a:lnTo>
                    <a:pt x="626" y="180"/>
                  </a:lnTo>
                  <a:lnTo>
                    <a:pt x="626" y="180"/>
                  </a:lnTo>
                  <a:close/>
                  <a:moveTo>
                    <a:pt x="1166" y="150"/>
                  </a:move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60" y="150"/>
                  </a:lnTo>
                  <a:lnTo>
                    <a:pt x="1166" y="150"/>
                  </a:lnTo>
                  <a:lnTo>
                    <a:pt x="1166" y="150"/>
                  </a:lnTo>
                  <a:close/>
                  <a:moveTo>
                    <a:pt x="1182" y="156"/>
                  </a:moveTo>
                  <a:lnTo>
                    <a:pt x="1182" y="150"/>
                  </a:lnTo>
                  <a:lnTo>
                    <a:pt x="1188" y="150"/>
                  </a:lnTo>
                  <a:lnTo>
                    <a:pt x="1188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182" y="156"/>
                  </a:moveTo>
                  <a:lnTo>
                    <a:pt x="1176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948" y="162"/>
                  </a:moveTo>
                  <a:lnTo>
                    <a:pt x="1948" y="156"/>
                  </a:lnTo>
                  <a:lnTo>
                    <a:pt x="1954" y="156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66" y="156"/>
                  </a:lnTo>
                  <a:lnTo>
                    <a:pt x="1960" y="156"/>
                  </a:lnTo>
                  <a:lnTo>
                    <a:pt x="1960" y="162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54" y="156"/>
                  </a:lnTo>
                  <a:lnTo>
                    <a:pt x="1954" y="162"/>
                  </a:lnTo>
                  <a:lnTo>
                    <a:pt x="1948" y="162"/>
                  </a:lnTo>
                  <a:lnTo>
                    <a:pt x="1948" y="162"/>
                  </a:lnTo>
                  <a:close/>
                  <a:moveTo>
                    <a:pt x="1182" y="162"/>
                  </a:moveTo>
                  <a:lnTo>
                    <a:pt x="1176" y="162"/>
                  </a:lnTo>
                  <a:lnTo>
                    <a:pt x="1176" y="156"/>
                  </a:lnTo>
                  <a:lnTo>
                    <a:pt x="1182" y="156"/>
                  </a:lnTo>
                  <a:lnTo>
                    <a:pt x="1182" y="162"/>
                  </a:lnTo>
                  <a:lnTo>
                    <a:pt x="1182" y="162"/>
                  </a:lnTo>
                  <a:close/>
                  <a:moveTo>
                    <a:pt x="1142" y="156"/>
                  </a:moveTo>
                  <a:lnTo>
                    <a:pt x="1148" y="162"/>
                  </a:lnTo>
                  <a:lnTo>
                    <a:pt x="1142" y="162"/>
                  </a:lnTo>
                  <a:lnTo>
                    <a:pt x="1142" y="162"/>
                  </a:lnTo>
                  <a:lnTo>
                    <a:pt x="1142" y="156"/>
                  </a:lnTo>
                  <a:lnTo>
                    <a:pt x="1142" y="156"/>
                  </a:lnTo>
                  <a:lnTo>
                    <a:pt x="1142" y="156"/>
                  </a:lnTo>
                  <a:close/>
                  <a:moveTo>
                    <a:pt x="1166" y="156"/>
                  </a:moveTo>
                  <a:lnTo>
                    <a:pt x="1166" y="162"/>
                  </a:lnTo>
                  <a:lnTo>
                    <a:pt x="1160" y="162"/>
                  </a:lnTo>
                  <a:lnTo>
                    <a:pt x="1154" y="162"/>
                  </a:lnTo>
                  <a:lnTo>
                    <a:pt x="1154" y="156"/>
                  </a:lnTo>
                  <a:lnTo>
                    <a:pt x="1160" y="156"/>
                  </a:lnTo>
                  <a:lnTo>
                    <a:pt x="1166" y="156"/>
                  </a:lnTo>
                  <a:lnTo>
                    <a:pt x="1166" y="156"/>
                  </a:lnTo>
                  <a:close/>
                  <a:moveTo>
                    <a:pt x="1130" y="162"/>
                  </a:moveTo>
                  <a:lnTo>
                    <a:pt x="1130" y="162"/>
                  </a:lnTo>
                  <a:lnTo>
                    <a:pt x="1130" y="162"/>
                  </a:lnTo>
                  <a:lnTo>
                    <a:pt x="1124" y="162"/>
                  </a:lnTo>
                  <a:lnTo>
                    <a:pt x="1130" y="162"/>
                  </a:lnTo>
                  <a:lnTo>
                    <a:pt x="1130" y="162"/>
                  </a:lnTo>
                  <a:close/>
                  <a:moveTo>
                    <a:pt x="1414" y="168"/>
                  </a:moveTo>
                  <a:lnTo>
                    <a:pt x="1414" y="162"/>
                  </a:lnTo>
                  <a:lnTo>
                    <a:pt x="1420" y="162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14" y="168"/>
                  </a:lnTo>
                  <a:lnTo>
                    <a:pt x="1414" y="168"/>
                  </a:lnTo>
                  <a:close/>
                  <a:moveTo>
                    <a:pt x="1166" y="174"/>
                  </a:moveTo>
                  <a:lnTo>
                    <a:pt x="1166" y="168"/>
                  </a:lnTo>
                  <a:lnTo>
                    <a:pt x="1170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70" y="174"/>
                  </a:lnTo>
                  <a:lnTo>
                    <a:pt x="1170" y="168"/>
                  </a:lnTo>
                  <a:lnTo>
                    <a:pt x="1170" y="174"/>
                  </a:lnTo>
                  <a:lnTo>
                    <a:pt x="1166" y="174"/>
                  </a:lnTo>
                  <a:lnTo>
                    <a:pt x="1166" y="174"/>
                  </a:lnTo>
                  <a:close/>
                  <a:moveTo>
                    <a:pt x="1166" y="180"/>
                  </a:moveTo>
                  <a:lnTo>
                    <a:pt x="1160" y="174"/>
                  </a:lnTo>
                  <a:lnTo>
                    <a:pt x="1154" y="174"/>
                  </a:lnTo>
                  <a:lnTo>
                    <a:pt x="1154" y="174"/>
                  </a:lnTo>
                  <a:lnTo>
                    <a:pt x="1148" y="174"/>
                  </a:lnTo>
                  <a:lnTo>
                    <a:pt x="1148" y="168"/>
                  </a:lnTo>
                  <a:lnTo>
                    <a:pt x="1154" y="174"/>
                  </a:lnTo>
                  <a:lnTo>
                    <a:pt x="1154" y="168"/>
                  </a:lnTo>
                  <a:lnTo>
                    <a:pt x="1154" y="168"/>
                  </a:lnTo>
                  <a:lnTo>
                    <a:pt x="1160" y="168"/>
                  </a:lnTo>
                  <a:lnTo>
                    <a:pt x="1166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66" y="174"/>
                  </a:lnTo>
                  <a:lnTo>
                    <a:pt x="1166" y="168"/>
                  </a:lnTo>
                  <a:lnTo>
                    <a:pt x="1160" y="174"/>
                  </a:lnTo>
                  <a:lnTo>
                    <a:pt x="1166" y="174"/>
                  </a:lnTo>
                  <a:lnTo>
                    <a:pt x="1166" y="180"/>
                  </a:lnTo>
                  <a:lnTo>
                    <a:pt x="1166" y="180"/>
                  </a:lnTo>
                  <a:close/>
                  <a:moveTo>
                    <a:pt x="1142" y="174"/>
                  </a:moveTo>
                  <a:lnTo>
                    <a:pt x="1142" y="168"/>
                  </a:lnTo>
                  <a:lnTo>
                    <a:pt x="1142" y="168"/>
                  </a:lnTo>
                  <a:lnTo>
                    <a:pt x="1142" y="174"/>
                  </a:lnTo>
                  <a:lnTo>
                    <a:pt x="1136" y="174"/>
                  </a:lnTo>
                  <a:lnTo>
                    <a:pt x="1130" y="174"/>
                  </a:lnTo>
                  <a:lnTo>
                    <a:pt x="1136" y="174"/>
                  </a:lnTo>
                  <a:lnTo>
                    <a:pt x="1142" y="174"/>
                  </a:lnTo>
                  <a:lnTo>
                    <a:pt x="1142" y="174"/>
                  </a:lnTo>
                  <a:close/>
                  <a:moveTo>
                    <a:pt x="1860" y="214"/>
                  </a:moveTo>
                  <a:lnTo>
                    <a:pt x="1856" y="214"/>
                  </a:lnTo>
                  <a:lnTo>
                    <a:pt x="1856" y="214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0" y="208"/>
                  </a:lnTo>
                  <a:lnTo>
                    <a:pt x="1844" y="208"/>
                  </a:lnTo>
                  <a:lnTo>
                    <a:pt x="1844" y="208"/>
                  </a:lnTo>
                  <a:lnTo>
                    <a:pt x="1838" y="208"/>
                  </a:lnTo>
                  <a:lnTo>
                    <a:pt x="1832" y="214"/>
                  </a:lnTo>
                  <a:lnTo>
                    <a:pt x="1832" y="214"/>
                  </a:lnTo>
                  <a:lnTo>
                    <a:pt x="1826" y="214"/>
                  </a:lnTo>
                  <a:lnTo>
                    <a:pt x="1820" y="208"/>
                  </a:lnTo>
                  <a:lnTo>
                    <a:pt x="1820" y="208"/>
                  </a:lnTo>
                  <a:lnTo>
                    <a:pt x="1814" y="208"/>
                  </a:lnTo>
                  <a:lnTo>
                    <a:pt x="1814" y="214"/>
                  </a:lnTo>
                  <a:lnTo>
                    <a:pt x="1820" y="214"/>
                  </a:lnTo>
                  <a:lnTo>
                    <a:pt x="1814" y="214"/>
                  </a:lnTo>
                  <a:lnTo>
                    <a:pt x="1814" y="214"/>
                  </a:lnTo>
                  <a:lnTo>
                    <a:pt x="1808" y="214"/>
                  </a:lnTo>
                  <a:lnTo>
                    <a:pt x="1808" y="214"/>
                  </a:lnTo>
                  <a:lnTo>
                    <a:pt x="1802" y="214"/>
                  </a:lnTo>
                  <a:lnTo>
                    <a:pt x="1798" y="214"/>
                  </a:lnTo>
                  <a:lnTo>
                    <a:pt x="1798" y="214"/>
                  </a:lnTo>
                  <a:lnTo>
                    <a:pt x="1792" y="214"/>
                  </a:lnTo>
                  <a:lnTo>
                    <a:pt x="1792" y="214"/>
                  </a:lnTo>
                  <a:lnTo>
                    <a:pt x="1792" y="208"/>
                  </a:lnTo>
                  <a:lnTo>
                    <a:pt x="1786" y="208"/>
                  </a:lnTo>
                  <a:lnTo>
                    <a:pt x="1786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74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6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86"/>
                  </a:lnTo>
                  <a:lnTo>
                    <a:pt x="1780" y="186"/>
                  </a:lnTo>
                  <a:lnTo>
                    <a:pt x="1786" y="186"/>
                  </a:lnTo>
                  <a:lnTo>
                    <a:pt x="1792" y="186"/>
                  </a:lnTo>
                  <a:lnTo>
                    <a:pt x="1786" y="186"/>
                  </a:lnTo>
                  <a:lnTo>
                    <a:pt x="1786" y="180"/>
                  </a:lnTo>
                  <a:lnTo>
                    <a:pt x="1780" y="180"/>
                  </a:lnTo>
                  <a:lnTo>
                    <a:pt x="1786" y="180"/>
                  </a:lnTo>
                  <a:lnTo>
                    <a:pt x="1792" y="180"/>
                  </a:lnTo>
                  <a:lnTo>
                    <a:pt x="1792" y="180"/>
                  </a:lnTo>
                  <a:lnTo>
                    <a:pt x="1792" y="174"/>
                  </a:lnTo>
                  <a:lnTo>
                    <a:pt x="1798" y="174"/>
                  </a:lnTo>
                  <a:lnTo>
                    <a:pt x="1798" y="180"/>
                  </a:lnTo>
                  <a:lnTo>
                    <a:pt x="1798" y="174"/>
                  </a:lnTo>
                  <a:lnTo>
                    <a:pt x="1802" y="174"/>
                  </a:lnTo>
                  <a:lnTo>
                    <a:pt x="1808" y="174"/>
                  </a:lnTo>
                  <a:lnTo>
                    <a:pt x="1808" y="174"/>
                  </a:lnTo>
                  <a:lnTo>
                    <a:pt x="1808" y="180"/>
                  </a:lnTo>
                  <a:lnTo>
                    <a:pt x="1814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6"/>
                  </a:lnTo>
                  <a:lnTo>
                    <a:pt x="1826" y="186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8" y="192"/>
                  </a:lnTo>
                  <a:lnTo>
                    <a:pt x="1838" y="186"/>
                  </a:lnTo>
                  <a:lnTo>
                    <a:pt x="1838" y="180"/>
                  </a:lnTo>
                  <a:lnTo>
                    <a:pt x="1838" y="180"/>
                  </a:lnTo>
                  <a:lnTo>
                    <a:pt x="1844" y="180"/>
                  </a:lnTo>
                  <a:lnTo>
                    <a:pt x="1844" y="180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50" y="180"/>
                  </a:lnTo>
                  <a:lnTo>
                    <a:pt x="1856" y="180"/>
                  </a:lnTo>
                  <a:lnTo>
                    <a:pt x="1856" y="180"/>
                  </a:lnTo>
                  <a:lnTo>
                    <a:pt x="1860" y="180"/>
                  </a:lnTo>
                  <a:lnTo>
                    <a:pt x="1860" y="186"/>
                  </a:lnTo>
                  <a:lnTo>
                    <a:pt x="1866" y="186"/>
                  </a:lnTo>
                  <a:lnTo>
                    <a:pt x="1872" y="186"/>
                  </a:lnTo>
                  <a:lnTo>
                    <a:pt x="1872" y="186"/>
                  </a:lnTo>
                  <a:lnTo>
                    <a:pt x="1878" y="180"/>
                  </a:lnTo>
                  <a:lnTo>
                    <a:pt x="1884" y="186"/>
                  </a:lnTo>
                  <a:lnTo>
                    <a:pt x="1884" y="186"/>
                  </a:lnTo>
                  <a:lnTo>
                    <a:pt x="1890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902" y="192"/>
                  </a:lnTo>
                  <a:lnTo>
                    <a:pt x="1902" y="192"/>
                  </a:lnTo>
                  <a:lnTo>
                    <a:pt x="1908" y="192"/>
                  </a:lnTo>
                  <a:lnTo>
                    <a:pt x="1902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896" y="196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0" y="202"/>
                  </a:lnTo>
                  <a:lnTo>
                    <a:pt x="1884" y="202"/>
                  </a:lnTo>
                  <a:lnTo>
                    <a:pt x="1884" y="208"/>
                  </a:lnTo>
                  <a:lnTo>
                    <a:pt x="1884" y="208"/>
                  </a:lnTo>
                  <a:lnTo>
                    <a:pt x="1884" y="202"/>
                  </a:lnTo>
                  <a:lnTo>
                    <a:pt x="1878" y="202"/>
                  </a:lnTo>
                  <a:lnTo>
                    <a:pt x="1872" y="202"/>
                  </a:lnTo>
                  <a:lnTo>
                    <a:pt x="1872" y="202"/>
                  </a:lnTo>
                  <a:lnTo>
                    <a:pt x="1866" y="202"/>
                  </a:lnTo>
                  <a:lnTo>
                    <a:pt x="1866" y="202"/>
                  </a:lnTo>
                  <a:lnTo>
                    <a:pt x="1860" y="202"/>
                  </a:lnTo>
                  <a:lnTo>
                    <a:pt x="1860" y="196"/>
                  </a:lnTo>
                  <a:lnTo>
                    <a:pt x="1860" y="192"/>
                  </a:lnTo>
                  <a:lnTo>
                    <a:pt x="1866" y="192"/>
                  </a:lnTo>
                  <a:lnTo>
                    <a:pt x="1872" y="192"/>
                  </a:lnTo>
                  <a:lnTo>
                    <a:pt x="1866" y="192"/>
                  </a:lnTo>
                  <a:lnTo>
                    <a:pt x="1866" y="186"/>
                  </a:lnTo>
                  <a:lnTo>
                    <a:pt x="1860" y="186"/>
                  </a:lnTo>
                  <a:lnTo>
                    <a:pt x="1860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6"/>
                  </a:lnTo>
                  <a:lnTo>
                    <a:pt x="1856" y="196"/>
                  </a:lnTo>
                  <a:lnTo>
                    <a:pt x="1856" y="202"/>
                  </a:lnTo>
                  <a:lnTo>
                    <a:pt x="1860" y="202"/>
                  </a:lnTo>
                  <a:lnTo>
                    <a:pt x="1866" y="202"/>
                  </a:lnTo>
                  <a:lnTo>
                    <a:pt x="1872" y="202"/>
                  </a:lnTo>
                  <a:lnTo>
                    <a:pt x="1872" y="208"/>
                  </a:lnTo>
                  <a:lnTo>
                    <a:pt x="1878" y="208"/>
                  </a:lnTo>
                  <a:lnTo>
                    <a:pt x="1872" y="214"/>
                  </a:lnTo>
                  <a:lnTo>
                    <a:pt x="1872" y="208"/>
                  </a:lnTo>
                  <a:lnTo>
                    <a:pt x="1872" y="208"/>
                  </a:lnTo>
                  <a:lnTo>
                    <a:pt x="1872" y="214"/>
                  </a:lnTo>
                  <a:lnTo>
                    <a:pt x="1866" y="214"/>
                  </a:lnTo>
                  <a:lnTo>
                    <a:pt x="1866" y="208"/>
                  </a:lnTo>
                  <a:lnTo>
                    <a:pt x="1860" y="208"/>
                  </a:lnTo>
                  <a:lnTo>
                    <a:pt x="1860" y="214"/>
                  </a:lnTo>
                  <a:lnTo>
                    <a:pt x="1866" y="214"/>
                  </a:lnTo>
                  <a:lnTo>
                    <a:pt x="1860" y="214"/>
                  </a:lnTo>
                  <a:lnTo>
                    <a:pt x="1860" y="214"/>
                  </a:lnTo>
                  <a:close/>
                  <a:moveTo>
                    <a:pt x="2012" y="180"/>
                  </a:moveTo>
                  <a:lnTo>
                    <a:pt x="2012" y="174"/>
                  </a:lnTo>
                  <a:lnTo>
                    <a:pt x="2018" y="174"/>
                  </a:lnTo>
                  <a:lnTo>
                    <a:pt x="2018" y="180"/>
                  </a:lnTo>
                  <a:lnTo>
                    <a:pt x="2012" y="180"/>
                  </a:lnTo>
                  <a:lnTo>
                    <a:pt x="2012" y="180"/>
                  </a:lnTo>
                  <a:close/>
                  <a:moveTo>
                    <a:pt x="1838" y="180"/>
                  </a:moveTo>
                  <a:lnTo>
                    <a:pt x="1838" y="174"/>
                  </a:lnTo>
                  <a:lnTo>
                    <a:pt x="1838" y="180"/>
                  </a:lnTo>
                  <a:lnTo>
                    <a:pt x="1838" y="180"/>
                  </a:lnTo>
                  <a:close/>
                  <a:moveTo>
                    <a:pt x="1176" y="180"/>
                  </a:moveTo>
                  <a:lnTo>
                    <a:pt x="1170" y="180"/>
                  </a:lnTo>
                  <a:lnTo>
                    <a:pt x="1170" y="180"/>
                  </a:lnTo>
                  <a:lnTo>
                    <a:pt x="1166" y="180"/>
                  </a:lnTo>
                  <a:lnTo>
                    <a:pt x="1166" y="180"/>
                  </a:lnTo>
                  <a:lnTo>
                    <a:pt x="1176" y="180"/>
                  </a:lnTo>
                  <a:lnTo>
                    <a:pt x="1176" y="180"/>
                  </a:lnTo>
                  <a:close/>
                  <a:moveTo>
                    <a:pt x="962" y="180"/>
                  </a:moveTo>
                  <a:lnTo>
                    <a:pt x="956" y="180"/>
                  </a:lnTo>
                  <a:lnTo>
                    <a:pt x="950" y="180"/>
                  </a:lnTo>
                  <a:lnTo>
                    <a:pt x="944" y="180"/>
                  </a:lnTo>
                  <a:lnTo>
                    <a:pt x="950" y="180"/>
                  </a:lnTo>
                  <a:lnTo>
                    <a:pt x="950" y="180"/>
                  </a:lnTo>
                  <a:lnTo>
                    <a:pt x="956" y="180"/>
                  </a:lnTo>
                  <a:lnTo>
                    <a:pt x="956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close/>
                  <a:moveTo>
                    <a:pt x="938" y="180"/>
                  </a:moveTo>
                  <a:lnTo>
                    <a:pt x="944" y="180"/>
                  </a:lnTo>
                  <a:lnTo>
                    <a:pt x="944" y="180"/>
                  </a:lnTo>
                  <a:lnTo>
                    <a:pt x="944" y="180"/>
                  </a:lnTo>
                  <a:lnTo>
                    <a:pt x="938" y="180"/>
                  </a:lnTo>
                  <a:lnTo>
                    <a:pt x="934" y="180"/>
                  </a:lnTo>
                  <a:lnTo>
                    <a:pt x="938" y="180"/>
                  </a:lnTo>
                  <a:lnTo>
                    <a:pt x="938" y="180"/>
                  </a:lnTo>
                  <a:close/>
                  <a:moveTo>
                    <a:pt x="1756" y="196"/>
                  </a:move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86"/>
                  </a:lnTo>
                  <a:lnTo>
                    <a:pt x="1756" y="180"/>
                  </a:lnTo>
                  <a:lnTo>
                    <a:pt x="1756" y="186"/>
                  </a:lnTo>
                  <a:lnTo>
                    <a:pt x="1762" y="192"/>
                  </a:lnTo>
                  <a:lnTo>
                    <a:pt x="1768" y="192"/>
                  </a:lnTo>
                  <a:lnTo>
                    <a:pt x="1762" y="192"/>
                  </a:lnTo>
                  <a:lnTo>
                    <a:pt x="1762" y="196"/>
                  </a:lnTo>
                  <a:lnTo>
                    <a:pt x="1756" y="196"/>
                  </a:lnTo>
                  <a:lnTo>
                    <a:pt x="1756" y="196"/>
                  </a:lnTo>
                  <a:lnTo>
                    <a:pt x="1756" y="196"/>
                  </a:lnTo>
                  <a:close/>
                  <a:moveTo>
                    <a:pt x="1918" y="192"/>
                  </a:moveTo>
                  <a:lnTo>
                    <a:pt x="1918" y="192"/>
                  </a:lnTo>
                  <a:lnTo>
                    <a:pt x="1924" y="192"/>
                  </a:lnTo>
                  <a:lnTo>
                    <a:pt x="1918" y="196"/>
                  </a:lnTo>
                  <a:lnTo>
                    <a:pt x="1924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6" y="196"/>
                  </a:lnTo>
                  <a:lnTo>
                    <a:pt x="1936" y="192"/>
                  </a:lnTo>
                  <a:lnTo>
                    <a:pt x="1936" y="196"/>
                  </a:lnTo>
                  <a:lnTo>
                    <a:pt x="1942" y="196"/>
                  </a:lnTo>
                  <a:lnTo>
                    <a:pt x="1942" y="196"/>
                  </a:lnTo>
                  <a:lnTo>
                    <a:pt x="1948" y="196"/>
                  </a:lnTo>
                  <a:lnTo>
                    <a:pt x="1954" y="196"/>
                  </a:lnTo>
                  <a:lnTo>
                    <a:pt x="1948" y="196"/>
                  </a:lnTo>
                  <a:lnTo>
                    <a:pt x="1948" y="202"/>
                  </a:lnTo>
                  <a:lnTo>
                    <a:pt x="1954" y="202"/>
                  </a:lnTo>
                  <a:lnTo>
                    <a:pt x="1960" y="202"/>
                  </a:lnTo>
                  <a:lnTo>
                    <a:pt x="1960" y="202"/>
                  </a:lnTo>
                  <a:lnTo>
                    <a:pt x="1966" y="202"/>
                  </a:lnTo>
                  <a:lnTo>
                    <a:pt x="1972" y="202"/>
                  </a:lnTo>
                  <a:lnTo>
                    <a:pt x="1972" y="202"/>
                  </a:lnTo>
                  <a:lnTo>
                    <a:pt x="1976" y="202"/>
                  </a:lnTo>
                  <a:lnTo>
                    <a:pt x="1982" y="202"/>
                  </a:lnTo>
                  <a:lnTo>
                    <a:pt x="1982" y="202"/>
                  </a:lnTo>
                  <a:lnTo>
                    <a:pt x="1988" y="202"/>
                  </a:lnTo>
                  <a:lnTo>
                    <a:pt x="1982" y="202"/>
                  </a:lnTo>
                  <a:lnTo>
                    <a:pt x="1982" y="208"/>
                  </a:lnTo>
                  <a:lnTo>
                    <a:pt x="1982" y="214"/>
                  </a:lnTo>
                  <a:lnTo>
                    <a:pt x="1982" y="214"/>
                  </a:lnTo>
                  <a:lnTo>
                    <a:pt x="1976" y="214"/>
                  </a:lnTo>
                  <a:lnTo>
                    <a:pt x="1972" y="214"/>
                  </a:lnTo>
                  <a:lnTo>
                    <a:pt x="1972" y="214"/>
                  </a:lnTo>
                  <a:lnTo>
                    <a:pt x="1966" y="214"/>
                  </a:lnTo>
                  <a:lnTo>
                    <a:pt x="1960" y="214"/>
                  </a:lnTo>
                  <a:lnTo>
                    <a:pt x="1960" y="214"/>
                  </a:lnTo>
                  <a:lnTo>
                    <a:pt x="1954" y="214"/>
                  </a:lnTo>
                  <a:lnTo>
                    <a:pt x="1948" y="214"/>
                  </a:lnTo>
                  <a:lnTo>
                    <a:pt x="1942" y="214"/>
                  </a:lnTo>
                  <a:lnTo>
                    <a:pt x="1942" y="214"/>
                  </a:lnTo>
                  <a:lnTo>
                    <a:pt x="1942" y="208"/>
                  </a:lnTo>
                  <a:lnTo>
                    <a:pt x="1936" y="208"/>
                  </a:lnTo>
                  <a:lnTo>
                    <a:pt x="1930" y="208"/>
                  </a:lnTo>
                  <a:lnTo>
                    <a:pt x="1930" y="208"/>
                  </a:lnTo>
                  <a:lnTo>
                    <a:pt x="1930" y="202"/>
                  </a:lnTo>
                  <a:lnTo>
                    <a:pt x="1924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4" y="202"/>
                  </a:lnTo>
                  <a:lnTo>
                    <a:pt x="1918" y="202"/>
                  </a:lnTo>
                  <a:lnTo>
                    <a:pt x="1918" y="196"/>
                  </a:lnTo>
                  <a:lnTo>
                    <a:pt x="1918" y="192"/>
                  </a:lnTo>
                  <a:lnTo>
                    <a:pt x="1918" y="192"/>
                  </a:lnTo>
                  <a:lnTo>
                    <a:pt x="1918" y="192"/>
                  </a:lnTo>
                  <a:close/>
                  <a:moveTo>
                    <a:pt x="944" y="192"/>
                  </a:moveTo>
                  <a:lnTo>
                    <a:pt x="944" y="192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202"/>
                  </a:lnTo>
                  <a:lnTo>
                    <a:pt x="944" y="196"/>
                  </a:lnTo>
                  <a:lnTo>
                    <a:pt x="938" y="196"/>
                  </a:lnTo>
                  <a:lnTo>
                    <a:pt x="938" y="202"/>
                  </a:lnTo>
                  <a:lnTo>
                    <a:pt x="934" y="196"/>
                  </a:lnTo>
                  <a:lnTo>
                    <a:pt x="938" y="196"/>
                  </a:lnTo>
                  <a:lnTo>
                    <a:pt x="938" y="192"/>
                  </a:lnTo>
                  <a:lnTo>
                    <a:pt x="938" y="196"/>
                  </a:lnTo>
                  <a:lnTo>
                    <a:pt x="944" y="196"/>
                  </a:lnTo>
                  <a:lnTo>
                    <a:pt x="944" y="192"/>
                  </a:lnTo>
                  <a:lnTo>
                    <a:pt x="944" y="192"/>
                  </a:lnTo>
                  <a:lnTo>
                    <a:pt x="944" y="192"/>
                  </a:lnTo>
                  <a:close/>
                  <a:moveTo>
                    <a:pt x="1020" y="208"/>
                  </a:moveTo>
                  <a:lnTo>
                    <a:pt x="1026" y="208"/>
                  </a:lnTo>
                  <a:lnTo>
                    <a:pt x="1020" y="208"/>
                  </a:lnTo>
                  <a:lnTo>
                    <a:pt x="1020" y="214"/>
                  </a:lnTo>
                  <a:lnTo>
                    <a:pt x="1020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20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08" y="214"/>
                  </a:lnTo>
                  <a:lnTo>
                    <a:pt x="1008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20" y="208"/>
                  </a:lnTo>
                  <a:lnTo>
                    <a:pt x="1020" y="208"/>
                  </a:lnTo>
                  <a:close/>
                  <a:moveTo>
                    <a:pt x="996" y="214"/>
                  </a:moveTo>
                  <a:lnTo>
                    <a:pt x="996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2" y="214"/>
                  </a:lnTo>
                  <a:lnTo>
                    <a:pt x="992" y="214"/>
                  </a:lnTo>
                  <a:lnTo>
                    <a:pt x="996" y="214"/>
                  </a:lnTo>
                  <a:lnTo>
                    <a:pt x="996" y="214"/>
                  </a:lnTo>
                  <a:close/>
                  <a:moveTo>
                    <a:pt x="898" y="220"/>
                  </a:moveTo>
                  <a:lnTo>
                    <a:pt x="904" y="220"/>
                  </a:lnTo>
                  <a:lnTo>
                    <a:pt x="904" y="214"/>
                  </a:lnTo>
                  <a:lnTo>
                    <a:pt x="904" y="220"/>
                  </a:lnTo>
                  <a:lnTo>
                    <a:pt x="910" y="220"/>
                  </a:lnTo>
                  <a:lnTo>
                    <a:pt x="904" y="220"/>
                  </a:lnTo>
                  <a:lnTo>
                    <a:pt x="898" y="220"/>
                  </a:lnTo>
                  <a:lnTo>
                    <a:pt x="898" y="220"/>
                  </a:lnTo>
                  <a:close/>
                  <a:moveTo>
                    <a:pt x="996" y="220"/>
                  </a:moveTo>
                  <a:lnTo>
                    <a:pt x="996" y="226"/>
                  </a:lnTo>
                  <a:lnTo>
                    <a:pt x="992" y="226"/>
                  </a:lnTo>
                  <a:lnTo>
                    <a:pt x="992" y="220"/>
                  </a:lnTo>
                  <a:lnTo>
                    <a:pt x="996" y="220"/>
                  </a:lnTo>
                  <a:lnTo>
                    <a:pt x="996" y="220"/>
                  </a:lnTo>
                  <a:lnTo>
                    <a:pt x="996" y="220"/>
                  </a:lnTo>
                  <a:close/>
                  <a:moveTo>
                    <a:pt x="1408" y="232"/>
                  </a:moveTo>
                  <a:lnTo>
                    <a:pt x="1408" y="232"/>
                  </a:lnTo>
                  <a:lnTo>
                    <a:pt x="1402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2" y="232"/>
                  </a:lnTo>
                  <a:lnTo>
                    <a:pt x="1392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0"/>
                  </a:lnTo>
                  <a:lnTo>
                    <a:pt x="1402" y="220"/>
                  </a:lnTo>
                  <a:lnTo>
                    <a:pt x="1408" y="220"/>
                  </a:lnTo>
                  <a:lnTo>
                    <a:pt x="1414" y="220"/>
                  </a:lnTo>
                  <a:lnTo>
                    <a:pt x="1420" y="220"/>
                  </a:lnTo>
                  <a:lnTo>
                    <a:pt x="1420" y="226"/>
                  </a:lnTo>
                  <a:lnTo>
                    <a:pt x="1420" y="232"/>
                  </a:lnTo>
                  <a:lnTo>
                    <a:pt x="1414" y="232"/>
                  </a:lnTo>
                  <a:lnTo>
                    <a:pt x="1414" y="232"/>
                  </a:lnTo>
                  <a:lnTo>
                    <a:pt x="1408" y="232"/>
                  </a:lnTo>
                  <a:lnTo>
                    <a:pt x="1408" y="232"/>
                  </a:lnTo>
                  <a:close/>
                  <a:moveTo>
                    <a:pt x="986" y="220"/>
                  </a:moveTo>
                  <a:lnTo>
                    <a:pt x="986" y="220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0" y="226"/>
                  </a:lnTo>
                  <a:lnTo>
                    <a:pt x="986" y="226"/>
                  </a:lnTo>
                  <a:lnTo>
                    <a:pt x="986" y="220"/>
                  </a:lnTo>
                  <a:lnTo>
                    <a:pt x="986" y="220"/>
                  </a:lnTo>
                  <a:close/>
                  <a:moveTo>
                    <a:pt x="1460" y="232"/>
                  </a:moveTo>
                  <a:lnTo>
                    <a:pt x="1460" y="226"/>
                  </a:lnTo>
                  <a:lnTo>
                    <a:pt x="1460" y="226"/>
                  </a:lnTo>
                  <a:lnTo>
                    <a:pt x="1460" y="232"/>
                  </a:lnTo>
                  <a:lnTo>
                    <a:pt x="1460" y="232"/>
                  </a:lnTo>
                  <a:lnTo>
                    <a:pt x="1460" y="232"/>
                  </a:lnTo>
                  <a:close/>
                  <a:moveTo>
                    <a:pt x="1832" y="244"/>
                  </a:moveTo>
                  <a:lnTo>
                    <a:pt x="1832" y="238"/>
                  </a:lnTo>
                  <a:lnTo>
                    <a:pt x="1826" y="238"/>
                  </a:lnTo>
                  <a:lnTo>
                    <a:pt x="1826" y="232"/>
                  </a:lnTo>
                  <a:lnTo>
                    <a:pt x="1826" y="232"/>
                  </a:lnTo>
                  <a:lnTo>
                    <a:pt x="1832" y="232"/>
                  </a:lnTo>
                  <a:lnTo>
                    <a:pt x="1832" y="232"/>
                  </a:lnTo>
                  <a:lnTo>
                    <a:pt x="1838" y="232"/>
                  </a:lnTo>
                  <a:lnTo>
                    <a:pt x="1844" y="232"/>
                  </a:lnTo>
                  <a:lnTo>
                    <a:pt x="1838" y="232"/>
                  </a:lnTo>
                  <a:lnTo>
                    <a:pt x="1838" y="238"/>
                  </a:lnTo>
                  <a:lnTo>
                    <a:pt x="1832" y="238"/>
                  </a:lnTo>
                  <a:lnTo>
                    <a:pt x="1832" y="238"/>
                  </a:lnTo>
                  <a:lnTo>
                    <a:pt x="1832" y="244"/>
                  </a:lnTo>
                  <a:lnTo>
                    <a:pt x="1832" y="244"/>
                  </a:lnTo>
                  <a:close/>
                  <a:moveTo>
                    <a:pt x="1756" y="232"/>
                  </a:moveTo>
                  <a:lnTo>
                    <a:pt x="1756" y="232"/>
                  </a:lnTo>
                  <a:lnTo>
                    <a:pt x="1762" y="232"/>
                  </a:lnTo>
                  <a:lnTo>
                    <a:pt x="1768" y="238"/>
                  </a:lnTo>
                  <a:lnTo>
                    <a:pt x="1768" y="244"/>
                  </a:lnTo>
                  <a:lnTo>
                    <a:pt x="1762" y="244"/>
                  </a:lnTo>
                  <a:lnTo>
                    <a:pt x="1762" y="238"/>
                  </a:lnTo>
                  <a:lnTo>
                    <a:pt x="1756" y="238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close/>
                  <a:moveTo>
                    <a:pt x="950" y="232"/>
                  </a:moveTo>
                  <a:lnTo>
                    <a:pt x="956" y="232"/>
                  </a:lnTo>
                  <a:lnTo>
                    <a:pt x="956" y="238"/>
                  </a:lnTo>
                  <a:lnTo>
                    <a:pt x="950" y="238"/>
                  </a:lnTo>
                  <a:lnTo>
                    <a:pt x="950" y="232"/>
                  </a:lnTo>
                  <a:lnTo>
                    <a:pt x="944" y="232"/>
                  </a:lnTo>
                  <a:lnTo>
                    <a:pt x="950" y="232"/>
                  </a:lnTo>
                  <a:lnTo>
                    <a:pt x="950" y="232"/>
                  </a:lnTo>
                  <a:close/>
                  <a:moveTo>
                    <a:pt x="956" y="232"/>
                  </a:moveTo>
                  <a:lnTo>
                    <a:pt x="962" y="232"/>
                  </a:lnTo>
                  <a:lnTo>
                    <a:pt x="962" y="232"/>
                  </a:lnTo>
                  <a:lnTo>
                    <a:pt x="968" y="232"/>
                  </a:lnTo>
                  <a:lnTo>
                    <a:pt x="962" y="232"/>
                  </a:lnTo>
                  <a:lnTo>
                    <a:pt x="962" y="238"/>
                  </a:lnTo>
                  <a:lnTo>
                    <a:pt x="968" y="238"/>
                  </a:lnTo>
                  <a:lnTo>
                    <a:pt x="962" y="238"/>
                  </a:lnTo>
                  <a:lnTo>
                    <a:pt x="962" y="232"/>
                  </a:lnTo>
                  <a:lnTo>
                    <a:pt x="962" y="232"/>
                  </a:lnTo>
                  <a:lnTo>
                    <a:pt x="956" y="232"/>
                  </a:lnTo>
                  <a:lnTo>
                    <a:pt x="956" y="232"/>
                  </a:lnTo>
                  <a:close/>
                  <a:moveTo>
                    <a:pt x="974" y="238"/>
                  </a:moveTo>
                  <a:lnTo>
                    <a:pt x="980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close/>
                  <a:moveTo>
                    <a:pt x="1588" y="244"/>
                  </a:moveTo>
                  <a:lnTo>
                    <a:pt x="1588" y="238"/>
                  </a:lnTo>
                  <a:lnTo>
                    <a:pt x="1588" y="238"/>
                  </a:lnTo>
                  <a:lnTo>
                    <a:pt x="1588" y="238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close/>
                  <a:moveTo>
                    <a:pt x="1844" y="244"/>
                  </a:moveTo>
                  <a:lnTo>
                    <a:pt x="1844" y="244"/>
                  </a:lnTo>
                  <a:lnTo>
                    <a:pt x="1850" y="244"/>
                  </a:lnTo>
                  <a:lnTo>
                    <a:pt x="1856" y="244"/>
                  </a:lnTo>
                  <a:lnTo>
                    <a:pt x="1856" y="244"/>
                  </a:lnTo>
                  <a:lnTo>
                    <a:pt x="1860" y="244"/>
                  </a:lnTo>
                  <a:lnTo>
                    <a:pt x="1866" y="244"/>
                  </a:lnTo>
                  <a:lnTo>
                    <a:pt x="1872" y="244"/>
                  </a:lnTo>
                  <a:lnTo>
                    <a:pt x="1872" y="250"/>
                  </a:lnTo>
                  <a:lnTo>
                    <a:pt x="1872" y="250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54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60"/>
                  </a:lnTo>
                  <a:lnTo>
                    <a:pt x="1872" y="260"/>
                  </a:lnTo>
                  <a:lnTo>
                    <a:pt x="1866" y="254"/>
                  </a:lnTo>
                  <a:lnTo>
                    <a:pt x="1860" y="254"/>
                  </a:lnTo>
                  <a:lnTo>
                    <a:pt x="1856" y="254"/>
                  </a:lnTo>
                  <a:lnTo>
                    <a:pt x="1856" y="254"/>
                  </a:lnTo>
                  <a:lnTo>
                    <a:pt x="1850" y="254"/>
                  </a:lnTo>
                  <a:lnTo>
                    <a:pt x="1844" y="254"/>
                  </a:lnTo>
                  <a:lnTo>
                    <a:pt x="1844" y="254"/>
                  </a:lnTo>
                  <a:lnTo>
                    <a:pt x="1838" y="254"/>
                  </a:lnTo>
                  <a:lnTo>
                    <a:pt x="1832" y="254"/>
                  </a:lnTo>
                  <a:lnTo>
                    <a:pt x="1832" y="254"/>
                  </a:lnTo>
                  <a:lnTo>
                    <a:pt x="1826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6" y="254"/>
                  </a:lnTo>
                  <a:lnTo>
                    <a:pt x="1832" y="254"/>
                  </a:lnTo>
                  <a:lnTo>
                    <a:pt x="1832" y="250"/>
                  </a:lnTo>
                  <a:lnTo>
                    <a:pt x="1832" y="250"/>
                  </a:lnTo>
                  <a:lnTo>
                    <a:pt x="1832" y="244"/>
                  </a:lnTo>
                  <a:lnTo>
                    <a:pt x="1838" y="244"/>
                  </a:lnTo>
                  <a:lnTo>
                    <a:pt x="1844" y="244"/>
                  </a:lnTo>
                  <a:lnTo>
                    <a:pt x="1844" y="244"/>
                  </a:lnTo>
                  <a:close/>
                  <a:moveTo>
                    <a:pt x="1606" y="250"/>
                  </a:moveTo>
                  <a:lnTo>
                    <a:pt x="1612" y="250"/>
                  </a:lnTo>
                  <a:lnTo>
                    <a:pt x="1606" y="250"/>
                  </a:lnTo>
                  <a:lnTo>
                    <a:pt x="1606" y="250"/>
                  </a:lnTo>
                  <a:close/>
                  <a:moveTo>
                    <a:pt x="922" y="254"/>
                  </a:moveTo>
                  <a:lnTo>
                    <a:pt x="916" y="250"/>
                  </a:lnTo>
                  <a:lnTo>
                    <a:pt x="922" y="250"/>
                  </a:lnTo>
                  <a:lnTo>
                    <a:pt x="922" y="254"/>
                  </a:lnTo>
                  <a:lnTo>
                    <a:pt x="922" y="254"/>
                  </a:lnTo>
                  <a:close/>
                  <a:moveTo>
                    <a:pt x="1628" y="250"/>
                  </a:moveTo>
                  <a:lnTo>
                    <a:pt x="1634" y="250"/>
                  </a:lnTo>
                  <a:lnTo>
                    <a:pt x="1640" y="250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34" y="250"/>
                  </a:lnTo>
                  <a:lnTo>
                    <a:pt x="1628" y="250"/>
                  </a:lnTo>
                  <a:lnTo>
                    <a:pt x="1628" y="250"/>
                  </a:lnTo>
                  <a:close/>
                  <a:moveTo>
                    <a:pt x="760" y="266"/>
                  </a:moveTo>
                  <a:lnTo>
                    <a:pt x="760" y="260"/>
                  </a:lnTo>
                  <a:lnTo>
                    <a:pt x="764" y="260"/>
                  </a:lnTo>
                  <a:lnTo>
                    <a:pt x="764" y="254"/>
                  </a:lnTo>
                  <a:lnTo>
                    <a:pt x="764" y="254"/>
                  </a:lnTo>
                  <a:lnTo>
                    <a:pt x="760" y="254"/>
                  </a:lnTo>
                  <a:lnTo>
                    <a:pt x="764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6" y="250"/>
                  </a:lnTo>
                  <a:lnTo>
                    <a:pt x="782" y="254"/>
                  </a:lnTo>
                  <a:lnTo>
                    <a:pt x="776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8" y="254"/>
                  </a:lnTo>
                  <a:lnTo>
                    <a:pt x="788" y="260"/>
                  </a:lnTo>
                  <a:lnTo>
                    <a:pt x="782" y="260"/>
                  </a:lnTo>
                  <a:lnTo>
                    <a:pt x="782" y="260"/>
                  </a:lnTo>
                  <a:lnTo>
                    <a:pt x="776" y="260"/>
                  </a:lnTo>
                  <a:lnTo>
                    <a:pt x="770" y="260"/>
                  </a:lnTo>
                  <a:lnTo>
                    <a:pt x="770" y="266"/>
                  </a:lnTo>
                  <a:lnTo>
                    <a:pt x="770" y="266"/>
                  </a:lnTo>
                  <a:lnTo>
                    <a:pt x="764" y="266"/>
                  </a:lnTo>
                  <a:lnTo>
                    <a:pt x="764" y="260"/>
                  </a:lnTo>
                  <a:lnTo>
                    <a:pt x="764" y="266"/>
                  </a:lnTo>
                  <a:lnTo>
                    <a:pt x="760" y="266"/>
                  </a:lnTo>
                  <a:lnTo>
                    <a:pt x="760" y="266"/>
                  </a:lnTo>
                  <a:close/>
                  <a:moveTo>
                    <a:pt x="510" y="312"/>
                  </a:moveTo>
                  <a:lnTo>
                    <a:pt x="516" y="308"/>
                  </a:lnTo>
                  <a:lnTo>
                    <a:pt x="522" y="308"/>
                  </a:lnTo>
                  <a:lnTo>
                    <a:pt x="516" y="308"/>
                  </a:lnTo>
                  <a:lnTo>
                    <a:pt x="510" y="308"/>
                  </a:lnTo>
                  <a:lnTo>
                    <a:pt x="510" y="312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04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86" y="308"/>
                  </a:lnTo>
                  <a:lnTo>
                    <a:pt x="486" y="308"/>
                  </a:lnTo>
                  <a:lnTo>
                    <a:pt x="480" y="302"/>
                  </a:lnTo>
                  <a:lnTo>
                    <a:pt x="480" y="296"/>
                  </a:lnTo>
                  <a:lnTo>
                    <a:pt x="480" y="296"/>
                  </a:lnTo>
                  <a:lnTo>
                    <a:pt x="486" y="296"/>
                  </a:lnTo>
                  <a:lnTo>
                    <a:pt x="486" y="290"/>
                  </a:lnTo>
                  <a:lnTo>
                    <a:pt x="486" y="290"/>
                  </a:lnTo>
                  <a:lnTo>
                    <a:pt x="492" y="290"/>
                  </a:lnTo>
                  <a:lnTo>
                    <a:pt x="492" y="296"/>
                  </a:lnTo>
                  <a:lnTo>
                    <a:pt x="498" y="296"/>
                  </a:lnTo>
                  <a:lnTo>
                    <a:pt x="498" y="290"/>
                  </a:lnTo>
                  <a:lnTo>
                    <a:pt x="498" y="284"/>
                  </a:lnTo>
                  <a:lnTo>
                    <a:pt x="498" y="284"/>
                  </a:lnTo>
                  <a:lnTo>
                    <a:pt x="498" y="278"/>
                  </a:lnTo>
                  <a:lnTo>
                    <a:pt x="504" y="278"/>
                  </a:lnTo>
                  <a:lnTo>
                    <a:pt x="504" y="278"/>
                  </a:lnTo>
                  <a:lnTo>
                    <a:pt x="498" y="278"/>
                  </a:lnTo>
                  <a:lnTo>
                    <a:pt x="504" y="272"/>
                  </a:lnTo>
                  <a:lnTo>
                    <a:pt x="504" y="278"/>
                  </a:lnTo>
                  <a:lnTo>
                    <a:pt x="510" y="278"/>
                  </a:lnTo>
                  <a:lnTo>
                    <a:pt x="504" y="272"/>
                  </a:lnTo>
                  <a:lnTo>
                    <a:pt x="498" y="272"/>
                  </a:lnTo>
                  <a:lnTo>
                    <a:pt x="498" y="272"/>
                  </a:lnTo>
                  <a:lnTo>
                    <a:pt x="498" y="266"/>
                  </a:lnTo>
                  <a:lnTo>
                    <a:pt x="504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0"/>
                  </a:lnTo>
                  <a:lnTo>
                    <a:pt x="510" y="254"/>
                  </a:lnTo>
                  <a:lnTo>
                    <a:pt x="516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32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44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6" y="254"/>
                  </a:lnTo>
                  <a:lnTo>
                    <a:pt x="556" y="260"/>
                  </a:lnTo>
                  <a:lnTo>
                    <a:pt x="562" y="260"/>
                  </a:lnTo>
                  <a:lnTo>
                    <a:pt x="556" y="260"/>
                  </a:lnTo>
                  <a:lnTo>
                    <a:pt x="550" y="260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6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44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50" y="272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44" y="272"/>
                  </a:lnTo>
                  <a:lnTo>
                    <a:pt x="544" y="266"/>
                  </a:lnTo>
                  <a:lnTo>
                    <a:pt x="538" y="272"/>
                  </a:lnTo>
                  <a:lnTo>
                    <a:pt x="544" y="272"/>
                  </a:lnTo>
                  <a:lnTo>
                    <a:pt x="550" y="272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38" y="284"/>
                  </a:lnTo>
                  <a:lnTo>
                    <a:pt x="544" y="284"/>
                  </a:lnTo>
                  <a:lnTo>
                    <a:pt x="544" y="290"/>
                  </a:lnTo>
                  <a:lnTo>
                    <a:pt x="538" y="290"/>
                  </a:lnTo>
                  <a:lnTo>
                    <a:pt x="538" y="296"/>
                  </a:lnTo>
                  <a:lnTo>
                    <a:pt x="538" y="296"/>
                  </a:lnTo>
                  <a:lnTo>
                    <a:pt x="544" y="296"/>
                  </a:lnTo>
                  <a:lnTo>
                    <a:pt x="544" y="302"/>
                  </a:lnTo>
                  <a:lnTo>
                    <a:pt x="544" y="308"/>
                  </a:lnTo>
                  <a:lnTo>
                    <a:pt x="550" y="308"/>
                  </a:lnTo>
                  <a:lnTo>
                    <a:pt x="550" y="308"/>
                  </a:lnTo>
                  <a:lnTo>
                    <a:pt x="550" y="312"/>
                  </a:lnTo>
                  <a:lnTo>
                    <a:pt x="550" y="318"/>
                  </a:lnTo>
                  <a:lnTo>
                    <a:pt x="556" y="318"/>
                  </a:lnTo>
                  <a:lnTo>
                    <a:pt x="562" y="318"/>
                  </a:lnTo>
                  <a:lnTo>
                    <a:pt x="562" y="324"/>
                  </a:lnTo>
                  <a:lnTo>
                    <a:pt x="568" y="324"/>
                  </a:lnTo>
                  <a:lnTo>
                    <a:pt x="574" y="324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8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6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28" y="330"/>
                  </a:lnTo>
                  <a:lnTo>
                    <a:pt x="522" y="330"/>
                  </a:lnTo>
                  <a:lnTo>
                    <a:pt x="516" y="324"/>
                  </a:lnTo>
                  <a:lnTo>
                    <a:pt x="516" y="330"/>
                  </a:lnTo>
                  <a:lnTo>
                    <a:pt x="516" y="324"/>
                  </a:lnTo>
                  <a:lnTo>
                    <a:pt x="510" y="324"/>
                  </a:lnTo>
                  <a:lnTo>
                    <a:pt x="516" y="324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16" y="318"/>
                  </a:lnTo>
                  <a:lnTo>
                    <a:pt x="522" y="318"/>
                  </a:lnTo>
                  <a:lnTo>
                    <a:pt x="528" y="318"/>
                  </a:lnTo>
                  <a:lnTo>
                    <a:pt x="522" y="318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0" y="312"/>
                  </a:lnTo>
                  <a:close/>
                  <a:moveTo>
                    <a:pt x="1518" y="266"/>
                  </a:moveTo>
                  <a:lnTo>
                    <a:pt x="1512" y="260"/>
                  </a:lnTo>
                  <a:lnTo>
                    <a:pt x="1518" y="260"/>
                  </a:lnTo>
                  <a:lnTo>
                    <a:pt x="1524" y="260"/>
                  </a:lnTo>
                  <a:lnTo>
                    <a:pt x="1524" y="266"/>
                  </a:lnTo>
                  <a:lnTo>
                    <a:pt x="1518" y="266"/>
                  </a:lnTo>
                  <a:lnTo>
                    <a:pt x="1518" y="266"/>
                  </a:lnTo>
                  <a:close/>
                  <a:moveTo>
                    <a:pt x="898" y="266"/>
                  </a:moveTo>
                  <a:lnTo>
                    <a:pt x="898" y="266"/>
                  </a:lnTo>
                  <a:lnTo>
                    <a:pt x="898" y="266"/>
                  </a:lnTo>
                  <a:lnTo>
                    <a:pt x="898" y="260"/>
                  </a:lnTo>
                  <a:lnTo>
                    <a:pt x="904" y="260"/>
                  </a:lnTo>
                  <a:lnTo>
                    <a:pt x="904" y="266"/>
                  </a:lnTo>
                  <a:lnTo>
                    <a:pt x="910" y="266"/>
                  </a:lnTo>
                  <a:lnTo>
                    <a:pt x="910" y="272"/>
                  </a:lnTo>
                  <a:lnTo>
                    <a:pt x="904" y="272"/>
                  </a:lnTo>
                  <a:lnTo>
                    <a:pt x="898" y="272"/>
                  </a:lnTo>
                  <a:lnTo>
                    <a:pt x="898" y="272"/>
                  </a:lnTo>
                  <a:lnTo>
                    <a:pt x="892" y="266"/>
                  </a:lnTo>
                  <a:lnTo>
                    <a:pt x="898" y="266"/>
                  </a:lnTo>
                  <a:lnTo>
                    <a:pt x="898" y="266"/>
                  </a:lnTo>
                  <a:close/>
                  <a:moveTo>
                    <a:pt x="870" y="284"/>
                  </a:moveTo>
                  <a:lnTo>
                    <a:pt x="870" y="278"/>
                  </a:lnTo>
                  <a:lnTo>
                    <a:pt x="870" y="278"/>
                  </a:lnTo>
                  <a:lnTo>
                    <a:pt x="870" y="278"/>
                  </a:lnTo>
                  <a:lnTo>
                    <a:pt x="876" y="278"/>
                  </a:lnTo>
                  <a:lnTo>
                    <a:pt x="880" y="278"/>
                  </a:lnTo>
                  <a:lnTo>
                    <a:pt x="880" y="278"/>
                  </a:lnTo>
                  <a:lnTo>
                    <a:pt x="886" y="278"/>
                  </a:lnTo>
                  <a:lnTo>
                    <a:pt x="886" y="278"/>
                  </a:lnTo>
                  <a:lnTo>
                    <a:pt x="880" y="278"/>
                  </a:lnTo>
                  <a:lnTo>
                    <a:pt x="880" y="284"/>
                  </a:lnTo>
                  <a:lnTo>
                    <a:pt x="880" y="284"/>
                  </a:lnTo>
                  <a:lnTo>
                    <a:pt x="876" y="284"/>
                  </a:lnTo>
                  <a:lnTo>
                    <a:pt x="870" y="284"/>
                  </a:lnTo>
                  <a:lnTo>
                    <a:pt x="870" y="284"/>
                  </a:lnTo>
                  <a:lnTo>
                    <a:pt x="870" y="284"/>
                  </a:lnTo>
                  <a:close/>
                  <a:moveTo>
                    <a:pt x="1798" y="308"/>
                  </a:moveTo>
                  <a:lnTo>
                    <a:pt x="1798" y="302"/>
                  </a:lnTo>
                  <a:lnTo>
                    <a:pt x="1802" y="302"/>
                  </a:lnTo>
                  <a:lnTo>
                    <a:pt x="1802" y="308"/>
                  </a:lnTo>
                  <a:lnTo>
                    <a:pt x="1798" y="308"/>
                  </a:lnTo>
                  <a:lnTo>
                    <a:pt x="1798" y="308"/>
                  </a:lnTo>
                  <a:close/>
                  <a:moveTo>
                    <a:pt x="1792" y="308"/>
                  </a:moveTo>
                  <a:lnTo>
                    <a:pt x="1792" y="308"/>
                  </a:lnTo>
                  <a:lnTo>
                    <a:pt x="1786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6" y="308"/>
                  </a:lnTo>
                  <a:lnTo>
                    <a:pt x="1792" y="308"/>
                  </a:lnTo>
                  <a:lnTo>
                    <a:pt x="1792" y="308"/>
                  </a:lnTo>
                  <a:lnTo>
                    <a:pt x="1792" y="308"/>
                  </a:lnTo>
                  <a:close/>
                  <a:moveTo>
                    <a:pt x="504" y="318"/>
                  </a:moveTo>
                  <a:lnTo>
                    <a:pt x="498" y="318"/>
                  </a:lnTo>
                  <a:lnTo>
                    <a:pt x="498" y="312"/>
                  </a:lnTo>
                  <a:lnTo>
                    <a:pt x="498" y="312"/>
                  </a:lnTo>
                  <a:lnTo>
                    <a:pt x="492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504" y="308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close/>
                  <a:moveTo>
                    <a:pt x="2150" y="330"/>
                  </a:moveTo>
                  <a:lnTo>
                    <a:pt x="2150" y="330"/>
                  </a:lnTo>
                  <a:lnTo>
                    <a:pt x="2150" y="324"/>
                  </a:lnTo>
                  <a:lnTo>
                    <a:pt x="2150" y="324"/>
                  </a:lnTo>
                  <a:lnTo>
                    <a:pt x="2150" y="330"/>
                  </a:lnTo>
                  <a:lnTo>
                    <a:pt x="2150" y="330"/>
                  </a:lnTo>
                  <a:close/>
                  <a:moveTo>
                    <a:pt x="608" y="360"/>
                  </a:moveTo>
                  <a:lnTo>
                    <a:pt x="602" y="360"/>
                  </a:lnTo>
                  <a:lnTo>
                    <a:pt x="602" y="354"/>
                  </a:lnTo>
                  <a:lnTo>
                    <a:pt x="602" y="354"/>
                  </a:lnTo>
                  <a:lnTo>
                    <a:pt x="596" y="354"/>
                  </a:lnTo>
                  <a:lnTo>
                    <a:pt x="596" y="348"/>
                  </a:lnTo>
                  <a:lnTo>
                    <a:pt x="596" y="354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36"/>
                  </a:lnTo>
                  <a:lnTo>
                    <a:pt x="596" y="336"/>
                  </a:lnTo>
                  <a:lnTo>
                    <a:pt x="602" y="336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8" y="342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20" y="354"/>
                  </a:lnTo>
                  <a:lnTo>
                    <a:pt x="614" y="360"/>
                  </a:lnTo>
                  <a:lnTo>
                    <a:pt x="614" y="360"/>
                  </a:lnTo>
                  <a:lnTo>
                    <a:pt x="608" y="360"/>
                  </a:lnTo>
                  <a:lnTo>
                    <a:pt x="608" y="360"/>
                  </a:lnTo>
                  <a:close/>
                  <a:moveTo>
                    <a:pt x="2266" y="360"/>
                  </a:moveTo>
                  <a:lnTo>
                    <a:pt x="2266" y="360"/>
                  </a:lnTo>
                  <a:lnTo>
                    <a:pt x="2266" y="360"/>
                  </a:lnTo>
                  <a:lnTo>
                    <a:pt x="2262" y="360"/>
                  </a:lnTo>
                  <a:lnTo>
                    <a:pt x="2256" y="360"/>
                  </a:lnTo>
                  <a:lnTo>
                    <a:pt x="2250" y="360"/>
                  </a:lnTo>
                  <a:lnTo>
                    <a:pt x="2250" y="360"/>
                  </a:lnTo>
                  <a:lnTo>
                    <a:pt x="2244" y="354"/>
                  </a:lnTo>
                  <a:lnTo>
                    <a:pt x="2244" y="348"/>
                  </a:lnTo>
                  <a:lnTo>
                    <a:pt x="2250" y="348"/>
                  </a:lnTo>
                  <a:lnTo>
                    <a:pt x="2250" y="348"/>
                  </a:lnTo>
                  <a:lnTo>
                    <a:pt x="2256" y="348"/>
                  </a:lnTo>
                  <a:lnTo>
                    <a:pt x="2262" y="348"/>
                  </a:lnTo>
                  <a:lnTo>
                    <a:pt x="2262" y="354"/>
                  </a:lnTo>
                  <a:lnTo>
                    <a:pt x="2266" y="354"/>
                  </a:lnTo>
                  <a:lnTo>
                    <a:pt x="2266" y="354"/>
                  </a:lnTo>
                  <a:lnTo>
                    <a:pt x="2266" y="360"/>
                  </a:lnTo>
                  <a:lnTo>
                    <a:pt x="2266" y="360"/>
                  </a:lnTo>
                  <a:close/>
                  <a:moveTo>
                    <a:pt x="2150" y="360"/>
                  </a:move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close/>
                  <a:moveTo>
                    <a:pt x="2146" y="366"/>
                  </a:moveTo>
                  <a:lnTo>
                    <a:pt x="2150" y="366"/>
                  </a:lnTo>
                  <a:lnTo>
                    <a:pt x="2150" y="360"/>
                  </a:lnTo>
                  <a:lnTo>
                    <a:pt x="2146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6"/>
                  </a:lnTo>
                  <a:lnTo>
                    <a:pt x="2146" y="366"/>
                  </a:lnTo>
                  <a:lnTo>
                    <a:pt x="2146" y="366"/>
                  </a:lnTo>
                  <a:close/>
                  <a:moveTo>
                    <a:pt x="718" y="360"/>
                  </a:moveTo>
                  <a:lnTo>
                    <a:pt x="718" y="360"/>
                  </a:lnTo>
                  <a:lnTo>
                    <a:pt x="724" y="360"/>
                  </a:lnTo>
                  <a:lnTo>
                    <a:pt x="718" y="366"/>
                  </a:lnTo>
                  <a:lnTo>
                    <a:pt x="718" y="366"/>
                  </a:lnTo>
                  <a:lnTo>
                    <a:pt x="718" y="360"/>
                  </a:lnTo>
                  <a:lnTo>
                    <a:pt x="718" y="360"/>
                  </a:lnTo>
                  <a:close/>
                  <a:moveTo>
                    <a:pt x="2150" y="376"/>
                  </a:moveTo>
                  <a:lnTo>
                    <a:pt x="2146" y="376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72"/>
                  </a:lnTo>
                  <a:lnTo>
                    <a:pt x="2146" y="372"/>
                  </a:lnTo>
                  <a:lnTo>
                    <a:pt x="2146" y="366"/>
                  </a:lnTo>
                  <a:lnTo>
                    <a:pt x="2140" y="366"/>
                  </a:lnTo>
                  <a:lnTo>
                    <a:pt x="2146" y="360"/>
                  </a:lnTo>
                  <a:lnTo>
                    <a:pt x="2146" y="366"/>
                  </a:lnTo>
                  <a:lnTo>
                    <a:pt x="2146" y="372"/>
                  </a:lnTo>
                  <a:lnTo>
                    <a:pt x="2146" y="372"/>
                  </a:lnTo>
                  <a:lnTo>
                    <a:pt x="2150" y="372"/>
                  </a:lnTo>
                  <a:lnTo>
                    <a:pt x="2150" y="376"/>
                  </a:lnTo>
                  <a:lnTo>
                    <a:pt x="2150" y="376"/>
                  </a:lnTo>
                  <a:close/>
                  <a:moveTo>
                    <a:pt x="434" y="372"/>
                  </a:moveTo>
                  <a:lnTo>
                    <a:pt x="434" y="372"/>
                  </a:lnTo>
                  <a:lnTo>
                    <a:pt x="440" y="372"/>
                  </a:lnTo>
                  <a:lnTo>
                    <a:pt x="440" y="366"/>
                  </a:lnTo>
                  <a:lnTo>
                    <a:pt x="440" y="366"/>
                  </a:lnTo>
                  <a:lnTo>
                    <a:pt x="440" y="360"/>
                  </a:lnTo>
                  <a:lnTo>
                    <a:pt x="446" y="360"/>
                  </a:lnTo>
                  <a:lnTo>
                    <a:pt x="452" y="360"/>
                  </a:lnTo>
                  <a:lnTo>
                    <a:pt x="452" y="366"/>
                  </a:lnTo>
                  <a:lnTo>
                    <a:pt x="458" y="36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58" y="376"/>
                  </a:lnTo>
                  <a:lnTo>
                    <a:pt x="458" y="382"/>
                  </a:lnTo>
                  <a:lnTo>
                    <a:pt x="452" y="382"/>
                  </a:lnTo>
                  <a:lnTo>
                    <a:pt x="452" y="382"/>
                  </a:lnTo>
                  <a:lnTo>
                    <a:pt x="446" y="382"/>
                  </a:lnTo>
                  <a:lnTo>
                    <a:pt x="440" y="382"/>
                  </a:lnTo>
                  <a:lnTo>
                    <a:pt x="440" y="382"/>
                  </a:lnTo>
                  <a:lnTo>
                    <a:pt x="434" y="376"/>
                  </a:lnTo>
                  <a:lnTo>
                    <a:pt x="434" y="372"/>
                  </a:lnTo>
                  <a:lnTo>
                    <a:pt x="434" y="372"/>
                  </a:lnTo>
                  <a:close/>
                  <a:moveTo>
                    <a:pt x="220" y="366"/>
                  </a:moveTo>
                  <a:lnTo>
                    <a:pt x="226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close/>
                  <a:moveTo>
                    <a:pt x="702" y="372"/>
                  </a:moveTo>
                  <a:lnTo>
                    <a:pt x="706" y="372"/>
                  </a:lnTo>
                  <a:lnTo>
                    <a:pt x="706" y="372"/>
                  </a:lnTo>
                  <a:lnTo>
                    <a:pt x="706" y="376"/>
                  </a:lnTo>
                  <a:lnTo>
                    <a:pt x="712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702" y="372"/>
                  </a:lnTo>
                  <a:lnTo>
                    <a:pt x="702" y="372"/>
                  </a:lnTo>
                  <a:close/>
                  <a:moveTo>
                    <a:pt x="568" y="382"/>
                  </a:moveTo>
                  <a:lnTo>
                    <a:pt x="574" y="382"/>
                  </a:lnTo>
                  <a:lnTo>
                    <a:pt x="574" y="382"/>
                  </a:lnTo>
                  <a:lnTo>
                    <a:pt x="580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68" y="382"/>
                  </a:lnTo>
                  <a:lnTo>
                    <a:pt x="568" y="382"/>
                  </a:lnTo>
                  <a:lnTo>
                    <a:pt x="568" y="382"/>
                  </a:lnTo>
                  <a:close/>
                  <a:moveTo>
                    <a:pt x="474" y="394"/>
                  </a:moveTo>
                  <a:lnTo>
                    <a:pt x="474" y="388"/>
                  </a:lnTo>
                  <a:lnTo>
                    <a:pt x="474" y="388"/>
                  </a:lnTo>
                  <a:lnTo>
                    <a:pt x="480" y="388"/>
                  </a:lnTo>
                  <a:lnTo>
                    <a:pt x="474" y="388"/>
                  </a:lnTo>
                  <a:lnTo>
                    <a:pt x="474" y="394"/>
                  </a:lnTo>
                  <a:lnTo>
                    <a:pt x="474" y="394"/>
                  </a:lnTo>
                  <a:lnTo>
                    <a:pt x="474" y="394"/>
                  </a:lnTo>
                  <a:close/>
                  <a:moveTo>
                    <a:pt x="348" y="434"/>
                  </a:move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close/>
                  <a:moveTo>
                    <a:pt x="244" y="476"/>
                  </a:moveTo>
                  <a:lnTo>
                    <a:pt x="244" y="482"/>
                  </a:lnTo>
                  <a:lnTo>
                    <a:pt x="244" y="482"/>
                  </a:lnTo>
                  <a:lnTo>
                    <a:pt x="244" y="476"/>
                  </a:lnTo>
                  <a:lnTo>
                    <a:pt x="244" y="476"/>
                  </a:lnTo>
                  <a:lnTo>
                    <a:pt x="244" y="476"/>
                  </a:lnTo>
                  <a:close/>
                  <a:moveTo>
                    <a:pt x="2584" y="488"/>
                  </a:moveTo>
                  <a:lnTo>
                    <a:pt x="2584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84" y="488"/>
                  </a:lnTo>
                  <a:lnTo>
                    <a:pt x="2584" y="488"/>
                  </a:lnTo>
                  <a:close/>
                  <a:moveTo>
                    <a:pt x="2578" y="488"/>
                  </a:moveTo>
                  <a:lnTo>
                    <a:pt x="2584" y="488"/>
                  </a:lnTo>
                  <a:lnTo>
                    <a:pt x="2584" y="492"/>
                  </a:lnTo>
                  <a:lnTo>
                    <a:pt x="2584" y="488"/>
                  </a:lnTo>
                  <a:lnTo>
                    <a:pt x="2578" y="488"/>
                  </a:lnTo>
                  <a:lnTo>
                    <a:pt x="2578" y="488"/>
                  </a:lnTo>
                  <a:close/>
                  <a:moveTo>
                    <a:pt x="2180" y="638"/>
                  </a:moveTo>
                  <a:lnTo>
                    <a:pt x="2180" y="638"/>
                  </a:lnTo>
                  <a:lnTo>
                    <a:pt x="2180" y="638"/>
                  </a:lnTo>
                  <a:lnTo>
                    <a:pt x="2180" y="632"/>
                  </a:lnTo>
                  <a:lnTo>
                    <a:pt x="2186" y="632"/>
                  </a:lnTo>
                  <a:lnTo>
                    <a:pt x="2186" y="626"/>
                  </a:lnTo>
                  <a:lnTo>
                    <a:pt x="2180" y="626"/>
                  </a:lnTo>
                  <a:lnTo>
                    <a:pt x="2180" y="632"/>
                  </a:lnTo>
                  <a:lnTo>
                    <a:pt x="2180" y="626"/>
                  </a:lnTo>
                  <a:lnTo>
                    <a:pt x="2186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8" y="626"/>
                  </a:lnTo>
                  <a:lnTo>
                    <a:pt x="2198" y="626"/>
                  </a:lnTo>
                  <a:lnTo>
                    <a:pt x="2198" y="632"/>
                  </a:lnTo>
                  <a:lnTo>
                    <a:pt x="2192" y="632"/>
                  </a:lnTo>
                  <a:lnTo>
                    <a:pt x="2192" y="632"/>
                  </a:lnTo>
                  <a:lnTo>
                    <a:pt x="2192" y="638"/>
                  </a:lnTo>
                  <a:lnTo>
                    <a:pt x="2186" y="638"/>
                  </a:lnTo>
                  <a:lnTo>
                    <a:pt x="2180" y="638"/>
                  </a:lnTo>
                  <a:lnTo>
                    <a:pt x="2180" y="644"/>
                  </a:lnTo>
                  <a:lnTo>
                    <a:pt x="2180" y="638"/>
                  </a:lnTo>
                  <a:lnTo>
                    <a:pt x="2180" y="638"/>
                  </a:lnTo>
                  <a:close/>
                  <a:moveTo>
                    <a:pt x="2220" y="714"/>
                  </a:moveTo>
                  <a:lnTo>
                    <a:pt x="2220" y="720"/>
                  </a:lnTo>
                  <a:lnTo>
                    <a:pt x="2220" y="724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0" y="730"/>
                  </a:lnTo>
                  <a:lnTo>
                    <a:pt x="2220" y="724"/>
                  </a:lnTo>
                  <a:lnTo>
                    <a:pt x="2214" y="724"/>
                  </a:lnTo>
                  <a:lnTo>
                    <a:pt x="2214" y="720"/>
                  </a:lnTo>
                  <a:lnTo>
                    <a:pt x="2214" y="720"/>
                  </a:lnTo>
                  <a:lnTo>
                    <a:pt x="2214" y="714"/>
                  </a:lnTo>
                  <a:lnTo>
                    <a:pt x="2214" y="714"/>
                  </a:lnTo>
                  <a:lnTo>
                    <a:pt x="2220" y="714"/>
                  </a:lnTo>
                  <a:lnTo>
                    <a:pt x="2220" y="714"/>
                  </a:lnTo>
                  <a:close/>
                  <a:moveTo>
                    <a:pt x="1780" y="730"/>
                  </a:moveTo>
                  <a:lnTo>
                    <a:pt x="1780" y="730"/>
                  </a:lnTo>
                  <a:lnTo>
                    <a:pt x="1780" y="724"/>
                  </a:lnTo>
                  <a:lnTo>
                    <a:pt x="1786" y="724"/>
                  </a:lnTo>
                  <a:lnTo>
                    <a:pt x="1786" y="720"/>
                  </a:lnTo>
                  <a:lnTo>
                    <a:pt x="1792" y="720"/>
                  </a:lnTo>
                  <a:lnTo>
                    <a:pt x="1792" y="724"/>
                  </a:lnTo>
                  <a:lnTo>
                    <a:pt x="1792" y="724"/>
                  </a:lnTo>
                  <a:lnTo>
                    <a:pt x="1792" y="730"/>
                  </a:lnTo>
                  <a:lnTo>
                    <a:pt x="1792" y="730"/>
                  </a:lnTo>
                  <a:lnTo>
                    <a:pt x="1786" y="730"/>
                  </a:lnTo>
                  <a:lnTo>
                    <a:pt x="1786" y="730"/>
                  </a:lnTo>
                  <a:lnTo>
                    <a:pt x="1780" y="730"/>
                  </a:lnTo>
                  <a:lnTo>
                    <a:pt x="1780" y="730"/>
                  </a:lnTo>
                  <a:lnTo>
                    <a:pt x="1780" y="730"/>
                  </a:lnTo>
                  <a:close/>
                  <a:moveTo>
                    <a:pt x="2238" y="730"/>
                  </a:moveTo>
                  <a:lnTo>
                    <a:pt x="2244" y="730"/>
                  </a:lnTo>
                  <a:lnTo>
                    <a:pt x="2244" y="730"/>
                  </a:lnTo>
                  <a:lnTo>
                    <a:pt x="2250" y="736"/>
                  </a:lnTo>
                  <a:lnTo>
                    <a:pt x="2244" y="736"/>
                  </a:lnTo>
                  <a:lnTo>
                    <a:pt x="2244" y="730"/>
                  </a:lnTo>
                  <a:lnTo>
                    <a:pt x="2244" y="730"/>
                  </a:lnTo>
                  <a:lnTo>
                    <a:pt x="2238" y="730"/>
                  </a:lnTo>
                  <a:lnTo>
                    <a:pt x="2238" y="730"/>
                  </a:lnTo>
                  <a:close/>
                  <a:moveTo>
                    <a:pt x="1872" y="928"/>
                  </a:moveTo>
                  <a:lnTo>
                    <a:pt x="1872" y="922"/>
                  </a:lnTo>
                  <a:lnTo>
                    <a:pt x="1872" y="922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66" y="910"/>
                  </a:lnTo>
                  <a:lnTo>
                    <a:pt x="1860" y="910"/>
                  </a:lnTo>
                  <a:lnTo>
                    <a:pt x="1856" y="916"/>
                  </a:lnTo>
                  <a:lnTo>
                    <a:pt x="1856" y="922"/>
                  </a:lnTo>
                  <a:lnTo>
                    <a:pt x="1856" y="922"/>
                  </a:lnTo>
                  <a:lnTo>
                    <a:pt x="1856" y="928"/>
                  </a:lnTo>
                  <a:lnTo>
                    <a:pt x="1856" y="928"/>
                  </a:lnTo>
                  <a:lnTo>
                    <a:pt x="1856" y="922"/>
                  </a:lnTo>
                  <a:lnTo>
                    <a:pt x="1850" y="922"/>
                  </a:lnTo>
                  <a:lnTo>
                    <a:pt x="1850" y="916"/>
                  </a:lnTo>
                  <a:lnTo>
                    <a:pt x="1850" y="910"/>
                  </a:lnTo>
                  <a:lnTo>
                    <a:pt x="1856" y="910"/>
                  </a:lnTo>
                  <a:lnTo>
                    <a:pt x="1856" y="904"/>
                  </a:lnTo>
                  <a:lnTo>
                    <a:pt x="1856" y="898"/>
                  </a:lnTo>
                  <a:lnTo>
                    <a:pt x="1856" y="898"/>
                  </a:lnTo>
                  <a:lnTo>
                    <a:pt x="1856" y="894"/>
                  </a:lnTo>
                  <a:lnTo>
                    <a:pt x="1856" y="888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76"/>
                  </a:lnTo>
                  <a:lnTo>
                    <a:pt x="1856" y="870"/>
                  </a:lnTo>
                  <a:lnTo>
                    <a:pt x="1856" y="870"/>
                  </a:lnTo>
                  <a:lnTo>
                    <a:pt x="1850" y="870"/>
                  </a:lnTo>
                  <a:lnTo>
                    <a:pt x="1850" y="864"/>
                  </a:lnTo>
                  <a:lnTo>
                    <a:pt x="1856" y="864"/>
                  </a:lnTo>
                  <a:lnTo>
                    <a:pt x="1856" y="858"/>
                  </a:lnTo>
                  <a:lnTo>
                    <a:pt x="1856" y="858"/>
                  </a:lnTo>
                  <a:lnTo>
                    <a:pt x="1856" y="852"/>
                  </a:lnTo>
                  <a:lnTo>
                    <a:pt x="1856" y="846"/>
                  </a:lnTo>
                  <a:lnTo>
                    <a:pt x="1856" y="846"/>
                  </a:lnTo>
                  <a:lnTo>
                    <a:pt x="1856" y="840"/>
                  </a:lnTo>
                  <a:lnTo>
                    <a:pt x="1856" y="836"/>
                  </a:lnTo>
                  <a:lnTo>
                    <a:pt x="1856" y="830"/>
                  </a:lnTo>
                  <a:lnTo>
                    <a:pt x="1856" y="830"/>
                  </a:lnTo>
                  <a:lnTo>
                    <a:pt x="1856" y="824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2"/>
                  </a:lnTo>
                  <a:lnTo>
                    <a:pt x="1856" y="806"/>
                  </a:lnTo>
                  <a:lnTo>
                    <a:pt x="1856" y="806"/>
                  </a:lnTo>
                  <a:lnTo>
                    <a:pt x="1850" y="800"/>
                  </a:lnTo>
                  <a:lnTo>
                    <a:pt x="1850" y="794"/>
                  </a:lnTo>
                  <a:lnTo>
                    <a:pt x="1850" y="794"/>
                  </a:lnTo>
                  <a:lnTo>
                    <a:pt x="1850" y="788"/>
                  </a:lnTo>
                  <a:lnTo>
                    <a:pt x="1850" y="782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2"/>
                  </a:lnTo>
                  <a:lnTo>
                    <a:pt x="1856" y="772"/>
                  </a:lnTo>
                  <a:lnTo>
                    <a:pt x="1856" y="766"/>
                  </a:lnTo>
                  <a:lnTo>
                    <a:pt x="1850" y="766"/>
                  </a:lnTo>
                  <a:lnTo>
                    <a:pt x="1850" y="766"/>
                  </a:lnTo>
                  <a:lnTo>
                    <a:pt x="1856" y="760"/>
                  </a:lnTo>
                  <a:lnTo>
                    <a:pt x="1856" y="760"/>
                  </a:lnTo>
                  <a:lnTo>
                    <a:pt x="1856" y="766"/>
                  </a:lnTo>
                  <a:lnTo>
                    <a:pt x="1860" y="766"/>
                  </a:lnTo>
                  <a:lnTo>
                    <a:pt x="1860" y="760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60" y="754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48"/>
                  </a:lnTo>
                  <a:lnTo>
                    <a:pt x="1860" y="748"/>
                  </a:lnTo>
                  <a:lnTo>
                    <a:pt x="1860" y="742"/>
                  </a:lnTo>
                  <a:lnTo>
                    <a:pt x="1856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6" y="742"/>
                  </a:lnTo>
                  <a:lnTo>
                    <a:pt x="1866" y="742"/>
                  </a:lnTo>
                  <a:lnTo>
                    <a:pt x="1872" y="742"/>
                  </a:lnTo>
                  <a:lnTo>
                    <a:pt x="1872" y="748"/>
                  </a:lnTo>
                  <a:lnTo>
                    <a:pt x="1866" y="748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72" y="754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72"/>
                  </a:lnTo>
                  <a:lnTo>
                    <a:pt x="1872" y="778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82"/>
                  </a:lnTo>
                  <a:lnTo>
                    <a:pt x="1872" y="782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800"/>
                  </a:lnTo>
                  <a:lnTo>
                    <a:pt x="1872" y="806"/>
                  </a:lnTo>
                  <a:lnTo>
                    <a:pt x="1872" y="806"/>
                  </a:lnTo>
                  <a:lnTo>
                    <a:pt x="1872" y="812"/>
                  </a:lnTo>
                  <a:lnTo>
                    <a:pt x="1878" y="806"/>
                  </a:lnTo>
                  <a:lnTo>
                    <a:pt x="1878" y="812"/>
                  </a:lnTo>
                  <a:lnTo>
                    <a:pt x="1878" y="818"/>
                  </a:lnTo>
                  <a:lnTo>
                    <a:pt x="1878" y="818"/>
                  </a:lnTo>
                  <a:lnTo>
                    <a:pt x="1878" y="824"/>
                  </a:lnTo>
                  <a:lnTo>
                    <a:pt x="1878" y="830"/>
                  </a:lnTo>
                  <a:lnTo>
                    <a:pt x="1884" y="830"/>
                  </a:lnTo>
                  <a:lnTo>
                    <a:pt x="1884" y="836"/>
                  </a:lnTo>
                  <a:lnTo>
                    <a:pt x="1884" y="840"/>
                  </a:lnTo>
                  <a:lnTo>
                    <a:pt x="1884" y="846"/>
                  </a:lnTo>
                  <a:lnTo>
                    <a:pt x="1884" y="852"/>
                  </a:lnTo>
                  <a:lnTo>
                    <a:pt x="1890" y="858"/>
                  </a:lnTo>
                  <a:lnTo>
                    <a:pt x="1890" y="858"/>
                  </a:lnTo>
                  <a:lnTo>
                    <a:pt x="1896" y="864"/>
                  </a:lnTo>
                  <a:lnTo>
                    <a:pt x="1896" y="870"/>
                  </a:lnTo>
                  <a:lnTo>
                    <a:pt x="1896" y="864"/>
                  </a:lnTo>
                  <a:lnTo>
                    <a:pt x="1890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78" y="858"/>
                  </a:lnTo>
                  <a:lnTo>
                    <a:pt x="1872" y="852"/>
                  </a:lnTo>
                  <a:lnTo>
                    <a:pt x="1872" y="858"/>
                  </a:lnTo>
                  <a:lnTo>
                    <a:pt x="1878" y="852"/>
                  </a:lnTo>
                  <a:lnTo>
                    <a:pt x="1878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64"/>
                  </a:lnTo>
                  <a:lnTo>
                    <a:pt x="1866" y="864"/>
                  </a:lnTo>
                  <a:lnTo>
                    <a:pt x="1866" y="870"/>
                  </a:lnTo>
                  <a:lnTo>
                    <a:pt x="1866" y="870"/>
                  </a:lnTo>
                  <a:lnTo>
                    <a:pt x="1860" y="876"/>
                  </a:lnTo>
                  <a:lnTo>
                    <a:pt x="1860" y="882"/>
                  </a:lnTo>
                  <a:lnTo>
                    <a:pt x="1860" y="882"/>
                  </a:lnTo>
                  <a:lnTo>
                    <a:pt x="1860" y="888"/>
                  </a:lnTo>
                  <a:lnTo>
                    <a:pt x="1860" y="894"/>
                  </a:lnTo>
                  <a:lnTo>
                    <a:pt x="1866" y="898"/>
                  </a:lnTo>
                  <a:lnTo>
                    <a:pt x="1872" y="898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8" y="910"/>
                  </a:lnTo>
                  <a:lnTo>
                    <a:pt x="1878" y="910"/>
                  </a:lnTo>
                  <a:lnTo>
                    <a:pt x="1878" y="916"/>
                  </a:lnTo>
                  <a:lnTo>
                    <a:pt x="1878" y="922"/>
                  </a:lnTo>
                  <a:lnTo>
                    <a:pt x="1878" y="922"/>
                  </a:lnTo>
                  <a:lnTo>
                    <a:pt x="1872" y="922"/>
                  </a:lnTo>
                  <a:lnTo>
                    <a:pt x="1872" y="928"/>
                  </a:lnTo>
                  <a:lnTo>
                    <a:pt x="1872" y="928"/>
                  </a:lnTo>
                  <a:close/>
                  <a:moveTo>
                    <a:pt x="2058" y="818"/>
                  </a:move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close/>
                  <a:moveTo>
                    <a:pt x="2076" y="824"/>
                  </a:moveTo>
                  <a:lnTo>
                    <a:pt x="2070" y="824"/>
                  </a:lnTo>
                  <a:lnTo>
                    <a:pt x="2070" y="818"/>
                  </a:lnTo>
                  <a:lnTo>
                    <a:pt x="2076" y="818"/>
                  </a:lnTo>
                  <a:lnTo>
                    <a:pt x="2076" y="824"/>
                  </a:lnTo>
                  <a:lnTo>
                    <a:pt x="2076" y="824"/>
                  </a:lnTo>
                  <a:close/>
                  <a:moveTo>
                    <a:pt x="2052" y="836"/>
                  </a:moveTo>
                  <a:lnTo>
                    <a:pt x="2052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24"/>
                  </a:lnTo>
                  <a:lnTo>
                    <a:pt x="2064" y="824"/>
                  </a:lnTo>
                  <a:lnTo>
                    <a:pt x="2064" y="818"/>
                  </a:lnTo>
                  <a:lnTo>
                    <a:pt x="2064" y="824"/>
                  </a:lnTo>
                  <a:lnTo>
                    <a:pt x="2070" y="830"/>
                  </a:lnTo>
                  <a:lnTo>
                    <a:pt x="2064" y="830"/>
                  </a:lnTo>
                  <a:lnTo>
                    <a:pt x="2058" y="836"/>
                  </a:lnTo>
                  <a:lnTo>
                    <a:pt x="2058" y="836"/>
                  </a:lnTo>
                  <a:lnTo>
                    <a:pt x="2052" y="836"/>
                  </a:lnTo>
                  <a:lnTo>
                    <a:pt x="2052" y="836"/>
                  </a:lnTo>
                  <a:close/>
                  <a:moveTo>
                    <a:pt x="2046" y="858"/>
                  </a:moveTo>
                  <a:lnTo>
                    <a:pt x="2046" y="852"/>
                  </a:lnTo>
                  <a:lnTo>
                    <a:pt x="2046" y="846"/>
                  </a:lnTo>
                  <a:lnTo>
                    <a:pt x="2046" y="846"/>
                  </a:lnTo>
                  <a:lnTo>
                    <a:pt x="2046" y="852"/>
                  </a:lnTo>
                  <a:lnTo>
                    <a:pt x="2046" y="852"/>
                  </a:lnTo>
                  <a:lnTo>
                    <a:pt x="2046" y="858"/>
                  </a:lnTo>
                  <a:lnTo>
                    <a:pt x="2046" y="858"/>
                  </a:lnTo>
                  <a:lnTo>
                    <a:pt x="2046" y="858"/>
                  </a:lnTo>
                  <a:close/>
                  <a:moveTo>
                    <a:pt x="2040" y="858"/>
                  </a:moveTo>
                  <a:lnTo>
                    <a:pt x="2046" y="858"/>
                  </a:lnTo>
                  <a:lnTo>
                    <a:pt x="2046" y="858"/>
                  </a:lnTo>
                  <a:lnTo>
                    <a:pt x="2040" y="858"/>
                  </a:lnTo>
                  <a:lnTo>
                    <a:pt x="2040" y="858"/>
                  </a:lnTo>
                  <a:lnTo>
                    <a:pt x="2040" y="858"/>
                  </a:lnTo>
                  <a:close/>
                  <a:moveTo>
                    <a:pt x="2034" y="870"/>
                  </a:moveTo>
                  <a:lnTo>
                    <a:pt x="2034" y="864"/>
                  </a:lnTo>
                  <a:lnTo>
                    <a:pt x="2034" y="864"/>
                  </a:lnTo>
                  <a:lnTo>
                    <a:pt x="2034" y="870"/>
                  </a:lnTo>
                  <a:lnTo>
                    <a:pt x="2034" y="870"/>
                  </a:lnTo>
                  <a:lnTo>
                    <a:pt x="2034" y="870"/>
                  </a:lnTo>
                  <a:close/>
                  <a:moveTo>
                    <a:pt x="2012" y="904"/>
                  </a:moveTo>
                  <a:lnTo>
                    <a:pt x="2012" y="898"/>
                  </a:lnTo>
                  <a:lnTo>
                    <a:pt x="2012" y="904"/>
                  </a:lnTo>
                  <a:lnTo>
                    <a:pt x="2006" y="904"/>
                  </a:lnTo>
                  <a:lnTo>
                    <a:pt x="2006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6" y="904"/>
                  </a:lnTo>
                  <a:lnTo>
                    <a:pt x="2012" y="898"/>
                  </a:lnTo>
                  <a:lnTo>
                    <a:pt x="2012" y="904"/>
                  </a:lnTo>
                  <a:lnTo>
                    <a:pt x="2012" y="904"/>
                  </a:lnTo>
                  <a:close/>
                  <a:moveTo>
                    <a:pt x="1966" y="934"/>
                  </a:moveTo>
                  <a:lnTo>
                    <a:pt x="1972" y="934"/>
                  </a:lnTo>
                  <a:lnTo>
                    <a:pt x="1972" y="928"/>
                  </a:lnTo>
                  <a:lnTo>
                    <a:pt x="1972" y="928"/>
                  </a:lnTo>
                  <a:lnTo>
                    <a:pt x="1972" y="922"/>
                  </a:lnTo>
                  <a:lnTo>
                    <a:pt x="1976" y="922"/>
                  </a:lnTo>
                  <a:lnTo>
                    <a:pt x="1982" y="922"/>
                  </a:lnTo>
                  <a:lnTo>
                    <a:pt x="1976" y="922"/>
                  </a:lnTo>
                  <a:lnTo>
                    <a:pt x="1976" y="928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66" y="934"/>
                  </a:lnTo>
                  <a:lnTo>
                    <a:pt x="1966" y="934"/>
                  </a:lnTo>
                  <a:close/>
                  <a:moveTo>
                    <a:pt x="1924" y="962"/>
                  </a:moveTo>
                  <a:lnTo>
                    <a:pt x="1930" y="956"/>
                  </a:lnTo>
                  <a:lnTo>
                    <a:pt x="1930" y="952"/>
                  </a:lnTo>
                  <a:lnTo>
                    <a:pt x="1930" y="952"/>
                  </a:lnTo>
                  <a:lnTo>
                    <a:pt x="1930" y="946"/>
                  </a:lnTo>
                  <a:lnTo>
                    <a:pt x="1936" y="946"/>
                  </a:lnTo>
                  <a:lnTo>
                    <a:pt x="1936" y="946"/>
                  </a:lnTo>
                  <a:lnTo>
                    <a:pt x="1942" y="946"/>
                  </a:lnTo>
                  <a:lnTo>
                    <a:pt x="1942" y="940"/>
                  </a:lnTo>
                  <a:lnTo>
                    <a:pt x="1942" y="940"/>
                  </a:lnTo>
                  <a:lnTo>
                    <a:pt x="1942" y="946"/>
                  </a:lnTo>
                  <a:lnTo>
                    <a:pt x="1948" y="946"/>
                  </a:lnTo>
                  <a:lnTo>
                    <a:pt x="1948" y="940"/>
                  </a:lnTo>
                  <a:lnTo>
                    <a:pt x="1954" y="940"/>
                  </a:lnTo>
                  <a:lnTo>
                    <a:pt x="1954" y="934"/>
                  </a:lnTo>
                  <a:lnTo>
                    <a:pt x="1960" y="934"/>
                  </a:lnTo>
                  <a:lnTo>
                    <a:pt x="1960" y="940"/>
                  </a:lnTo>
                  <a:lnTo>
                    <a:pt x="1954" y="940"/>
                  </a:lnTo>
                  <a:lnTo>
                    <a:pt x="1954" y="946"/>
                  </a:lnTo>
                  <a:lnTo>
                    <a:pt x="1948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36" y="946"/>
                  </a:lnTo>
                  <a:lnTo>
                    <a:pt x="1936" y="952"/>
                  </a:lnTo>
                  <a:lnTo>
                    <a:pt x="1930" y="956"/>
                  </a:lnTo>
                  <a:lnTo>
                    <a:pt x="1930" y="962"/>
                  </a:lnTo>
                  <a:lnTo>
                    <a:pt x="1930" y="962"/>
                  </a:lnTo>
                  <a:lnTo>
                    <a:pt x="1924" y="962"/>
                  </a:lnTo>
                  <a:lnTo>
                    <a:pt x="1924" y="962"/>
                  </a:lnTo>
                  <a:close/>
                  <a:moveTo>
                    <a:pt x="1918" y="962"/>
                  </a:moveTo>
                  <a:lnTo>
                    <a:pt x="1918" y="962"/>
                  </a:lnTo>
                  <a:lnTo>
                    <a:pt x="1918" y="962"/>
                  </a:lnTo>
                  <a:lnTo>
                    <a:pt x="1918" y="962"/>
                  </a:lnTo>
                  <a:lnTo>
                    <a:pt x="1914" y="962"/>
                  </a:lnTo>
                  <a:lnTo>
                    <a:pt x="1914" y="968"/>
                  </a:lnTo>
                  <a:lnTo>
                    <a:pt x="1908" y="968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68"/>
                  </a:lnTo>
                  <a:lnTo>
                    <a:pt x="1914" y="962"/>
                  </a:lnTo>
                  <a:lnTo>
                    <a:pt x="1914" y="962"/>
                  </a:lnTo>
                  <a:lnTo>
                    <a:pt x="1918" y="962"/>
                  </a:lnTo>
                  <a:lnTo>
                    <a:pt x="1918" y="962"/>
                  </a:lnTo>
                  <a:close/>
                  <a:moveTo>
                    <a:pt x="1924" y="974"/>
                  </a:moveTo>
                  <a:lnTo>
                    <a:pt x="1924" y="974"/>
                  </a:lnTo>
                  <a:lnTo>
                    <a:pt x="1918" y="974"/>
                  </a:lnTo>
                  <a:lnTo>
                    <a:pt x="1918" y="974"/>
                  </a:lnTo>
                  <a:lnTo>
                    <a:pt x="1924" y="974"/>
                  </a:lnTo>
                  <a:lnTo>
                    <a:pt x="1924" y="97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ru-RU"/>
            </a:p>
          </p:txBody>
        </p:sp>
        <p:sp>
          <p:nvSpPr>
            <p:cNvPr id="36" name="Freeform 441">
              <a:extLst>
                <a:ext uri="{FF2B5EF4-FFF2-40B4-BE49-F238E27FC236}">
                  <a16:creationId xmlns:a16="http://schemas.microsoft.com/office/drawing/2014/main" xmlns="" id="{34442F5C-4A35-4CAE-93AF-05C8BF24EB14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4904339" y="4278409"/>
              <a:ext cx="283257" cy="232416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/>
            </a:p>
          </p:txBody>
        </p:sp>
        <p:sp>
          <p:nvSpPr>
            <p:cNvPr id="37" name="Freeform 441">
              <a:extLst>
                <a:ext uri="{FF2B5EF4-FFF2-40B4-BE49-F238E27FC236}">
                  <a16:creationId xmlns:a16="http://schemas.microsoft.com/office/drawing/2014/main" xmlns="" id="{F47C085C-E712-4B72-982E-2A59F69261A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4867845" y="3953787"/>
              <a:ext cx="379071" cy="407680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/>
            </a:p>
          </p:txBody>
        </p:sp>
        <p:sp>
          <p:nvSpPr>
            <p:cNvPr id="38" name="Freeform 4">
              <a:extLst>
                <a:ext uri="{FF2B5EF4-FFF2-40B4-BE49-F238E27FC236}">
                  <a16:creationId xmlns:a16="http://schemas.microsoft.com/office/drawing/2014/main" xmlns="" id="{37A007A7-7715-412D-8737-F37EB81AF352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736031" y="3508868"/>
              <a:ext cx="318858" cy="272884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xmlns="" id="{D11F1430-FEDC-4448-A7B4-20D9DC71C2A5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gray">
            <a:xfrm>
              <a:off x="5351917" y="3425817"/>
              <a:ext cx="71187" cy="71187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xmlns="" id="{69D009DB-8E84-4A6B-BB1C-ABC5161E9218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gray">
            <a:xfrm>
              <a:off x="5381578" y="3379842"/>
              <a:ext cx="152755" cy="134958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41" name="Freeform 7">
              <a:extLst>
                <a:ext uri="{FF2B5EF4-FFF2-40B4-BE49-F238E27FC236}">
                  <a16:creationId xmlns:a16="http://schemas.microsoft.com/office/drawing/2014/main" xmlns="" id="{EBCA1D32-C025-48F6-88B9-0137396E9F25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gray">
            <a:xfrm>
              <a:off x="5506155" y="3870736"/>
              <a:ext cx="11865" cy="1779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xmlns="" id="{C385BA42-40B2-4EA6-BDF5-11D1A5689BC2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gray">
            <a:xfrm>
              <a:off x="6351502" y="3858871"/>
              <a:ext cx="106781" cy="166103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43" name="Freeform 9">
              <a:extLst>
                <a:ext uri="{FF2B5EF4-FFF2-40B4-BE49-F238E27FC236}">
                  <a16:creationId xmlns:a16="http://schemas.microsoft.com/office/drawing/2014/main" xmlns="" id="{33D41389-9A1C-4207-8DF0-78E89F4F048D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6369299" y="3811413"/>
              <a:ext cx="77119" cy="47458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44" name="Freeform 10">
              <a:extLst>
                <a:ext uri="{FF2B5EF4-FFF2-40B4-BE49-F238E27FC236}">
                  <a16:creationId xmlns:a16="http://schemas.microsoft.com/office/drawing/2014/main" xmlns="" id="{F5D17136-DEE0-41B5-8D3C-935DD728F46B}"/>
                </a:ext>
              </a:extLst>
            </p:cNvPr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gray">
            <a:xfrm>
              <a:off x="6937312" y="4456547"/>
              <a:ext cx="29661" cy="29661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2" y="8"/>
                </a:cxn>
              </a:cxnLst>
              <a:rect l="0" t="0" r="r" b="b"/>
              <a:pathLst>
                <a:path w="20" h="20"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6" y="4"/>
                  </a:move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xmlns="" id="{86C3C7B5-B6C6-4075-810D-12D9E597CA0A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6670361" y="4195527"/>
              <a:ext cx="118645" cy="118645"/>
            </a:xfrm>
            <a:custGeom>
              <a:avLst/>
              <a:gdLst/>
              <a:ahLst/>
              <a:cxnLst>
                <a:cxn ang="0">
                  <a:pos x="44" y="72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6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4" y="68"/>
                </a:cxn>
                <a:cxn ang="0">
                  <a:pos x="20" y="68"/>
                </a:cxn>
                <a:cxn ang="0">
                  <a:pos x="12" y="68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6"/>
                </a:cxn>
                <a:cxn ang="0">
                  <a:pos x="8" y="52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4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0" y="24"/>
                </a:cxn>
                <a:cxn ang="0">
                  <a:pos x="80" y="40"/>
                </a:cxn>
                <a:cxn ang="0">
                  <a:pos x="80" y="44"/>
                </a:cxn>
                <a:cxn ang="0">
                  <a:pos x="76" y="44"/>
                </a:cxn>
                <a:cxn ang="0">
                  <a:pos x="72" y="48"/>
                </a:cxn>
                <a:cxn ang="0">
                  <a:pos x="68" y="48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60" y="68"/>
                </a:cxn>
                <a:cxn ang="0">
                  <a:pos x="60" y="68"/>
                </a:cxn>
                <a:cxn ang="0">
                  <a:pos x="52" y="68"/>
                </a:cxn>
                <a:cxn ang="0">
                  <a:pos x="52" y="68"/>
                </a:cxn>
                <a:cxn ang="0">
                  <a:pos x="48" y="72"/>
                </a:cxn>
              </a:cxnLst>
              <a:rect l="0" t="0" r="r" b="b"/>
              <a:pathLst>
                <a:path w="80" h="80">
                  <a:moveTo>
                    <a:pt x="44" y="68"/>
                  </a:move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xmlns="" id="{12382086-1A2F-453A-B214-69E47D2EE2BB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6026711" y="3029839"/>
              <a:ext cx="1371834" cy="1070772"/>
            </a:xfrm>
            <a:custGeom>
              <a:avLst/>
              <a:gdLst/>
              <a:ahLst/>
              <a:cxnLst>
                <a:cxn ang="0">
                  <a:pos x="382" y="555"/>
                </a:cxn>
                <a:cxn ang="0">
                  <a:pos x="351" y="519"/>
                </a:cxn>
                <a:cxn ang="0">
                  <a:pos x="303" y="519"/>
                </a:cxn>
                <a:cxn ang="0">
                  <a:pos x="243" y="531"/>
                </a:cxn>
                <a:cxn ang="0">
                  <a:pos x="195" y="535"/>
                </a:cxn>
                <a:cxn ang="0">
                  <a:pos x="147" y="503"/>
                </a:cxn>
                <a:cxn ang="0">
                  <a:pos x="91" y="475"/>
                </a:cxn>
                <a:cxn ang="0">
                  <a:pos x="83" y="431"/>
                </a:cxn>
                <a:cxn ang="0">
                  <a:pos x="47" y="379"/>
                </a:cxn>
                <a:cxn ang="0">
                  <a:pos x="23" y="339"/>
                </a:cxn>
                <a:cxn ang="0">
                  <a:pos x="19" y="287"/>
                </a:cxn>
                <a:cxn ang="0">
                  <a:pos x="79" y="259"/>
                </a:cxn>
                <a:cxn ang="0">
                  <a:pos x="103" y="208"/>
                </a:cxn>
                <a:cxn ang="0">
                  <a:pos x="131" y="176"/>
                </a:cxn>
                <a:cxn ang="0">
                  <a:pos x="183" y="128"/>
                </a:cxn>
                <a:cxn ang="0">
                  <a:pos x="235" y="120"/>
                </a:cxn>
                <a:cxn ang="0">
                  <a:pos x="259" y="180"/>
                </a:cxn>
                <a:cxn ang="0">
                  <a:pos x="335" y="212"/>
                </a:cxn>
                <a:cxn ang="0">
                  <a:pos x="414" y="236"/>
                </a:cxn>
                <a:cxn ang="0">
                  <a:pos x="510" y="243"/>
                </a:cxn>
                <a:cxn ang="0">
                  <a:pos x="582" y="212"/>
                </a:cxn>
                <a:cxn ang="0">
                  <a:pos x="642" y="176"/>
                </a:cxn>
                <a:cxn ang="0">
                  <a:pos x="702" y="148"/>
                </a:cxn>
                <a:cxn ang="0">
                  <a:pos x="642" y="116"/>
                </a:cxn>
                <a:cxn ang="0">
                  <a:pos x="694" y="68"/>
                </a:cxn>
                <a:cxn ang="0">
                  <a:pos x="725" y="4"/>
                </a:cxn>
                <a:cxn ang="0">
                  <a:pos x="797" y="20"/>
                </a:cxn>
                <a:cxn ang="0">
                  <a:pos x="817" y="84"/>
                </a:cxn>
                <a:cxn ang="0">
                  <a:pos x="873" y="128"/>
                </a:cxn>
                <a:cxn ang="0">
                  <a:pos x="917" y="148"/>
                </a:cxn>
                <a:cxn ang="0">
                  <a:pos x="873" y="192"/>
                </a:cxn>
                <a:cxn ang="0">
                  <a:pos x="853" y="236"/>
                </a:cxn>
                <a:cxn ang="0">
                  <a:pos x="801" y="259"/>
                </a:cxn>
                <a:cxn ang="0">
                  <a:pos x="745" y="303"/>
                </a:cxn>
                <a:cxn ang="0">
                  <a:pos x="737" y="287"/>
                </a:cxn>
                <a:cxn ang="0">
                  <a:pos x="674" y="307"/>
                </a:cxn>
                <a:cxn ang="0">
                  <a:pos x="710" y="343"/>
                </a:cxn>
                <a:cxn ang="0">
                  <a:pos x="714" y="363"/>
                </a:cxn>
                <a:cxn ang="0">
                  <a:pos x="710" y="411"/>
                </a:cxn>
                <a:cxn ang="0">
                  <a:pos x="710" y="455"/>
                </a:cxn>
                <a:cxn ang="0">
                  <a:pos x="725" y="479"/>
                </a:cxn>
                <a:cxn ang="0">
                  <a:pos x="729" y="503"/>
                </a:cxn>
                <a:cxn ang="0">
                  <a:pos x="718" y="531"/>
                </a:cxn>
                <a:cxn ang="0">
                  <a:pos x="706" y="559"/>
                </a:cxn>
                <a:cxn ang="0">
                  <a:pos x="694" y="579"/>
                </a:cxn>
                <a:cxn ang="0">
                  <a:pos x="670" y="603"/>
                </a:cxn>
                <a:cxn ang="0">
                  <a:pos x="630" y="635"/>
                </a:cxn>
                <a:cxn ang="0">
                  <a:pos x="602" y="635"/>
                </a:cxn>
                <a:cxn ang="0">
                  <a:pos x="574" y="659"/>
                </a:cxn>
                <a:cxn ang="0">
                  <a:pos x="550" y="663"/>
                </a:cxn>
                <a:cxn ang="0">
                  <a:pos x="522" y="659"/>
                </a:cxn>
                <a:cxn ang="0">
                  <a:pos x="462" y="635"/>
                </a:cxn>
                <a:cxn ang="0">
                  <a:pos x="430" y="663"/>
                </a:cxn>
                <a:cxn ang="0">
                  <a:pos x="390" y="627"/>
                </a:cxn>
                <a:cxn ang="0">
                  <a:pos x="722" y="591"/>
                </a:cxn>
                <a:cxn ang="0">
                  <a:pos x="718" y="651"/>
                </a:cxn>
                <a:cxn ang="0">
                  <a:pos x="530" y="698"/>
                </a:cxn>
                <a:cxn ang="0">
                  <a:pos x="554" y="714"/>
                </a:cxn>
                <a:cxn ang="0">
                  <a:pos x="698" y="583"/>
                </a:cxn>
                <a:cxn ang="0">
                  <a:pos x="698" y="451"/>
                </a:cxn>
                <a:cxn ang="0">
                  <a:pos x="558" y="663"/>
                </a:cxn>
              </a:cxnLst>
              <a:rect l="0" t="0" r="r" b="b"/>
              <a:pathLst>
                <a:path w="925" h="722">
                  <a:moveTo>
                    <a:pt x="367" y="615"/>
                  </a:moveTo>
                  <a:lnTo>
                    <a:pt x="367" y="611"/>
                  </a:lnTo>
                  <a:lnTo>
                    <a:pt x="363" y="611"/>
                  </a:lnTo>
                  <a:lnTo>
                    <a:pt x="367" y="611"/>
                  </a:lnTo>
                  <a:lnTo>
                    <a:pt x="367" y="607"/>
                  </a:lnTo>
                  <a:lnTo>
                    <a:pt x="367" y="603"/>
                  </a:lnTo>
                  <a:lnTo>
                    <a:pt x="363" y="603"/>
                  </a:lnTo>
                  <a:lnTo>
                    <a:pt x="363" y="599"/>
                  </a:lnTo>
                  <a:lnTo>
                    <a:pt x="363" y="595"/>
                  </a:lnTo>
                  <a:lnTo>
                    <a:pt x="367" y="595"/>
                  </a:lnTo>
                  <a:lnTo>
                    <a:pt x="367" y="591"/>
                  </a:lnTo>
                  <a:lnTo>
                    <a:pt x="367" y="587"/>
                  </a:lnTo>
                  <a:lnTo>
                    <a:pt x="371" y="587"/>
                  </a:lnTo>
                  <a:lnTo>
                    <a:pt x="371" y="583"/>
                  </a:lnTo>
                  <a:lnTo>
                    <a:pt x="374" y="579"/>
                  </a:lnTo>
                  <a:lnTo>
                    <a:pt x="378" y="579"/>
                  </a:lnTo>
                  <a:lnTo>
                    <a:pt x="378" y="575"/>
                  </a:lnTo>
                  <a:lnTo>
                    <a:pt x="382" y="575"/>
                  </a:lnTo>
                  <a:lnTo>
                    <a:pt x="378" y="575"/>
                  </a:lnTo>
                  <a:lnTo>
                    <a:pt x="378" y="571"/>
                  </a:lnTo>
                  <a:lnTo>
                    <a:pt x="382" y="571"/>
                  </a:lnTo>
                  <a:lnTo>
                    <a:pt x="382" y="567"/>
                  </a:lnTo>
                  <a:lnTo>
                    <a:pt x="382" y="563"/>
                  </a:lnTo>
                  <a:lnTo>
                    <a:pt x="382" y="559"/>
                  </a:lnTo>
                  <a:lnTo>
                    <a:pt x="382" y="555"/>
                  </a:lnTo>
                  <a:lnTo>
                    <a:pt x="382" y="551"/>
                  </a:lnTo>
                  <a:lnTo>
                    <a:pt x="382" y="547"/>
                  </a:lnTo>
                  <a:lnTo>
                    <a:pt x="382" y="543"/>
                  </a:lnTo>
                  <a:lnTo>
                    <a:pt x="378" y="543"/>
                  </a:lnTo>
                  <a:lnTo>
                    <a:pt x="378" y="539"/>
                  </a:lnTo>
                  <a:lnTo>
                    <a:pt x="378" y="543"/>
                  </a:lnTo>
                  <a:lnTo>
                    <a:pt x="374" y="543"/>
                  </a:lnTo>
                  <a:lnTo>
                    <a:pt x="374" y="539"/>
                  </a:lnTo>
                  <a:lnTo>
                    <a:pt x="374" y="535"/>
                  </a:lnTo>
                  <a:lnTo>
                    <a:pt x="371" y="535"/>
                  </a:lnTo>
                  <a:lnTo>
                    <a:pt x="371" y="531"/>
                  </a:lnTo>
                  <a:lnTo>
                    <a:pt x="371" y="527"/>
                  </a:lnTo>
                  <a:lnTo>
                    <a:pt x="367" y="527"/>
                  </a:lnTo>
                  <a:lnTo>
                    <a:pt x="367" y="523"/>
                  </a:lnTo>
                  <a:lnTo>
                    <a:pt x="363" y="523"/>
                  </a:lnTo>
                  <a:lnTo>
                    <a:pt x="363" y="527"/>
                  </a:lnTo>
                  <a:lnTo>
                    <a:pt x="359" y="527"/>
                  </a:lnTo>
                  <a:lnTo>
                    <a:pt x="359" y="531"/>
                  </a:lnTo>
                  <a:lnTo>
                    <a:pt x="359" y="527"/>
                  </a:lnTo>
                  <a:lnTo>
                    <a:pt x="355" y="527"/>
                  </a:lnTo>
                  <a:lnTo>
                    <a:pt x="351" y="527"/>
                  </a:lnTo>
                  <a:lnTo>
                    <a:pt x="351" y="523"/>
                  </a:lnTo>
                  <a:lnTo>
                    <a:pt x="347" y="527"/>
                  </a:lnTo>
                  <a:lnTo>
                    <a:pt x="347" y="523"/>
                  </a:lnTo>
                  <a:lnTo>
                    <a:pt x="351" y="519"/>
                  </a:lnTo>
                  <a:lnTo>
                    <a:pt x="347" y="515"/>
                  </a:lnTo>
                  <a:lnTo>
                    <a:pt x="347" y="511"/>
                  </a:lnTo>
                  <a:lnTo>
                    <a:pt x="347" y="515"/>
                  </a:lnTo>
                  <a:lnTo>
                    <a:pt x="343" y="515"/>
                  </a:lnTo>
                  <a:lnTo>
                    <a:pt x="343" y="511"/>
                  </a:lnTo>
                  <a:lnTo>
                    <a:pt x="347" y="511"/>
                  </a:lnTo>
                  <a:lnTo>
                    <a:pt x="347" y="507"/>
                  </a:lnTo>
                  <a:lnTo>
                    <a:pt x="343" y="511"/>
                  </a:lnTo>
                  <a:lnTo>
                    <a:pt x="343" y="507"/>
                  </a:lnTo>
                  <a:lnTo>
                    <a:pt x="343" y="503"/>
                  </a:lnTo>
                  <a:lnTo>
                    <a:pt x="339" y="507"/>
                  </a:lnTo>
                  <a:lnTo>
                    <a:pt x="335" y="507"/>
                  </a:lnTo>
                  <a:lnTo>
                    <a:pt x="335" y="511"/>
                  </a:lnTo>
                  <a:lnTo>
                    <a:pt x="331" y="511"/>
                  </a:lnTo>
                  <a:lnTo>
                    <a:pt x="331" y="515"/>
                  </a:lnTo>
                  <a:lnTo>
                    <a:pt x="327" y="511"/>
                  </a:lnTo>
                  <a:lnTo>
                    <a:pt x="323" y="511"/>
                  </a:lnTo>
                  <a:lnTo>
                    <a:pt x="323" y="507"/>
                  </a:lnTo>
                  <a:lnTo>
                    <a:pt x="319" y="507"/>
                  </a:lnTo>
                  <a:lnTo>
                    <a:pt x="319" y="511"/>
                  </a:lnTo>
                  <a:lnTo>
                    <a:pt x="315" y="511"/>
                  </a:lnTo>
                  <a:lnTo>
                    <a:pt x="311" y="515"/>
                  </a:lnTo>
                  <a:lnTo>
                    <a:pt x="311" y="519"/>
                  </a:lnTo>
                  <a:lnTo>
                    <a:pt x="307" y="519"/>
                  </a:lnTo>
                  <a:lnTo>
                    <a:pt x="303" y="519"/>
                  </a:lnTo>
                  <a:lnTo>
                    <a:pt x="299" y="523"/>
                  </a:lnTo>
                  <a:lnTo>
                    <a:pt x="299" y="527"/>
                  </a:lnTo>
                  <a:lnTo>
                    <a:pt x="295" y="527"/>
                  </a:lnTo>
                  <a:lnTo>
                    <a:pt x="291" y="531"/>
                  </a:lnTo>
                  <a:lnTo>
                    <a:pt x="291" y="535"/>
                  </a:lnTo>
                  <a:lnTo>
                    <a:pt x="287" y="535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83" y="539"/>
                  </a:lnTo>
                  <a:lnTo>
                    <a:pt x="279" y="539"/>
                  </a:lnTo>
                  <a:lnTo>
                    <a:pt x="275" y="539"/>
                  </a:lnTo>
                  <a:lnTo>
                    <a:pt x="275" y="535"/>
                  </a:lnTo>
                  <a:lnTo>
                    <a:pt x="271" y="535"/>
                  </a:lnTo>
                  <a:lnTo>
                    <a:pt x="271" y="531"/>
                  </a:lnTo>
                  <a:lnTo>
                    <a:pt x="267" y="531"/>
                  </a:lnTo>
                  <a:lnTo>
                    <a:pt x="267" y="535"/>
                  </a:lnTo>
                  <a:lnTo>
                    <a:pt x="263" y="535"/>
                  </a:lnTo>
                  <a:lnTo>
                    <a:pt x="263" y="531"/>
                  </a:lnTo>
                  <a:lnTo>
                    <a:pt x="259" y="531"/>
                  </a:lnTo>
                  <a:lnTo>
                    <a:pt x="255" y="531"/>
                  </a:lnTo>
                  <a:lnTo>
                    <a:pt x="255" y="527"/>
                  </a:lnTo>
                  <a:lnTo>
                    <a:pt x="251" y="527"/>
                  </a:lnTo>
                  <a:lnTo>
                    <a:pt x="247" y="527"/>
                  </a:lnTo>
                  <a:lnTo>
                    <a:pt x="247" y="531"/>
                  </a:lnTo>
                  <a:lnTo>
                    <a:pt x="243" y="531"/>
                  </a:lnTo>
                  <a:lnTo>
                    <a:pt x="239" y="535"/>
                  </a:lnTo>
                  <a:lnTo>
                    <a:pt x="239" y="539"/>
                  </a:lnTo>
                  <a:lnTo>
                    <a:pt x="235" y="539"/>
                  </a:lnTo>
                  <a:lnTo>
                    <a:pt x="235" y="543"/>
                  </a:lnTo>
                  <a:lnTo>
                    <a:pt x="235" y="547"/>
                  </a:lnTo>
                  <a:lnTo>
                    <a:pt x="231" y="547"/>
                  </a:lnTo>
                  <a:lnTo>
                    <a:pt x="231" y="543"/>
                  </a:lnTo>
                  <a:lnTo>
                    <a:pt x="231" y="539"/>
                  </a:lnTo>
                  <a:lnTo>
                    <a:pt x="231" y="535"/>
                  </a:lnTo>
                  <a:lnTo>
                    <a:pt x="231" y="531"/>
                  </a:lnTo>
                  <a:lnTo>
                    <a:pt x="227" y="531"/>
                  </a:lnTo>
                  <a:lnTo>
                    <a:pt x="223" y="535"/>
                  </a:lnTo>
                  <a:lnTo>
                    <a:pt x="219" y="535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1" y="539"/>
                  </a:lnTo>
                  <a:lnTo>
                    <a:pt x="211" y="535"/>
                  </a:lnTo>
                  <a:lnTo>
                    <a:pt x="207" y="535"/>
                  </a:lnTo>
                  <a:lnTo>
                    <a:pt x="207" y="539"/>
                  </a:lnTo>
                  <a:lnTo>
                    <a:pt x="207" y="535"/>
                  </a:lnTo>
                  <a:lnTo>
                    <a:pt x="203" y="535"/>
                  </a:lnTo>
                  <a:lnTo>
                    <a:pt x="199" y="531"/>
                  </a:lnTo>
                  <a:lnTo>
                    <a:pt x="195" y="535"/>
                  </a:lnTo>
                  <a:lnTo>
                    <a:pt x="191" y="535"/>
                  </a:lnTo>
                  <a:lnTo>
                    <a:pt x="191" y="531"/>
                  </a:lnTo>
                  <a:lnTo>
                    <a:pt x="191" y="535"/>
                  </a:lnTo>
                  <a:lnTo>
                    <a:pt x="187" y="535"/>
                  </a:lnTo>
                  <a:lnTo>
                    <a:pt x="187" y="531"/>
                  </a:lnTo>
                  <a:lnTo>
                    <a:pt x="183" y="527"/>
                  </a:lnTo>
                  <a:lnTo>
                    <a:pt x="179" y="527"/>
                  </a:lnTo>
                  <a:lnTo>
                    <a:pt x="175" y="527"/>
                  </a:lnTo>
                  <a:lnTo>
                    <a:pt x="175" y="523"/>
                  </a:lnTo>
                  <a:lnTo>
                    <a:pt x="175" y="519"/>
                  </a:lnTo>
                  <a:lnTo>
                    <a:pt x="175" y="523"/>
                  </a:lnTo>
                  <a:lnTo>
                    <a:pt x="171" y="523"/>
                  </a:lnTo>
                  <a:lnTo>
                    <a:pt x="167" y="523"/>
                  </a:lnTo>
                  <a:lnTo>
                    <a:pt x="167" y="519"/>
                  </a:lnTo>
                  <a:lnTo>
                    <a:pt x="163" y="519"/>
                  </a:lnTo>
                  <a:lnTo>
                    <a:pt x="163" y="515"/>
                  </a:lnTo>
                  <a:lnTo>
                    <a:pt x="163" y="511"/>
                  </a:lnTo>
                  <a:lnTo>
                    <a:pt x="159" y="511"/>
                  </a:lnTo>
                  <a:lnTo>
                    <a:pt x="159" y="507"/>
                  </a:lnTo>
                  <a:lnTo>
                    <a:pt x="155" y="507"/>
                  </a:lnTo>
                  <a:lnTo>
                    <a:pt x="155" y="511"/>
                  </a:lnTo>
                  <a:lnTo>
                    <a:pt x="151" y="511"/>
                  </a:lnTo>
                  <a:lnTo>
                    <a:pt x="151" y="507"/>
                  </a:lnTo>
                  <a:lnTo>
                    <a:pt x="147" y="507"/>
                  </a:lnTo>
                  <a:lnTo>
                    <a:pt x="147" y="503"/>
                  </a:lnTo>
                  <a:lnTo>
                    <a:pt x="143" y="503"/>
                  </a:lnTo>
                  <a:lnTo>
                    <a:pt x="143" y="499"/>
                  </a:lnTo>
                  <a:lnTo>
                    <a:pt x="139" y="499"/>
                  </a:lnTo>
                  <a:lnTo>
                    <a:pt x="135" y="495"/>
                  </a:lnTo>
                  <a:lnTo>
                    <a:pt x="131" y="491"/>
                  </a:lnTo>
                  <a:lnTo>
                    <a:pt x="131" y="495"/>
                  </a:lnTo>
                  <a:lnTo>
                    <a:pt x="131" y="491"/>
                  </a:lnTo>
                  <a:lnTo>
                    <a:pt x="131" y="487"/>
                  </a:lnTo>
                  <a:lnTo>
                    <a:pt x="127" y="487"/>
                  </a:lnTo>
                  <a:lnTo>
                    <a:pt x="123" y="487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5" y="495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1" y="487"/>
                  </a:lnTo>
                  <a:lnTo>
                    <a:pt x="107" y="487"/>
                  </a:lnTo>
                  <a:lnTo>
                    <a:pt x="103" y="483"/>
                  </a:lnTo>
                  <a:lnTo>
                    <a:pt x="99" y="483"/>
                  </a:lnTo>
                  <a:lnTo>
                    <a:pt x="103" y="479"/>
                  </a:lnTo>
                  <a:lnTo>
                    <a:pt x="99" y="479"/>
                  </a:lnTo>
                  <a:lnTo>
                    <a:pt x="95" y="475"/>
                  </a:lnTo>
                  <a:lnTo>
                    <a:pt x="91" y="475"/>
                  </a:lnTo>
                  <a:lnTo>
                    <a:pt x="87" y="475"/>
                  </a:lnTo>
                  <a:lnTo>
                    <a:pt x="87" y="471"/>
                  </a:lnTo>
                  <a:lnTo>
                    <a:pt x="87" y="467"/>
                  </a:lnTo>
                  <a:lnTo>
                    <a:pt x="83" y="467"/>
                  </a:lnTo>
                  <a:lnTo>
                    <a:pt x="79" y="467"/>
                  </a:lnTo>
                  <a:lnTo>
                    <a:pt x="79" y="471"/>
                  </a:lnTo>
                  <a:lnTo>
                    <a:pt x="79" y="467"/>
                  </a:lnTo>
                  <a:lnTo>
                    <a:pt x="79" y="463"/>
                  </a:lnTo>
                  <a:lnTo>
                    <a:pt x="79" y="459"/>
                  </a:lnTo>
                  <a:lnTo>
                    <a:pt x="79" y="455"/>
                  </a:lnTo>
                  <a:lnTo>
                    <a:pt x="75" y="455"/>
                  </a:lnTo>
                  <a:lnTo>
                    <a:pt x="75" y="451"/>
                  </a:lnTo>
                  <a:lnTo>
                    <a:pt x="75" y="447"/>
                  </a:lnTo>
                  <a:lnTo>
                    <a:pt x="75" y="443"/>
                  </a:lnTo>
                  <a:lnTo>
                    <a:pt x="79" y="443"/>
                  </a:lnTo>
                  <a:lnTo>
                    <a:pt x="79" y="447"/>
                  </a:lnTo>
                  <a:lnTo>
                    <a:pt x="83" y="447"/>
                  </a:lnTo>
                  <a:lnTo>
                    <a:pt x="87" y="443"/>
                  </a:lnTo>
                  <a:lnTo>
                    <a:pt x="87" y="447"/>
                  </a:lnTo>
                  <a:lnTo>
                    <a:pt x="91" y="443"/>
                  </a:lnTo>
                  <a:lnTo>
                    <a:pt x="91" y="439"/>
                  </a:lnTo>
                  <a:lnTo>
                    <a:pt x="87" y="439"/>
                  </a:lnTo>
                  <a:lnTo>
                    <a:pt x="87" y="435"/>
                  </a:lnTo>
                  <a:lnTo>
                    <a:pt x="87" y="431"/>
                  </a:lnTo>
                  <a:lnTo>
                    <a:pt x="83" y="431"/>
                  </a:lnTo>
                  <a:lnTo>
                    <a:pt x="83" y="427"/>
                  </a:lnTo>
                  <a:lnTo>
                    <a:pt x="79" y="427"/>
                  </a:lnTo>
                  <a:lnTo>
                    <a:pt x="79" y="423"/>
                  </a:lnTo>
                  <a:lnTo>
                    <a:pt x="79" y="419"/>
                  </a:lnTo>
                  <a:lnTo>
                    <a:pt x="79" y="415"/>
                  </a:lnTo>
                  <a:lnTo>
                    <a:pt x="79" y="411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79" y="403"/>
                  </a:lnTo>
                  <a:lnTo>
                    <a:pt x="75" y="403"/>
                  </a:lnTo>
                  <a:lnTo>
                    <a:pt x="71" y="403"/>
                  </a:lnTo>
                  <a:lnTo>
                    <a:pt x="71" y="399"/>
                  </a:lnTo>
                  <a:lnTo>
                    <a:pt x="71" y="395"/>
                  </a:lnTo>
                  <a:lnTo>
                    <a:pt x="67" y="391"/>
                  </a:lnTo>
                  <a:lnTo>
                    <a:pt x="67" y="387"/>
                  </a:lnTo>
                  <a:lnTo>
                    <a:pt x="67" y="383"/>
                  </a:lnTo>
                  <a:lnTo>
                    <a:pt x="67" y="387"/>
                  </a:lnTo>
                  <a:lnTo>
                    <a:pt x="63" y="387"/>
                  </a:lnTo>
                  <a:lnTo>
                    <a:pt x="63" y="383"/>
                  </a:lnTo>
                  <a:lnTo>
                    <a:pt x="63" y="387"/>
                  </a:lnTo>
                  <a:lnTo>
                    <a:pt x="59" y="387"/>
                  </a:lnTo>
                  <a:lnTo>
                    <a:pt x="55" y="383"/>
                  </a:lnTo>
                  <a:lnTo>
                    <a:pt x="51" y="383"/>
                  </a:lnTo>
                  <a:lnTo>
                    <a:pt x="47" y="383"/>
                  </a:lnTo>
                  <a:lnTo>
                    <a:pt x="47" y="379"/>
                  </a:lnTo>
                  <a:lnTo>
                    <a:pt x="47" y="375"/>
                  </a:lnTo>
                  <a:lnTo>
                    <a:pt x="43" y="379"/>
                  </a:lnTo>
                  <a:lnTo>
                    <a:pt x="39" y="379"/>
                  </a:lnTo>
                  <a:lnTo>
                    <a:pt x="39" y="375"/>
                  </a:lnTo>
                  <a:lnTo>
                    <a:pt x="35" y="375"/>
                  </a:lnTo>
                  <a:lnTo>
                    <a:pt x="35" y="371"/>
                  </a:lnTo>
                  <a:lnTo>
                    <a:pt x="39" y="371"/>
                  </a:lnTo>
                  <a:lnTo>
                    <a:pt x="35" y="367"/>
                  </a:lnTo>
                  <a:lnTo>
                    <a:pt x="35" y="363"/>
                  </a:lnTo>
                  <a:lnTo>
                    <a:pt x="35" y="359"/>
                  </a:lnTo>
                  <a:lnTo>
                    <a:pt x="31" y="359"/>
                  </a:lnTo>
                  <a:lnTo>
                    <a:pt x="27" y="359"/>
                  </a:lnTo>
                  <a:lnTo>
                    <a:pt x="27" y="355"/>
                  </a:lnTo>
                  <a:lnTo>
                    <a:pt x="23" y="355"/>
                  </a:lnTo>
                  <a:lnTo>
                    <a:pt x="19" y="355"/>
                  </a:lnTo>
                  <a:lnTo>
                    <a:pt x="16" y="355"/>
                  </a:lnTo>
                  <a:lnTo>
                    <a:pt x="12" y="351"/>
                  </a:lnTo>
                  <a:lnTo>
                    <a:pt x="16" y="351"/>
                  </a:lnTo>
                  <a:lnTo>
                    <a:pt x="19" y="347"/>
                  </a:lnTo>
                  <a:lnTo>
                    <a:pt x="19" y="351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19" y="343"/>
                  </a:lnTo>
                  <a:lnTo>
                    <a:pt x="19" y="339"/>
                  </a:lnTo>
                  <a:lnTo>
                    <a:pt x="23" y="339"/>
                  </a:lnTo>
                  <a:lnTo>
                    <a:pt x="19" y="339"/>
                  </a:lnTo>
                  <a:lnTo>
                    <a:pt x="19" y="335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9" y="323"/>
                  </a:lnTo>
                  <a:lnTo>
                    <a:pt x="16" y="323"/>
                  </a:lnTo>
                  <a:lnTo>
                    <a:pt x="12" y="319"/>
                  </a:lnTo>
                  <a:lnTo>
                    <a:pt x="8" y="319"/>
                  </a:lnTo>
                  <a:lnTo>
                    <a:pt x="8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15"/>
                  </a:lnTo>
                  <a:lnTo>
                    <a:pt x="4" y="311"/>
                  </a:lnTo>
                  <a:lnTo>
                    <a:pt x="0" y="307"/>
                  </a:lnTo>
                  <a:lnTo>
                    <a:pt x="4" y="307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299"/>
                  </a:lnTo>
                  <a:lnTo>
                    <a:pt x="4" y="299"/>
                  </a:lnTo>
                  <a:lnTo>
                    <a:pt x="4" y="295"/>
                  </a:lnTo>
                  <a:lnTo>
                    <a:pt x="8" y="291"/>
                  </a:lnTo>
                  <a:lnTo>
                    <a:pt x="12" y="291"/>
                  </a:lnTo>
                  <a:lnTo>
                    <a:pt x="16" y="291"/>
                  </a:lnTo>
                  <a:lnTo>
                    <a:pt x="16" y="287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83"/>
                  </a:lnTo>
                  <a:lnTo>
                    <a:pt x="31" y="287"/>
                  </a:lnTo>
                  <a:lnTo>
                    <a:pt x="35" y="287"/>
                  </a:lnTo>
                  <a:lnTo>
                    <a:pt x="39" y="283"/>
                  </a:lnTo>
                  <a:lnTo>
                    <a:pt x="43" y="283"/>
                  </a:lnTo>
                  <a:lnTo>
                    <a:pt x="43" y="287"/>
                  </a:lnTo>
                  <a:lnTo>
                    <a:pt x="43" y="283"/>
                  </a:lnTo>
                  <a:lnTo>
                    <a:pt x="47" y="283"/>
                  </a:lnTo>
                  <a:lnTo>
                    <a:pt x="47" y="279"/>
                  </a:lnTo>
                  <a:lnTo>
                    <a:pt x="47" y="271"/>
                  </a:lnTo>
                  <a:lnTo>
                    <a:pt x="51" y="271"/>
                  </a:lnTo>
                  <a:lnTo>
                    <a:pt x="55" y="271"/>
                  </a:lnTo>
                  <a:lnTo>
                    <a:pt x="59" y="271"/>
                  </a:lnTo>
                  <a:lnTo>
                    <a:pt x="63" y="271"/>
                  </a:lnTo>
                  <a:lnTo>
                    <a:pt x="67" y="271"/>
                  </a:lnTo>
                  <a:lnTo>
                    <a:pt x="71" y="271"/>
                  </a:lnTo>
                  <a:lnTo>
                    <a:pt x="71" y="267"/>
                  </a:lnTo>
                  <a:lnTo>
                    <a:pt x="71" y="263"/>
                  </a:lnTo>
                  <a:lnTo>
                    <a:pt x="75" y="263"/>
                  </a:lnTo>
                  <a:lnTo>
                    <a:pt x="79" y="259"/>
                  </a:lnTo>
                  <a:lnTo>
                    <a:pt x="83" y="259"/>
                  </a:lnTo>
                  <a:lnTo>
                    <a:pt x="83" y="255"/>
                  </a:lnTo>
                  <a:lnTo>
                    <a:pt x="87" y="255"/>
                  </a:lnTo>
                  <a:lnTo>
                    <a:pt x="91" y="255"/>
                  </a:lnTo>
                  <a:lnTo>
                    <a:pt x="95" y="255"/>
                  </a:lnTo>
                  <a:lnTo>
                    <a:pt x="95" y="251"/>
                  </a:lnTo>
                  <a:lnTo>
                    <a:pt x="99" y="251"/>
                  </a:lnTo>
                  <a:lnTo>
                    <a:pt x="103" y="251"/>
                  </a:lnTo>
                  <a:lnTo>
                    <a:pt x="103" y="247"/>
                  </a:lnTo>
                  <a:lnTo>
                    <a:pt x="99" y="247"/>
                  </a:lnTo>
                  <a:lnTo>
                    <a:pt x="103" y="247"/>
                  </a:lnTo>
                  <a:lnTo>
                    <a:pt x="103" y="243"/>
                  </a:lnTo>
                  <a:lnTo>
                    <a:pt x="99" y="243"/>
                  </a:lnTo>
                  <a:lnTo>
                    <a:pt x="99" y="240"/>
                  </a:lnTo>
                  <a:lnTo>
                    <a:pt x="103" y="236"/>
                  </a:lnTo>
                  <a:lnTo>
                    <a:pt x="107" y="232"/>
                  </a:lnTo>
                  <a:lnTo>
                    <a:pt x="103" y="232"/>
                  </a:lnTo>
                  <a:lnTo>
                    <a:pt x="107" y="228"/>
                  </a:lnTo>
                  <a:lnTo>
                    <a:pt x="111" y="228"/>
                  </a:lnTo>
                  <a:lnTo>
                    <a:pt x="111" y="224"/>
                  </a:lnTo>
                  <a:lnTo>
                    <a:pt x="107" y="220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3" y="212"/>
                  </a:lnTo>
                  <a:lnTo>
                    <a:pt x="103" y="208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3" y="196"/>
                  </a:lnTo>
                  <a:lnTo>
                    <a:pt x="107" y="196"/>
                  </a:lnTo>
                  <a:lnTo>
                    <a:pt x="107" y="192"/>
                  </a:lnTo>
                  <a:lnTo>
                    <a:pt x="103" y="192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88"/>
                  </a:lnTo>
                  <a:lnTo>
                    <a:pt x="103" y="188"/>
                  </a:lnTo>
                  <a:lnTo>
                    <a:pt x="107" y="184"/>
                  </a:lnTo>
                  <a:lnTo>
                    <a:pt x="111" y="184"/>
                  </a:lnTo>
                  <a:lnTo>
                    <a:pt x="115" y="184"/>
                  </a:lnTo>
                  <a:lnTo>
                    <a:pt x="119" y="184"/>
                  </a:lnTo>
                  <a:lnTo>
                    <a:pt x="119" y="180"/>
                  </a:lnTo>
                  <a:lnTo>
                    <a:pt x="123" y="180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31" y="184"/>
                  </a:lnTo>
                  <a:lnTo>
                    <a:pt x="135" y="184"/>
                  </a:lnTo>
                  <a:lnTo>
                    <a:pt x="139" y="184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76"/>
                  </a:lnTo>
                  <a:lnTo>
                    <a:pt x="131" y="176"/>
                  </a:lnTo>
                  <a:lnTo>
                    <a:pt x="135" y="172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0"/>
                  </a:lnTo>
                  <a:lnTo>
                    <a:pt x="139" y="160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7" y="144"/>
                  </a:lnTo>
                  <a:lnTo>
                    <a:pt x="171" y="148"/>
                  </a:lnTo>
                  <a:lnTo>
                    <a:pt x="175" y="148"/>
                  </a:lnTo>
                  <a:lnTo>
                    <a:pt x="175" y="144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32"/>
                  </a:lnTo>
                  <a:lnTo>
                    <a:pt x="183" y="128"/>
                  </a:lnTo>
                  <a:lnTo>
                    <a:pt x="183" y="124"/>
                  </a:lnTo>
                  <a:lnTo>
                    <a:pt x="183" y="120"/>
                  </a:lnTo>
                  <a:lnTo>
                    <a:pt x="183" y="116"/>
                  </a:lnTo>
                  <a:lnTo>
                    <a:pt x="187" y="116"/>
                  </a:lnTo>
                  <a:lnTo>
                    <a:pt x="187" y="112"/>
                  </a:lnTo>
                  <a:lnTo>
                    <a:pt x="191" y="112"/>
                  </a:lnTo>
                  <a:lnTo>
                    <a:pt x="195" y="112"/>
                  </a:lnTo>
                  <a:lnTo>
                    <a:pt x="199" y="112"/>
                  </a:lnTo>
                  <a:lnTo>
                    <a:pt x="199" y="108"/>
                  </a:lnTo>
                  <a:lnTo>
                    <a:pt x="199" y="104"/>
                  </a:lnTo>
                  <a:lnTo>
                    <a:pt x="199" y="100"/>
                  </a:lnTo>
                  <a:lnTo>
                    <a:pt x="203" y="100"/>
                  </a:lnTo>
                  <a:lnTo>
                    <a:pt x="207" y="100"/>
                  </a:lnTo>
                  <a:lnTo>
                    <a:pt x="211" y="100"/>
                  </a:lnTo>
                  <a:lnTo>
                    <a:pt x="215" y="96"/>
                  </a:lnTo>
                  <a:lnTo>
                    <a:pt x="215" y="100"/>
                  </a:lnTo>
                  <a:lnTo>
                    <a:pt x="219" y="100"/>
                  </a:lnTo>
                  <a:lnTo>
                    <a:pt x="215" y="104"/>
                  </a:lnTo>
                  <a:lnTo>
                    <a:pt x="219" y="108"/>
                  </a:lnTo>
                  <a:lnTo>
                    <a:pt x="219" y="112"/>
                  </a:lnTo>
                  <a:lnTo>
                    <a:pt x="223" y="112"/>
                  </a:lnTo>
                  <a:lnTo>
                    <a:pt x="227" y="116"/>
                  </a:lnTo>
                  <a:lnTo>
                    <a:pt x="227" y="120"/>
                  </a:lnTo>
                  <a:lnTo>
                    <a:pt x="231" y="120"/>
                  </a:lnTo>
                  <a:lnTo>
                    <a:pt x="235" y="120"/>
                  </a:lnTo>
                  <a:lnTo>
                    <a:pt x="235" y="124"/>
                  </a:lnTo>
                  <a:lnTo>
                    <a:pt x="239" y="124"/>
                  </a:lnTo>
                  <a:lnTo>
                    <a:pt x="243" y="124"/>
                  </a:lnTo>
                  <a:lnTo>
                    <a:pt x="247" y="128"/>
                  </a:lnTo>
                  <a:lnTo>
                    <a:pt x="247" y="124"/>
                  </a:lnTo>
                  <a:lnTo>
                    <a:pt x="251" y="124"/>
                  </a:lnTo>
                  <a:lnTo>
                    <a:pt x="251" y="128"/>
                  </a:lnTo>
                  <a:lnTo>
                    <a:pt x="255" y="128"/>
                  </a:lnTo>
                  <a:lnTo>
                    <a:pt x="255" y="132"/>
                  </a:lnTo>
                  <a:lnTo>
                    <a:pt x="255" y="136"/>
                  </a:lnTo>
                  <a:lnTo>
                    <a:pt x="255" y="140"/>
                  </a:lnTo>
                  <a:lnTo>
                    <a:pt x="259" y="140"/>
                  </a:lnTo>
                  <a:lnTo>
                    <a:pt x="259" y="144"/>
                  </a:lnTo>
                  <a:lnTo>
                    <a:pt x="263" y="144"/>
                  </a:lnTo>
                  <a:lnTo>
                    <a:pt x="263" y="148"/>
                  </a:lnTo>
                  <a:lnTo>
                    <a:pt x="263" y="152"/>
                  </a:lnTo>
                  <a:lnTo>
                    <a:pt x="267" y="152"/>
                  </a:lnTo>
                  <a:lnTo>
                    <a:pt x="263" y="152"/>
                  </a:lnTo>
                  <a:lnTo>
                    <a:pt x="267" y="156"/>
                  </a:lnTo>
                  <a:lnTo>
                    <a:pt x="263" y="160"/>
                  </a:lnTo>
                  <a:lnTo>
                    <a:pt x="263" y="164"/>
                  </a:lnTo>
                  <a:lnTo>
                    <a:pt x="263" y="168"/>
                  </a:lnTo>
                  <a:lnTo>
                    <a:pt x="259" y="172"/>
                  </a:lnTo>
                  <a:lnTo>
                    <a:pt x="259" y="176"/>
                  </a:lnTo>
                  <a:lnTo>
                    <a:pt x="259" y="180"/>
                  </a:lnTo>
                  <a:lnTo>
                    <a:pt x="263" y="180"/>
                  </a:lnTo>
                  <a:lnTo>
                    <a:pt x="263" y="184"/>
                  </a:lnTo>
                  <a:lnTo>
                    <a:pt x="267" y="184"/>
                  </a:lnTo>
                  <a:lnTo>
                    <a:pt x="271" y="184"/>
                  </a:lnTo>
                  <a:lnTo>
                    <a:pt x="271" y="188"/>
                  </a:lnTo>
                  <a:lnTo>
                    <a:pt x="279" y="188"/>
                  </a:lnTo>
                  <a:lnTo>
                    <a:pt x="283" y="188"/>
                  </a:lnTo>
                  <a:lnTo>
                    <a:pt x="287" y="188"/>
                  </a:lnTo>
                  <a:lnTo>
                    <a:pt x="291" y="188"/>
                  </a:lnTo>
                  <a:lnTo>
                    <a:pt x="295" y="188"/>
                  </a:lnTo>
                  <a:lnTo>
                    <a:pt x="299" y="188"/>
                  </a:lnTo>
                  <a:lnTo>
                    <a:pt x="303" y="188"/>
                  </a:lnTo>
                  <a:lnTo>
                    <a:pt x="303" y="192"/>
                  </a:lnTo>
                  <a:lnTo>
                    <a:pt x="307" y="192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5" y="196"/>
                  </a:lnTo>
                  <a:lnTo>
                    <a:pt x="315" y="200"/>
                  </a:lnTo>
                  <a:lnTo>
                    <a:pt x="319" y="200"/>
                  </a:lnTo>
                  <a:lnTo>
                    <a:pt x="319" y="204"/>
                  </a:lnTo>
                  <a:lnTo>
                    <a:pt x="327" y="204"/>
                  </a:lnTo>
                  <a:lnTo>
                    <a:pt x="331" y="204"/>
                  </a:lnTo>
                  <a:lnTo>
                    <a:pt x="331" y="208"/>
                  </a:lnTo>
                  <a:lnTo>
                    <a:pt x="335" y="208"/>
                  </a:lnTo>
                  <a:lnTo>
                    <a:pt x="335" y="212"/>
                  </a:lnTo>
                  <a:lnTo>
                    <a:pt x="335" y="216"/>
                  </a:lnTo>
                  <a:lnTo>
                    <a:pt x="335" y="220"/>
                  </a:lnTo>
                  <a:lnTo>
                    <a:pt x="339" y="220"/>
                  </a:lnTo>
                  <a:lnTo>
                    <a:pt x="339" y="224"/>
                  </a:lnTo>
                  <a:lnTo>
                    <a:pt x="339" y="228"/>
                  </a:lnTo>
                  <a:lnTo>
                    <a:pt x="343" y="228"/>
                  </a:lnTo>
                  <a:lnTo>
                    <a:pt x="347" y="232"/>
                  </a:lnTo>
                  <a:lnTo>
                    <a:pt x="347" y="236"/>
                  </a:lnTo>
                  <a:lnTo>
                    <a:pt x="351" y="236"/>
                  </a:lnTo>
                  <a:lnTo>
                    <a:pt x="355" y="236"/>
                  </a:lnTo>
                  <a:lnTo>
                    <a:pt x="359" y="236"/>
                  </a:lnTo>
                  <a:lnTo>
                    <a:pt x="363" y="236"/>
                  </a:lnTo>
                  <a:lnTo>
                    <a:pt x="367" y="236"/>
                  </a:lnTo>
                  <a:lnTo>
                    <a:pt x="371" y="236"/>
                  </a:lnTo>
                  <a:lnTo>
                    <a:pt x="374" y="240"/>
                  </a:lnTo>
                  <a:lnTo>
                    <a:pt x="378" y="240"/>
                  </a:lnTo>
                  <a:lnTo>
                    <a:pt x="382" y="240"/>
                  </a:lnTo>
                  <a:lnTo>
                    <a:pt x="386" y="240"/>
                  </a:lnTo>
                  <a:lnTo>
                    <a:pt x="390" y="240"/>
                  </a:lnTo>
                  <a:lnTo>
                    <a:pt x="394" y="240"/>
                  </a:lnTo>
                  <a:lnTo>
                    <a:pt x="398" y="240"/>
                  </a:lnTo>
                  <a:lnTo>
                    <a:pt x="402" y="240"/>
                  </a:lnTo>
                  <a:lnTo>
                    <a:pt x="406" y="236"/>
                  </a:lnTo>
                  <a:lnTo>
                    <a:pt x="410" y="236"/>
                  </a:lnTo>
                  <a:lnTo>
                    <a:pt x="414" y="236"/>
                  </a:lnTo>
                  <a:lnTo>
                    <a:pt x="414" y="240"/>
                  </a:lnTo>
                  <a:lnTo>
                    <a:pt x="418" y="240"/>
                  </a:lnTo>
                  <a:lnTo>
                    <a:pt x="422" y="240"/>
                  </a:lnTo>
                  <a:lnTo>
                    <a:pt x="426" y="240"/>
                  </a:lnTo>
                  <a:lnTo>
                    <a:pt x="430" y="243"/>
                  </a:lnTo>
                  <a:lnTo>
                    <a:pt x="430" y="247"/>
                  </a:lnTo>
                  <a:lnTo>
                    <a:pt x="438" y="247"/>
                  </a:lnTo>
                  <a:lnTo>
                    <a:pt x="442" y="247"/>
                  </a:lnTo>
                  <a:lnTo>
                    <a:pt x="446" y="251"/>
                  </a:lnTo>
                  <a:lnTo>
                    <a:pt x="450" y="251"/>
                  </a:lnTo>
                  <a:lnTo>
                    <a:pt x="450" y="255"/>
                  </a:lnTo>
                  <a:lnTo>
                    <a:pt x="458" y="255"/>
                  </a:lnTo>
                  <a:lnTo>
                    <a:pt x="462" y="255"/>
                  </a:lnTo>
                  <a:lnTo>
                    <a:pt x="470" y="255"/>
                  </a:lnTo>
                  <a:lnTo>
                    <a:pt x="470" y="259"/>
                  </a:lnTo>
                  <a:lnTo>
                    <a:pt x="474" y="259"/>
                  </a:lnTo>
                  <a:lnTo>
                    <a:pt x="478" y="255"/>
                  </a:lnTo>
                  <a:lnTo>
                    <a:pt x="482" y="255"/>
                  </a:lnTo>
                  <a:lnTo>
                    <a:pt x="486" y="255"/>
                  </a:lnTo>
                  <a:lnTo>
                    <a:pt x="490" y="251"/>
                  </a:lnTo>
                  <a:lnTo>
                    <a:pt x="494" y="251"/>
                  </a:lnTo>
                  <a:lnTo>
                    <a:pt x="498" y="247"/>
                  </a:lnTo>
                  <a:lnTo>
                    <a:pt x="502" y="243"/>
                  </a:lnTo>
                  <a:lnTo>
                    <a:pt x="506" y="243"/>
                  </a:lnTo>
                  <a:lnTo>
                    <a:pt x="510" y="243"/>
                  </a:lnTo>
                  <a:lnTo>
                    <a:pt x="514" y="243"/>
                  </a:lnTo>
                  <a:lnTo>
                    <a:pt x="518" y="243"/>
                  </a:lnTo>
                  <a:lnTo>
                    <a:pt x="526" y="243"/>
                  </a:lnTo>
                  <a:lnTo>
                    <a:pt x="530" y="243"/>
                  </a:lnTo>
                  <a:lnTo>
                    <a:pt x="534" y="243"/>
                  </a:lnTo>
                  <a:lnTo>
                    <a:pt x="538" y="243"/>
                  </a:lnTo>
                  <a:lnTo>
                    <a:pt x="542" y="243"/>
                  </a:lnTo>
                  <a:lnTo>
                    <a:pt x="546" y="243"/>
                  </a:lnTo>
                  <a:lnTo>
                    <a:pt x="546" y="240"/>
                  </a:lnTo>
                  <a:lnTo>
                    <a:pt x="550" y="240"/>
                  </a:lnTo>
                  <a:lnTo>
                    <a:pt x="554" y="240"/>
                  </a:lnTo>
                  <a:lnTo>
                    <a:pt x="554" y="236"/>
                  </a:lnTo>
                  <a:lnTo>
                    <a:pt x="558" y="236"/>
                  </a:lnTo>
                  <a:lnTo>
                    <a:pt x="558" y="232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6" y="228"/>
                  </a:lnTo>
                  <a:lnTo>
                    <a:pt x="566" y="224"/>
                  </a:lnTo>
                  <a:lnTo>
                    <a:pt x="570" y="224"/>
                  </a:lnTo>
                  <a:lnTo>
                    <a:pt x="570" y="220"/>
                  </a:lnTo>
                  <a:lnTo>
                    <a:pt x="574" y="220"/>
                  </a:lnTo>
                  <a:lnTo>
                    <a:pt x="578" y="220"/>
                  </a:lnTo>
                  <a:lnTo>
                    <a:pt x="578" y="216"/>
                  </a:lnTo>
                  <a:lnTo>
                    <a:pt x="582" y="216"/>
                  </a:lnTo>
                  <a:lnTo>
                    <a:pt x="582" y="212"/>
                  </a:lnTo>
                  <a:lnTo>
                    <a:pt x="578" y="208"/>
                  </a:lnTo>
                  <a:lnTo>
                    <a:pt x="574" y="204"/>
                  </a:lnTo>
                  <a:lnTo>
                    <a:pt x="574" y="200"/>
                  </a:lnTo>
                  <a:lnTo>
                    <a:pt x="574" y="196"/>
                  </a:lnTo>
                  <a:lnTo>
                    <a:pt x="578" y="192"/>
                  </a:lnTo>
                  <a:lnTo>
                    <a:pt x="578" y="188"/>
                  </a:lnTo>
                  <a:lnTo>
                    <a:pt x="582" y="188"/>
                  </a:lnTo>
                  <a:lnTo>
                    <a:pt x="586" y="188"/>
                  </a:lnTo>
                  <a:lnTo>
                    <a:pt x="590" y="188"/>
                  </a:lnTo>
                  <a:lnTo>
                    <a:pt x="594" y="192"/>
                  </a:lnTo>
                  <a:lnTo>
                    <a:pt x="598" y="192"/>
                  </a:lnTo>
                  <a:lnTo>
                    <a:pt x="602" y="192"/>
                  </a:lnTo>
                  <a:lnTo>
                    <a:pt x="606" y="192"/>
                  </a:lnTo>
                  <a:lnTo>
                    <a:pt x="610" y="192"/>
                  </a:lnTo>
                  <a:lnTo>
                    <a:pt x="610" y="188"/>
                  </a:lnTo>
                  <a:lnTo>
                    <a:pt x="614" y="188"/>
                  </a:lnTo>
                  <a:lnTo>
                    <a:pt x="618" y="188"/>
                  </a:lnTo>
                  <a:lnTo>
                    <a:pt x="618" y="184"/>
                  </a:lnTo>
                  <a:lnTo>
                    <a:pt x="622" y="180"/>
                  </a:lnTo>
                  <a:lnTo>
                    <a:pt x="626" y="180"/>
                  </a:lnTo>
                  <a:lnTo>
                    <a:pt x="630" y="180"/>
                  </a:lnTo>
                  <a:lnTo>
                    <a:pt x="634" y="180"/>
                  </a:lnTo>
                  <a:lnTo>
                    <a:pt x="638" y="180"/>
                  </a:lnTo>
                  <a:lnTo>
                    <a:pt x="638" y="176"/>
                  </a:lnTo>
                  <a:lnTo>
                    <a:pt x="642" y="176"/>
                  </a:lnTo>
                  <a:lnTo>
                    <a:pt x="642" y="172"/>
                  </a:lnTo>
                  <a:lnTo>
                    <a:pt x="646" y="172"/>
                  </a:lnTo>
                  <a:lnTo>
                    <a:pt x="646" y="168"/>
                  </a:lnTo>
                  <a:lnTo>
                    <a:pt x="650" y="164"/>
                  </a:lnTo>
                  <a:lnTo>
                    <a:pt x="650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2" y="156"/>
                  </a:lnTo>
                  <a:lnTo>
                    <a:pt x="666" y="156"/>
                  </a:lnTo>
                  <a:lnTo>
                    <a:pt x="666" y="152"/>
                  </a:lnTo>
                  <a:lnTo>
                    <a:pt x="666" y="156"/>
                  </a:lnTo>
                  <a:lnTo>
                    <a:pt x="670" y="156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6" y="152"/>
                  </a:lnTo>
                  <a:lnTo>
                    <a:pt x="686" y="148"/>
                  </a:lnTo>
                  <a:lnTo>
                    <a:pt x="686" y="152"/>
                  </a:lnTo>
                  <a:lnTo>
                    <a:pt x="690" y="152"/>
                  </a:lnTo>
                  <a:lnTo>
                    <a:pt x="694" y="152"/>
                  </a:lnTo>
                  <a:lnTo>
                    <a:pt x="698" y="152"/>
                  </a:lnTo>
                  <a:lnTo>
                    <a:pt x="702" y="152"/>
                  </a:lnTo>
                  <a:lnTo>
                    <a:pt x="702" y="148"/>
                  </a:lnTo>
                  <a:lnTo>
                    <a:pt x="702" y="144"/>
                  </a:lnTo>
                  <a:lnTo>
                    <a:pt x="698" y="140"/>
                  </a:lnTo>
                  <a:lnTo>
                    <a:pt x="694" y="140"/>
                  </a:lnTo>
                  <a:lnTo>
                    <a:pt x="694" y="136"/>
                  </a:lnTo>
                  <a:lnTo>
                    <a:pt x="694" y="132"/>
                  </a:lnTo>
                  <a:lnTo>
                    <a:pt x="690" y="132"/>
                  </a:lnTo>
                  <a:lnTo>
                    <a:pt x="686" y="128"/>
                  </a:lnTo>
                  <a:lnTo>
                    <a:pt x="682" y="124"/>
                  </a:lnTo>
                  <a:lnTo>
                    <a:pt x="678" y="124"/>
                  </a:lnTo>
                  <a:lnTo>
                    <a:pt x="674" y="124"/>
                  </a:lnTo>
                  <a:lnTo>
                    <a:pt x="670" y="124"/>
                  </a:lnTo>
                  <a:lnTo>
                    <a:pt x="666" y="124"/>
                  </a:lnTo>
                  <a:lnTo>
                    <a:pt x="666" y="128"/>
                  </a:lnTo>
                  <a:lnTo>
                    <a:pt x="662" y="132"/>
                  </a:lnTo>
                  <a:lnTo>
                    <a:pt x="658" y="128"/>
                  </a:lnTo>
                  <a:lnTo>
                    <a:pt x="658" y="124"/>
                  </a:lnTo>
                  <a:lnTo>
                    <a:pt x="654" y="124"/>
                  </a:lnTo>
                  <a:lnTo>
                    <a:pt x="650" y="128"/>
                  </a:lnTo>
                  <a:lnTo>
                    <a:pt x="646" y="124"/>
                  </a:lnTo>
                  <a:lnTo>
                    <a:pt x="646" y="128"/>
                  </a:lnTo>
                  <a:lnTo>
                    <a:pt x="642" y="128"/>
                  </a:lnTo>
                  <a:lnTo>
                    <a:pt x="638" y="124"/>
                  </a:lnTo>
                  <a:lnTo>
                    <a:pt x="634" y="120"/>
                  </a:lnTo>
                  <a:lnTo>
                    <a:pt x="638" y="120"/>
                  </a:lnTo>
                  <a:lnTo>
                    <a:pt x="642" y="116"/>
                  </a:lnTo>
                  <a:lnTo>
                    <a:pt x="638" y="112"/>
                  </a:lnTo>
                  <a:lnTo>
                    <a:pt x="642" y="108"/>
                  </a:lnTo>
                  <a:lnTo>
                    <a:pt x="646" y="104"/>
                  </a:lnTo>
                  <a:lnTo>
                    <a:pt x="642" y="104"/>
                  </a:lnTo>
                  <a:lnTo>
                    <a:pt x="646" y="100"/>
                  </a:lnTo>
                  <a:lnTo>
                    <a:pt x="646" y="96"/>
                  </a:lnTo>
                  <a:lnTo>
                    <a:pt x="650" y="96"/>
                  </a:lnTo>
                  <a:lnTo>
                    <a:pt x="650" y="92"/>
                  </a:lnTo>
                  <a:lnTo>
                    <a:pt x="650" y="88"/>
                  </a:lnTo>
                  <a:lnTo>
                    <a:pt x="654" y="84"/>
                  </a:lnTo>
                  <a:lnTo>
                    <a:pt x="658" y="84"/>
                  </a:lnTo>
                  <a:lnTo>
                    <a:pt x="662" y="88"/>
                  </a:lnTo>
                  <a:lnTo>
                    <a:pt x="666" y="88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4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76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0" y="68"/>
                  </a:lnTo>
                  <a:lnTo>
                    <a:pt x="694" y="68"/>
                  </a:lnTo>
                  <a:lnTo>
                    <a:pt x="694" y="64"/>
                  </a:lnTo>
                  <a:lnTo>
                    <a:pt x="698" y="64"/>
                  </a:lnTo>
                  <a:lnTo>
                    <a:pt x="698" y="60"/>
                  </a:lnTo>
                  <a:lnTo>
                    <a:pt x="698" y="56"/>
                  </a:lnTo>
                  <a:lnTo>
                    <a:pt x="702" y="52"/>
                  </a:lnTo>
                  <a:lnTo>
                    <a:pt x="702" y="48"/>
                  </a:lnTo>
                  <a:lnTo>
                    <a:pt x="702" y="44"/>
                  </a:lnTo>
                  <a:lnTo>
                    <a:pt x="706" y="44"/>
                  </a:lnTo>
                  <a:lnTo>
                    <a:pt x="706" y="40"/>
                  </a:lnTo>
                  <a:lnTo>
                    <a:pt x="710" y="40"/>
                  </a:lnTo>
                  <a:lnTo>
                    <a:pt x="710" y="36"/>
                  </a:lnTo>
                  <a:lnTo>
                    <a:pt x="714" y="36"/>
                  </a:lnTo>
                  <a:lnTo>
                    <a:pt x="714" y="32"/>
                  </a:lnTo>
                  <a:lnTo>
                    <a:pt x="714" y="28"/>
                  </a:lnTo>
                  <a:lnTo>
                    <a:pt x="714" y="24"/>
                  </a:lnTo>
                  <a:lnTo>
                    <a:pt x="714" y="20"/>
                  </a:lnTo>
                  <a:lnTo>
                    <a:pt x="710" y="20"/>
                  </a:lnTo>
                  <a:lnTo>
                    <a:pt x="706" y="20"/>
                  </a:lnTo>
                  <a:lnTo>
                    <a:pt x="702" y="20"/>
                  </a:lnTo>
                  <a:lnTo>
                    <a:pt x="706" y="16"/>
                  </a:lnTo>
                  <a:lnTo>
                    <a:pt x="710" y="12"/>
                  </a:lnTo>
                  <a:lnTo>
                    <a:pt x="714" y="8"/>
                  </a:lnTo>
                  <a:lnTo>
                    <a:pt x="718" y="4"/>
                  </a:lnTo>
                  <a:lnTo>
                    <a:pt x="722" y="4"/>
                  </a:lnTo>
                  <a:lnTo>
                    <a:pt x="725" y="4"/>
                  </a:lnTo>
                  <a:lnTo>
                    <a:pt x="729" y="4"/>
                  </a:lnTo>
                  <a:lnTo>
                    <a:pt x="729" y="0"/>
                  </a:lnTo>
                  <a:lnTo>
                    <a:pt x="733" y="0"/>
                  </a:lnTo>
                  <a:lnTo>
                    <a:pt x="737" y="0"/>
                  </a:lnTo>
                  <a:lnTo>
                    <a:pt x="741" y="0"/>
                  </a:lnTo>
                  <a:lnTo>
                    <a:pt x="745" y="0"/>
                  </a:lnTo>
                  <a:lnTo>
                    <a:pt x="749" y="0"/>
                  </a:lnTo>
                  <a:lnTo>
                    <a:pt x="753" y="0"/>
                  </a:lnTo>
                  <a:lnTo>
                    <a:pt x="757" y="0"/>
                  </a:lnTo>
                  <a:lnTo>
                    <a:pt x="761" y="0"/>
                  </a:lnTo>
                  <a:lnTo>
                    <a:pt x="765" y="0"/>
                  </a:lnTo>
                  <a:lnTo>
                    <a:pt x="765" y="4"/>
                  </a:lnTo>
                  <a:lnTo>
                    <a:pt x="769" y="4"/>
                  </a:lnTo>
                  <a:lnTo>
                    <a:pt x="769" y="8"/>
                  </a:lnTo>
                  <a:lnTo>
                    <a:pt x="773" y="8"/>
                  </a:lnTo>
                  <a:lnTo>
                    <a:pt x="777" y="8"/>
                  </a:lnTo>
                  <a:lnTo>
                    <a:pt x="781" y="8"/>
                  </a:lnTo>
                  <a:lnTo>
                    <a:pt x="785" y="8"/>
                  </a:lnTo>
                  <a:lnTo>
                    <a:pt x="789" y="8"/>
                  </a:lnTo>
                  <a:lnTo>
                    <a:pt x="789" y="12"/>
                  </a:lnTo>
                  <a:lnTo>
                    <a:pt x="793" y="16"/>
                  </a:lnTo>
                  <a:lnTo>
                    <a:pt x="797" y="16"/>
                  </a:lnTo>
                  <a:lnTo>
                    <a:pt x="793" y="16"/>
                  </a:lnTo>
                  <a:lnTo>
                    <a:pt x="793" y="20"/>
                  </a:lnTo>
                  <a:lnTo>
                    <a:pt x="797" y="20"/>
                  </a:lnTo>
                  <a:lnTo>
                    <a:pt x="797" y="24"/>
                  </a:lnTo>
                  <a:lnTo>
                    <a:pt x="797" y="28"/>
                  </a:lnTo>
                  <a:lnTo>
                    <a:pt x="801" y="28"/>
                  </a:lnTo>
                  <a:lnTo>
                    <a:pt x="801" y="32"/>
                  </a:lnTo>
                  <a:lnTo>
                    <a:pt x="801" y="36"/>
                  </a:lnTo>
                  <a:lnTo>
                    <a:pt x="801" y="40"/>
                  </a:lnTo>
                  <a:lnTo>
                    <a:pt x="805" y="40"/>
                  </a:lnTo>
                  <a:lnTo>
                    <a:pt x="805" y="44"/>
                  </a:lnTo>
                  <a:lnTo>
                    <a:pt x="805" y="48"/>
                  </a:lnTo>
                  <a:lnTo>
                    <a:pt x="809" y="48"/>
                  </a:lnTo>
                  <a:lnTo>
                    <a:pt x="805" y="48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09" y="48"/>
                  </a:lnTo>
                  <a:lnTo>
                    <a:pt x="809" y="52"/>
                  </a:lnTo>
                  <a:lnTo>
                    <a:pt x="809" y="56"/>
                  </a:lnTo>
                  <a:lnTo>
                    <a:pt x="809" y="60"/>
                  </a:lnTo>
                  <a:lnTo>
                    <a:pt x="813" y="60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13" y="72"/>
                  </a:lnTo>
                  <a:lnTo>
                    <a:pt x="817" y="72"/>
                  </a:lnTo>
                  <a:lnTo>
                    <a:pt x="817" y="76"/>
                  </a:lnTo>
                  <a:lnTo>
                    <a:pt x="817" y="80"/>
                  </a:lnTo>
                  <a:lnTo>
                    <a:pt x="817" y="84"/>
                  </a:lnTo>
                  <a:lnTo>
                    <a:pt x="821" y="84"/>
                  </a:lnTo>
                  <a:lnTo>
                    <a:pt x="821" y="88"/>
                  </a:lnTo>
                  <a:lnTo>
                    <a:pt x="825" y="88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49" y="96"/>
                  </a:lnTo>
                  <a:lnTo>
                    <a:pt x="853" y="100"/>
                  </a:lnTo>
                  <a:lnTo>
                    <a:pt x="857" y="104"/>
                  </a:lnTo>
                  <a:lnTo>
                    <a:pt x="861" y="104"/>
                  </a:lnTo>
                  <a:lnTo>
                    <a:pt x="865" y="104"/>
                  </a:lnTo>
                  <a:lnTo>
                    <a:pt x="865" y="108"/>
                  </a:lnTo>
                  <a:lnTo>
                    <a:pt x="861" y="108"/>
                  </a:lnTo>
                  <a:lnTo>
                    <a:pt x="865" y="112"/>
                  </a:lnTo>
                  <a:lnTo>
                    <a:pt x="865" y="116"/>
                  </a:lnTo>
                  <a:lnTo>
                    <a:pt x="865" y="120"/>
                  </a:lnTo>
                  <a:lnTo>
                    <a:pt x="865" y="124"/>
                  </a:lnTo>
                  <a:lnTo>
                    <a:pt x="869" y="124"/>
                  </a:lnTo>
                  <a:lnTo>
                    <a:pt x="869" y="128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77" y="128"/>
                  </a:lnTo>
                  <a:lnTo>
                    <a:pt x="877" y="132"/>
                  </a:lnTo>
                  <a:lnTo>
                    <a:pt x="881" y="132"/>
                  </a:lnTo>
                  <a:lnTo>
                    <a:pt x="885" y="132"/>
                  </a:lnTo>
                  <a:lnTo>
                    <a:pt x="885" y="128"/>
                  </a:lnTo>
                  <a:lnTo>
                    <a:pt x="889" y="128"/>
                  </a:lnTo>
                  <a:lnTo>
                    <a:pt x="893" y="128"/>
                  </a:lnTo>
                  <a:lnTo>
                    <a:pt x="893" y="124"/>
                  </a:lnTo>
                  <a:lnTo>
                    <a:pt x="897" y="124"/>
                  </a:lnTo>
                  <a:lnTo>
                    <a:pt x="901" y="120"/>
                  </a:lnTo>
                  <a:lnTo>
                    <a:pt x="905" y="120"/>
                  </a:lnTo>
                  <a:lnTo>
                    <a:pt x="909" y="120"/>
                  </a:lnTo>
                  <a:lnTo>
                    <a:pt x="913" y="116"/>
                  </a:lnTo>
                  <a:lnTo>
                    <a:pt x="917" y="116"/>
                  </a:lnTo>
                  <a:lnTo>
                    <a:pt x="921" y="116"/>
                  </a:lnTo>
                  <a:lnTo>
                    <a:pt x="925" y="116"/>
                  </a:lnTo>
                  <a:lnTo>
                    <a:pt x="925" y="120"/>
                  </a:lnTo>
                  <a:lnTo>
                    <a:pt x="925" y="124"/>
                  </a:lnTo>
                  <a:lnTo>
                    <a:pt x="925" y="128"/>
                  </a:lnTo>
                  <a:lnTo>
                    <a:pt x="925" y="136"/>
                  </a:lnTo>
                  <a:lnTo>
                    <a:pt x="921" y="136"/>
                  </a:lnTo>
                  <a:lnTo>
                    <a:pt x="917" y="136"/>
                  </a:lnTo>
                  <a:lnTo>
                    <a:pt x="917" y="140"/>
                  </a:lnTo>
                  <a:lnTo>
                    <a:pt x="917" y="144"/>
                  </a:lnTo>
                  <a:lnTo>
                    <a:pt x="917" y="148"/>
                  </a:lnTo>
                  <a:lnTo>
                    <a:pt x="917" y="152"/>
                  </a:lnTo>
                  <a:lnTo>
                    <a:pt x="913" y="152"/>
                  </a:lnTo>
                  <a:lnTo>
                    <a:pt x="913" y="156"/>
                  </a:lnTo>
                  <a:lnTo>
                    <a:pt x="913" y="160"/>
                  </a:lnTo>
                  <a:lnTo>
                    <a:pt x="913" y="164"/>
                  </a:lnTo>
                  <a:lnTo>
                    <a:pt x="909" y="164"/>
                  </a:lnTo>
                  <a:lnTo>
                    <a:pt x="909" y="168"/>
                  </a:lnTo>
                  <a:lnTo>
                    <a:pt x="909" y="172"/>
                  </a:lnTo>
                  <a:lnTo>
                    <a:pt x="909" y="176"/>
                  </a:lnTo>
                  <a:lnTo>
                    <a:pt x="905" y="176"/>
                  </a:lnTo>
                  <a:lnTo>
                    <a:pt x="901" y="176"/>
                  </a:lnTo>
                  <a:lnTo>
                    <a:pt x="901" y="180"/>
                  </a:lnTo>
                  <a:lnTo>
                    <a:pt x="901" y="184"/>
                  </a:lnTo>
                  <a:lnTo>
                    <a:pt x="901" y="188"/>
                  </a:lnTo>
                  <a:lnTo>
                    <a:pt x="897" y="188"/>
                  </a:lnTo>
                  <a:lnTo>
                    <a:pt x="893" y="184"/>
                  </a:lnTo>
                  <a:lnTo>
                    <a:pt x="889" y="184"/>
                  </a:lnTo>
                  <a:lnTo>
                    <a:pt x="885" y="184"/>
                  </a:lnTo>
                  <a:lnTo>
                    <a:pt x="885" y="180"/>
                  </a:lnTo>
                  <a:lnTo>
                    <a:pt x="881" y="180"/>
                  </a:lnTo>
                  <a:lnTo>
                    <a:pt x="881" y="184"/>
                  </a:lnTo>
                  <a:lnTo>
                    <a:pt x="881" y="188"/>
                  </a:lnTo>
                  <a:lnTo>
                    <a:pt x="877" y="188"/>
                  </a:lnTo>
                  <a:lnTo>
                    <a:pt x="873" y="188"/>
                  </a:lnTo>
                  <a:lnTo>
                    <a:pt x="873" y="192"/>
                  </a:lnTo>
                  <a:lnTo>
                    <a:pt x="873" y="188"/>
                  </a:lnTo>
                  <a:lnTo>
                    <a:pt x="869" y="192"/>
                  </a:lnTo>
                  <a:lnTo>
                    <a:pt x="869" y="196"/>
                  </a:lnTo>
                  <a:lnTo>
                    <a:pt x="873" y="196"/>
                  </a:lnTo>
                  <a:lnTo>
                    <a:pt x="873" y="204"/>
                  </a:lnTo>
                  <a:lnTo>
                    <a:pt x="873" y="208"/>
                  </a:lnTo>
                  <a:lnTo>
                    <a:pt x="873" y="212"/>
                  </a:lnTo>
                  <a:lnTo>
                    <a:pt x="873" y="220"/>
                  </a:lnTo>
                  <a:lnTo>
                    <a:pt x="873" y="224"/>
                  </a:lnTo>
                  <a:lnTo>
                    <a:pt x="873" y="228"/>
                  </a:lnTo>
                  <a:lnTo>
                    <a:pt x="873" y="232"/>
                  </a:lnTo>
                  <a:lnTo>
                    <a:pt x="869" y="232"/>
                  </a:lnTo>
                  <a:lnTo>
                    <a:pt x="869" y="236"/>
                  </a:lnTo>
                  <a:lnTo>
                    <a:pt x="869" y="232"/>
                  </a:lnTo>
                  <a:lnTo>
                    <a:pt x="865" y="232"/>
                  </a:lnTo>
                  <a:lnTo>
                    <a:pt x="865" y="236"/>
                  </a:lnTo>
                  <a:lnTo>
                    <a:pt x="861" y="236"/>
                  </a:lnTo>
                  <a:lnTo>
                    <a:pt x="865" y="240"/>
                  </a:lnTo>
                  <a:lnTo>
                    <a:pt x="865" y="243"/>
                  </a:lnTo>
                  <a:lnTo>
                    <a:pt x="861" y="243"/>
                  </a:lnTo>
                  <a:lnTo>
                    <a:pt x="861" y="240"/>
                  </a:lnTo>
                  <a:lnTo>
                    <a:pt x="857" y="236"/>
                  </a:lnTo>
                  <a:lnTo>
                    <a:pt x="857" y="232"/>
                  </a:lnTo>
                  <a:lnTo>
                    <a:pt x="853" y="232"/>
                  </a:lnTo>
                  <a:lnTo>
                    <a:pt x="853" y="236"/>
                  </a:lnTo>
                  <a:lnTo>
                    <a:pt x="849" y="236"/>
                  </a:lnTo>
                  <a:lnTo>
                    <a:pt x="849" y="240"/>
                  </a:lnTo>
                  <a:lnTo>
                    <a:pt x="849" y="243"/>
                  </a:lnTo>
                  <a:lnTo>
                    <a:pt x="845" y="243"/>
                  </a:lnTo>
                  <a:lnTo>
                    <a:pt x="841" y="243"/>
                  </a:lnTo>
                  <a:lnTo>
                    <a:pt x="841" y="247"/>
                  </a:lnTo>
                  <a:lnTo>
                    <a:pt x="841" y="251"/>
                  </a:lnTo>
                  <a:lnTo>
                    <a:pt x="837" y="251"/>
                  </a:lnTo>
                  <a:lnTo>
                    <a:pt x="833" y="251"/>
                  </a:lnTo>
                  <a:lnTo>
                    <a:pt x="829" y="251"/>
                  </a:lnTo>
                  <a:lnTo>
                    <a:pt x="825" y="251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17" y="263"/>
                  </a:lnTo>
                  <a:lnTo>
                    <a:pt x="813" y="263"/>
                  </a:lnTo>
                  <a:lnTo>
                    <a:pt x="813" y="259"/>
                  </a:lnTo>
                  <a:lnTo>
                    <a:pt x="809" y="259"/>
                  </a:lnTo>
                  <a:lnTo>
                    <a:pt x="809" y="255"/>
                  </a:lnTo>
                  <a:lnTo>
                    <a:pt x="805" y="255"/>
                  </a:lnTo>
                  <a:lnTo>
                    <a:pt x="805" y="259"/>
                  </a:lnTo>
                  <a:lnTo>
                    <a:pt x="801" y="259"/>
                  </a:lnTo>
                  <a:lnTo>
                    <a:pt x="801" y="263"/>
                  </a:lnTo>
                  <a:lnTo>
                    <a:pt x="801" y="267"/>
                  </a:lnTo>
                  <a:lnTo>
                    <a:pt x="797" y="267"/>
                  </a:lnTo>
                  <a:lnTo>
                    <a:pt x="797" y="271"/>
                  </a:lnTo>
                  <a:lnTo>
                    <a:pt x="793" y="275"/>
                  </a:lnTo>
                  <a:lnTo>
                    <a:pt x="789" y="275"/>
                  </a:lnTo>
                  <a:lnTo>
                    <a:pt x="789" y="279"/>
                  </a:lnTo>
                  <a:lnTo>
                    <a:pt x="785" y="279"/>
                  </a:lnTo>
                  <a:lnTo>
                    <a:pt x="781" y="279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73" y="287"/>
                  </a:lnTo>
                  <a:lnTo>
                    <a:pt x="769" y="291"/>
                  </a:lnTo>
                  <a:lnTo>
                    <a:pt x="769" y="295"/>
                  </a:lnTo>
                  <a:lnTo>
                    <a:pt x="765" y="295"/>
                  </a:lnTo>
                  <a:lnTo>
                    <a:pt x="761" y="295"/>
                  </a:lnTo>
                  <a:lnTo>
                    <a:pt x="757" y="295"/>
                  </a:lnTo>
                  <a:lnTo>
                    <a:pt x="757" y="299"/>
                  </a:lnTo>
                  <a:lnTo>
                    <a:pt x="753" y="299"/>
                  </a:lnTo>
                  <a:lnTo>
                    <a:pt x="753" y="295"/>
                  </a:lnTo>
                  <a:lnTo>
                    <a:pt x="753" y="299"/>
                  </a:lnTo>
                  <a:lnTo>
                    <a:pt x="749" y="299"/>
                  </a:lnTo>
                  <a:lnTo>
                    <a:pt x="745" y="303"/>
                  </a:lnTo>
                  <a:lnTo>
                    <a:pt x="741" y="303"/>
                  </a:lnTo>
                  <a:lnTo>
                    <a:pt x="741" y="307"/>
                  </a:lnTo>
                  <a:lnTo>
                    <a:pt x="737" y="303"/>
                  </a:lnTo>
                  <a:lnTo>
                    <a:pt x="737" y="307"/>
                  </a:lnTo>
                  <a:lnTo>
                    <a:pt x="733" y="311"/>
                  </a:lnTo>
                  <a:lnTo>
                    <a:pt x="729" y="311"/>
                  </a:lnTo>
                  <a:lnTo>
                    <a:pt x="729" y="315"/>
                  </a:lnTo>
                  <a:lnTo>
                    <a:pt x="725" y="319"/>
                  </a:lnTo>
                  <a:lnTo>
                    <a:pt x="722" y="319"/>
                  </a:lnTo>
                  <a:lnTo>
                    <a:pt x="722" y="315"/>
                  </a:lnTo>
                  <a:lnTo>
                    <a:pt x="725" y="315"/>
                  </a:lnTo>
                  <a:lnTo>
                    <a:pt x="725" y="311"/>
                  </a:lnTo>
                  <a:lnTo>
                    <a:pt x="729" y="311"/>
                  </a:lnTo>
                  <a:lnTo>
                    <a:pt x="725" y="311"/>
                  </a:lnTo>
                  <a:lnTo>
                    <a:pt x="725" y="307"/>
                  </a:lnTo>
                  <a:lnTo>
                    <a:pt x="729" y="307"/>
                  </a:lnTo>
                  <a:lnTo>
                    <a:pt x="725" y="307"/>
                  </a:lnTo>
                  <a:lnTo>
                    <a:pt x="725" y="303"/>
                  </a:lnTo>
                  <a:lnTo>
                    <a:pt x="722" y="303"/>
                  </a:lnTo>
                  <a:lnTo>
                    <a:pt x="725" y="299"/>
                  </a:lnTo>
                  <a:lnTo>
                    <a:pt x="725" y="295"/>
                  </a:lnTo>
                  <a:lnTo>
                    <a:pt x="729" y="295"/>
                  </a:lnTo>
                  <a:lnTo>
                    <a:pt x="733" y="291"/>
                  </a:lnTo>
                  <a:lnTo>
                    <a:pt x="733" y="287"/>
                  </a:lnTo>
                  <a:lnTo>
                    <a:pt x="737" y="287"/>
                  </a:lnTo>
                  <a:lnTo>
                    <a:pt x="737" y="283"/>
                  </a:lnTo>
                  <a:lnTo>
                    <a:pt x="733" y="279"/>
                  </a:lnTo>
                  <a:lnTo>
                    <a:pt x="733" y="275"/>
                  </a:lnTo>
                  <a:lnTo>
                    <a:pt x="729" y="275"/>
                  </a:lnTo>
                  <a:lnTo>
                    <a:pt x="725" y="275"/>
                  </a:lnTo>
                  <a:lnTo>
                    <a:pt x="722" y="275"/>
                  </a:lnTo>
                  <a:lnTo>
                    <a:pt x="718" y="275"/>
                  </a:lnTo>
                  <a:lnTo>
                    <a:pt x="718" y="279"/>
                  </a:lnTo>
                  <a:lnTo>
                    <a:pt x="714" y="283"/>
                  </a:lnTo>
                  <a:lnTo>
                    <a:pt x="710" y="283"/>
                  </a:lnTo>
                  <a:lnTo>
                    <a:pt x="710" y="287"/>
                  </a:lnTo>
                  <a:lnTo>
                    <a:pt x="706" y="291"/>
                  </a:lnTo>
                  <a:lnTo>
                    <a:pt x="702" y="291"/>
                  </a:lnTo>
                  <a:lnTo>
                    <a:pt x="702" y="295"/>
                  </a:lnTo>
                  <a:lnTo>
                    <a:pt x="698" y="295"/>
                  </a:lnTo>
                  <a:lnTo>
                    <a:pt x="694" y="299"/>
                  </a:lnTo>
                  <a:lnTo>
                    <a:pt x="694" y="303"/>
                  </a:lnTo>
                  <a:lnTo>
                    <a:pt x="694" y="307"/>
                  </a:lnTo>
                  <a:lnTo>
                    <a:pt x="690" y="307"/>
                  </a:lnTo>
                  <a:lnTo>
                    <a:pt x="690" y="311"/>
                  </a:lnTo>
                  <a:lnTo>
                    <a:pt x="686" y="311"/>
                  </a:lnTo>
                  <a:lnTo>
                    <a:pt x="682" y="311"/>
                  </a:lnTo>
                  <a:lnTo>
                    <a:pt x="678" y="311"/>
                  </a:lnTo>
                  <a:lnTo>
                    <a:pt x="674" y="311"/>
                  </a:lnTo>
                  <a:lnTo>
                    <a:pt x="674" y="307"/>
                  </a:lnTo>
                  <a:lnTo>
                    <a:pt x="670" y="311"/>
                  </a:lnTo>
                  <a:lnTo>
                    <a:pt x="666" y="315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4" y="331"/>
                  </a:lnTo>
                  <a:lnTo>
                    <a:pt x="678" y="331"/>
                  </a:lnTo>
                  <a:lnTo>
                    <a:pt x="682" y="331"/>
                  </a:lnTo>
                  <a:lnTo>
                    <a:pt x="686" y="331"/>
                  </a:lnTo>
                  <a:lnTo>
                    <a:pt x="686" y="335"/>
                  </a:lnTo>
                  <a:lnTo>
                    <a:pt x="690" y="335"/>
                  </a:lnTo>
                  <a:lnTo>
                    <a:pt x="690" y="339"/>
                  </a:lnTo>
                  <a:lnTo>
                    <a:pt x="690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4" y="351"/>
                  </a:lnTo>
                  <a:lnTo>
                    <a:pt x="698" y="351"/>
                  </a:lnTo>
                  <a:lnTo>
                    <a:pt x="702" y="351"/>
                  </a:lnTo>
                  <a:lnTo>
                    <a:pt x="702" y="347"/>
                  </a:lnTo>
                  <a:lnTo>
                    <a:pt x="706" y="347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0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43"/>
                  </a:lnTo>
                  <a:lnTo>
                    <a:pt x="725" y="343"/>
                  </a:lnTo>
                  <a:lnTo>
                    <a:pt x="725" y="347"/>
                  </a:lnTo>
                  <a:lnTo>
                    <a:pt x="729" y="347"/>
                  </a:lnTo>
                  <a:lnTo>
                    <a:pt x="733" y="347"/>
                  </a:lnTo>
                  <a:lnTo>
                    <a:pt x="733" y="343"/>
                  </a:lnTo>
                  <a:lnTo>
                    <a:pt x="737" y="343"/>
                  </a:lnTo>
                  <a:lnTo>
                    <a:pt x="733" y="343"/>
                  </a:lnTo>
                  <a:lnTo>
                    <a:pt x="737" y="347"/>
                  </a:lnTo>
                  <a:lnTo>
                    <a:pt x="741" y="347"/>
                  </a:lnTo>
                  <a:lnTo>
                    <a:pt x="741" y="351"/>
                  </a:lnTo>
                  <a:lnTo>
                    <a:pt x="737" y="355"/>
                  </a:lnTo>
                  <a:lnTo>
                    <a:pt x="741" y="355"/>
                  </a:lnTo>
                  <a:lnTo>
                    <a:pt x="737" y="359"/>
                  </a:lnTo>
                  <a:lnTo>
                    <a:pt x="737" y="355"/>
                  </a:lnTo>
                  <a:lnTo>
                    <a:pt x="733" y="355"/>
                  </a:lnTo>
                  <a:lnTo>
                    <a:pt x="729" y="359"/>
                  </a:lnTo>
                  <a:lnTo>
                    <a:pt x="725" y="359"/>
                  </a:lnTo>
                  <a:lnTo>
                    <a:pt x="722" y="359"/>
                  </a:lnTo>
                  <a:lnTo>
                    <a:pt x="722" y="363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18" y="363"/>
                  </a:lnTo>
                  <a:lnTo>
                    <a:pt x="718" y="367"/>
                  </a:lnTo>
                  <a:lnTo>
                    <a:pt x="714" y="367"/>
                  </a:lnTo>
                  <a:lnTo>
                    <a:pt x="714" y="371"/>
                  </a:lnTo>
                  <a:lnTo>
                    <a:pt x="710" y="375"/>
                  </a:lnTo>
                  <a:lnTo>
                    <a:pt x="706" y="375"/>
                  </a:lnTo>
                  <a:lnTo>
                    <a:pt x="710" y="371"/>
                  </a:lnTo>
                  <a:lnTo>
                    <a:pt x="706" y="371"/>
                  </a:lnTo>
                  <a:lnTo>
                    <a:pt x="706" y="375"/>
                  </a:lnTo>
                  <a:lnTo>
                    <a:pt x="706" y="379"/>
                  </a:lnTo>
                  <a:lnTo>
                    <a:pt x="702" y="379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87"/>
                  </a:lnTo>
                  <a:lnTo>
                    <a:pt x="694" y="387"/>
                  </a:lnTo>
                  <a:lnTo>
                    <a:pt x="694" y="391"/>
                  </a:lnTo>
                  <a:lnTo>
                    <a:pt x="694" y="395"/>
                  </a:lnTo>
                  <a:lnTo>
                    <a:pt x="690" y="395"/>
                  </a:lnTo>
                  <a:lnTo>
                    <a:pt x="690" y="399"/>
                  </a:lnTo>
                  <a:lnTo>
                    <a:pt x="694" y="399"/>
                  </a:lnTo>
                  <a:lnTo>
                    <a:pt x="694" y="403"/>
                  </a:lnTo>
                  <a:lnTo>
                    <a:pt x="698" y="403"/>
                  </a:lnTo>
                  <a:lnTo>
                    <a:pt x="702" y="407"/>
                  </a:lnTo>
                  <a:lnTo>
                    <a:pt x="706" y="407"/>
                  </a:lnTo>
                  <a:lnTo>
                    <a:pt x="710" y="411"/>
                  </a:lnTo>
                  <a:lnTo>
                    <a:pt x="710" y="415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7"/>
                  </a:lnTo>
                  <a:lnTo>
                    <a:pt x="714" y="431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8" y="443"/>
                  </a:lnTo>
                  <a:lnTo>
                    <a:pt x="722" y="443"/>
                  </a:lnTo>
                  <a:lnTo>
                    <a:pt x="722" y="447"/>
                  </a:lnTo>
                  <a:lnTo>
                    <a:pt x="725" y="447"/>
                  </a:lnTo>
                  <a:lnTo>
                    <a:pt x="725" y="451"/>
                  </a:lnTo>
                  <a:lnTo>
                    <a:pt x="729" y="455"/>
                  </a:lnTo>
                  <a:lnTo>
                    <a:pt x="729" y="459"/>
                  </a:lnTo>
                  <a:lnTo>
                    <a:pt x="733" y="459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59"/>
                  </a:lnTo>
                  <a:lnTo>
                    <a:pt x="725" y="459"/>
                  </a:lnTo>
                  <a:lnTo>
                    <a:pt x="722" y="459"/>
                  </a:lnTo>
                  <a:lnTo>
                    <a:pt x="718" y="459"/>
                  </a:lnTo>
                  <a:lnTo>
                    <a:pt x="718" y="455"/>
                  </a:lnTo>
                  <a:lnTo>
                    <a:pt x="714" y="455"/>
                  </a:lnTo>
                  <a:lnTo>
                    <a:pt x="710" y="451"/>
                  </a:lnTo>
                  <a:lnTo>
                    <a:pt x="710" y="455"/>
                  </a:lnTo>
                  <a:lnTo>
                    <a:pt x="706" y="455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702" y="447"/>
                  </a:lnTo>
                  <a:lnTo>
                    <a:pt x="698" y="447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702" y="455"/>
                  </a:lnTo>
                  <a:lnTo>
                    <a:pt x="706" y="455"/>
                  </a:lnTo>
                  <a:lnTo>
                    <a:pt x="710" y="455"/>
                  </a:lnTo>
                  <a:lnTo>
                    <a:pt x="714" y="455"/>
                  </a:lnTo>
                  <a:lnTo>
                    <a:pt x="714" y="459"/>
                  </a:lnTo>
                  <a:lnTo>
                    <a:pt x="718" y="459"/>
                  </a:lnTo>
                  <a:lnTo>
                    <a:pt x="722" y="459"/>
                  </a:lnTo>
                  <a:lnTo>
                    <a:pt x="722" y="463"/>
                  </a:lnTo>
                  <a:lnTo>
                    <a:pt x="725" y="467"/>
                  </a:lnTo>
                  <a:lnTo>
                    <a:pt x="729" y="467"/>
                  </a:lnTo>
                  <a:lnTo>
                    <a:pt x="729" y="471"/>
                  </a:lnTo>
                  <a:lnTo>
                    <a:pt x="729" y="475"/>
                  </a:lnTo>
                  <a:lnTo>
                    <a:pt x="733" y="475"/>
                  </a:lnTo>
                  <a:lnTo>
                    <a:pt x="733" y="479"/>
                  </a:lnTo>
                  <a:lnTo>
                    <a:pt x="729" y="479"/>
                  </a:lnTo>
                  <a:lnTo>
                    <a:pt x="725" y="479"/>
                  </a:lnTo>
                  <a:lnTo>
                    <a:pt x="722" y="479"/>
                  </a:lnTo>
                  <a:lnTo>
                    <a:pt x="722" y="483"/>
                  </a:lnTo>
                  <a:lnTo>
                    <a:pt x="718" y="483"/>
                  </a:lnTo>
                  <a:lnTo>
                    <a:pt x="718" y="487"/>
                  </a:lnTo>
                  <a:lnTo>
                    <a:pt x="714" y="487"/>
                  </a:lnTo>
                  <a:lnTo>
                    <a:pt x="710" y="487"/>
                  </a:lnTo>
                  <a:lnTo>
                    <a:pt x="706" y="491"/>
                  </a:lnTo>
                  <a:lnTo>
                    <a:pt x="710" y="491"/>
                  </a:lnTo>
                  <a:lnTo>
                    <a:pt x="710" y="487"/>
                  </a:lnTo>
                  <a:lnTo>
                    <a:pt x="714" y="491"/>
                  </a:lnTo>
                  <a:lnTo>
                    <a:pt x="714" y="495"/>
                  </a:lnTo>
                  <a:lnTo>
                    <a:pt x="714" y="491"/>
                  </a:lnTo>
                  <a:lnTo>
                    <a:pt x="718" y="491"/>
                  </a:lnTo>
                  <a:lnTo>
                    <a:pt x="722" y="487"/>
                  </a:lnTo>
                  <a:lnTo>
                    <a:pt x="725" y="487"/>
                  </a:lnTo>
                  <a:lnTo>
                    <a:pt x="725" y="491"/>
                  </a:lnTo>
                  <a:lnTo>
                    <a:pt x="729" y="495"/>
                  </a:lnTo>
                  <a:lnTo>
                    <a:pt x="733" y="495"/>
                  </a:lnTo>
                  <a:lnTo>
                    <a:pt x="733" y="499"/>
                  </a:lnTo>
                  <a:lnTo>
                    <a:pt x="729" y="499"/>
                  </a:lnTo>
                  <a:lnTo>
                    <a:pt x="729" y="503"/>
                  </a:lnTo>
                  <a:lnTo>
                    <a:pt x="725" y="503"/>
                  </a:lnTo>
                  <a:lnTo>
                    <a:pt x="725" y="507"/>
                  </a:lnTo>
                  <a:lnTo>
                    <a:pt x="725" y="503"/>
                  </a:lnTo>
                  <a:lnTo>
                    <a:pt x="729" y="503"/>
                  </a:lnTo>
                  <a:lnTo>
                    <a:pt x="733" y="503"/>
                  </a:lnTo>
                  <a:lnTo>
                    <a:pt x="733" y="507"/>
                  </a:lnTo>
                  <a:lnTo>
                    <a:pt x="733" y="511"/>
                  </a:lnTo>
                  <a:lnTo>
                    <a:pt x="729" y="511"/>
                  </a:lnTo>
                  <a:lnTo>
                    <a:pt x="729" y="507"/>
                  </a:lnTo>
                  <a:lnTo>
                    <a:pt x="729" y="511"/>
                  </a:lnTo>
                  <a:lnTo>
                    <a:pt x="725" y="511"/>
                  </a:lnTo>
                  <a:lnTo>
                    <a:pt x="725" y="507"/>
                  </a:lnTo>
                  <a:lnTo>
                    <a:pt x="725" y="511"/>
                  </a:lnTo>
                  <a:lnTo>
                    <a:pt x="729" y="511"/>
                  </a:lnTo>
                  <a:lnTo>
                    <a:pt x="729" y="515"/>
                  </a:lnTo>
                  <a:lnTo>
                    <a:pt x="725" y="515"/>
                  </a:lnTo>
                  <a:lnTo>
                    <a:pt x="729" y="519"/>
                  </a:lnTo>
                  <a:lnTo>
                    <a:pt x="725" y="519"/>
                  </a:lnTo>
                  <a:lnTo>
                    <a:pt x="722" y="519"/>
                  </a:lnTo>
                  <a:lnTo>
                    <a:pt x="725" y="519"/>
                  </a:lnTo>
                  <a:lnTo>
                    <a:pt x="725" y="523"/>
                  </a:lnTo>
                  <a:lnTo>
                    <a:pt x="725" y="527"/>
                  </a:lnTo>
                  <a:lnTo>
                    <a:pt x="729" y="527"/>
                  </a:lnTo>
                  <a:lnTo>
                    <a:pt x="725" y="527"/>
                  </a:lnTo>
                  <a:lnTo>
                    <a:pt x="725" y="531"/>
                  </a:lnTo>
                  <a:lnTo>
                    <a:pt x="722" y="531"/>
                  </a:lnTo>
                  <a:lnTo>
                    <a:pt x="722" y="527"/>
                  </a:lnTo>
                  <a:lnTo>
                    <a:pt x="722" y="531"/>
                  </a:lnTo>
                  <a:lnTo>
                    <a:pt x="718" y="531"/>
                  </a:lnTo>
                  <a:lnTo>
                    <a:pt x="718" y="535"/>
                  </a:lnTo>
                  <a:lnTo>
                    <a:pt x="714" y="531"/>
                  </a:lnTo>
                  <a:lnTo>
                    <a:pt x="714" y="535"/>
                  </a:lnTo>
                  <a:lnTo>
                    <a:pt x="718" y="535"/>
                  </a:lnTo>
                  <a:lnTo>
                    <a:pt x="714" y="535"/>
                  </a:lnTo>
                  <a:lnTo>
                    <a:pt x="714" y="539"/>
                  </a:lnTo>
                  <a:lnTo>
                    <a:pt x="714" y="543"/>
                  </a:lnTo>
                  <a:lnTo>
                    <a:pt x="714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06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06" y="551"/>
                  </a:lnTo>
                  <a:lnTo>
                    <a:pt x="706" y="555"/>
                  </a:lnTo>
                  <a:lnTo>
                    <a:pt x="702" y="555"/>
                  </a:lnTo>
                  <a:lnTo>
                    <a:pt x="706" y="555"/>
                  </a:lnTo>
                  <a:lnTo>
                    <a:pt x="706" y="559"/>
                  </a:lnTo>
                  <a:lnTo>
                    <a:pt x="702" y="559"/>
                  </a:lnTo>
                  <a:lnTo>
                    <a:pt x="702" y="563"/>
                  </a:lnTo>
                  <a:lnTo>
                    <a:pt x="702" y="559"/>
                  </a:lnTo>
                  <a:lnTo>
                    <a:pt x="706" y="559"/>
                  </a:lnTo>
                  <a:lnTo>
                    <a:pt x="702" y="555"/>
                  </a:lnTo>
                  <a:lnTo>
                    <a:pt x="702" y="559"/>
                  </a:lnTo>
                  <a:lnTo>
                    <a:pt x="702" y="555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63"/>
                  </a:lnTo>
                  <a:lnTo>
                    <a:pt x="698" y="559"/>
                  </a:lnTo>
                  <a:lnTo>
                    <a:pt x="702" y="563"/>
                  </a:lnTo>
                  <a:lnTo>
                    <a:pt x="698" y="563"/>
                  </a:lnTo>
                  <a:lnTo>
                    <a:pt x="698" y="567"/>
                  </a:lnTo>
                  <a:lnTo>
                    <a:pt x="702" y="563"/>
                  </a:lnTo>
                  <a:lnTo>
                    <a:pt x="702" y="567"/>
                  </a:lnTo>
                  <a:lnTo>
                    <a:pt x="698" y="567"/>
                  </a:lnTo>
                  <a:lnTo>
                    <a:pt x="698" y="571"/>
                  </a:lnTo>
                  <a:lnTo>
                    <a:pt x="694" y="571"/>
                  </a:lnTo>
                  <a:lnTo>
                    <a:pt x="690" y="571"/>
                  </a:lnTo>
                  <a:lnTo>
                    <a:pt x="694" y="571"/>
                  </a:lnTo>
                  <a:lnTo>
                    <a:pt x="694" y="575"/>
                  </a:lnTo>
                  <a:lnTo>
                    <a:pt x="694" y="571"/>
                  </a:lnTo>
                  <a:lnTo>
                    <a:pt x="698" y="571"/>
                  </a:lnTo>
                  <a:lnTo>
                    <a:pt x="698" y="575"/>
                  </a:lnTo>
                  <a:lnTo>
                    <a:pt x="698" y="579"/>
                  </a:lnTo>
                  <a:lnTo>
                    <a:pt x="694" y="579"/>
                  </a:lnTo>
                  <a:lnTo>
                    <a:pt x="698" y="579"/>
                  </a:lnTo>
                  <a:lnTo>
                    <a:pt x="698" y="583"/>
                  </a:lnTo>
                  <a:lnTo>
                    <a:pt x="698" y="587"/>
                  </a:lnTo>
                  <a:lnTo>
                    <a:pt x="698" y="583"/>
                  </a:lnTo>
                  <a:lnTo>
                    <a:pt x="694" y="583"/>
                  </a:lnTo>
                  <a:lnTo>
                    <a:pt x="694" y="579"/>
                  </a:lnTo>
                  <a:lnTo>
                    <a:pt x="694" y="583"/>
                  </a:lnTo>
                  <a:lnTo>
                    <a:pt x="690" y="583"/>
                  </a:lnTo>
                  <a:lnTo>
                    <a:pt x="694" y="587"/>
                  </a:lnTo>
                  <a:lnTo>
                    <a:pt x="690" y="591"/>
                  </a:lnTo>
                  <a:lnTo>
                    <a:pt x="690" y="587"/>
                  </a:lnTo>
                  <a:lnTo>
                    <a:pt x="686" y="587"/>
                  </a:lnTo>
                  <a:lnTo>
                    <a:pt x="686" y="591"/>
                  </a:lnTo>
                  <a:lnTo>
                    <a:pt x="690" y="591"/>
                  </a:lnTo>
                  <a:lnTo>
                    <a:pt x="686" y="595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1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9"/>
                  </a:lnTo>
                  <a:lnTo>
                    <a:pt x="678" y="599"/>
                  </a:lnTo>
                  <a:lnTo>
                    <a:pt x="674" y="599"/>
                  </a:lnTo>
                  <a:lnTo>
                    <a:pt x="674" y="603"/>
                  </a:lnTo>
                  <a:lnTo>
                    <a:pt x="670" y="603"/>
                  </a:lnTo>
                  <a:lnTo>
                    <a:pt x="674" y="603"/>
                  </a:lnTo>
                  <a:lnTo>
                    <a:pt x="674" y="607"/>
                  </a:lnTo>
                  <a:lnTo>
                    <a:pt x="670" y="611"/>
                  </a:lnTo>
                  <a:lnTo>
                    <a:pt x="666" y="611"/>
                  </a:lnTo>
                  <a:lnTo>
                    <a:pt x="666" y="615"/>
                  </a:lnTo>
                  <a:lnTo>
                    <a:pt x="662" y="615"/>
                  </a:lnTo>
                  <a:lnTo>
                    <a:pt x="662" y="619"/>
                  </a:lnTo>
                  <a:lnTo>
                    <a:pt x="658" y="619"/>
                  </a:lnTo>
                  <a:lnTo>
                    <a:pt x="654" y="619"/>
                  </a:lnTo>
                  <a:lnTo>
                    <a:pt x="654" y="623"/>
                  </a:lnTo>
                  <a:lnTo>
                    <a:pt x="650" y="623"/>
                  </a:lnTo>
                  <a:lnTo>
                    <a:pt x="654" y="623"/>
                  </a:lnTo>
                  <a:lnTo>
                    <a:pt x="654" y="627"/>
                  </a:lnTo>
                  <a:lnTo>
                    <a:pt x="650" y="627"/>
                  </a:lnTo>
                  <a:lnTo>
                    <a:pt x="650" y="631"/>
                  </a:lnTo>
                  <a:lnTo>
                    <a:pt x="646" y="631"/>
                  </a:lnTo>
                  <a:lnTo>
                    <a:pt x="646" y="635"/>
                  </a:lnTo>
                  <a:lnTo>
                    <a:pt x="642" y="631"/>
                  </a:lnTo>
                  <a:lnTo>
                    <a:pt x="642" y="635"/>
                  </a:lnTo>
                  <a:lnTo>
                    <a:pt x="638" y="635"/>
                  </a:lnTo>
                  <a:lnTo>
                    <a:pt x="638" y="631"/>
                  </a:lnTo>
                  <a:lnTo>
                    <a:pt x="634" y="635"/>
                  </a:lnTo>
                  <a:lnTo>
                    <a:pt x="638" y="635"/>
                  </a:lnTo>
                  <a:lnTo>
                    <a:pt x="634" y="635"/>
                  </a:lnTo>
                  <a:lnTo>
                    <a:pt x="630" y="635"/>
                  </a:lnTo>
                  <a:lnTo>
                    <a:pt x="626" y="635"/>
                  </a:lnTo>
                  <a:lnTo>
                    <a:pt x="626" y="639"/>
                  </a:lnTo>
                  <a:lnTo>
                    <a:pt x="622" y="639"/>
                  </a:lnTo>
                  <a:lnTo>
                    <a:pt x="622" y="635"/>
                  </a:lnTo>
                  <a:lnTo>
                    <a:pt x="626" y="635"/>
                  </a:lnTo>
                  <a:lnTo>
                    <a:pt x="622" y="635"/>
                  </a:lnTo>
                  <a:lnTo>
                    <a:pt x="622" y="639"/>
                  </a:lnTo>
                  <a:lnTo>
                    <a:pt x="618" y="639"/>
                  </a:lnTo>
                  <a:lnTo>
                    <a:pt x="614" y="639"/>
                  </a:lnTo>
                  <a:lnTo>
                    <a:pt x="618" y="639"/>
                  </a:lnTo>
                  <a:lnTo>
                    <a:pt x="618" y="643"/>
                  </a:lnTo>
                  <a:lnTo>
                    <a:pt x="614" y="643"/>
                  </a:lnTo>
                  <a:lnTo>
                    <a:pt x="610" y="643"/>
                  </a:lnTo>
                  <a:lnTo>
                    <a:pt x="610" y="639"/>
                  </a:lnTo>
                  <a:lnTo>
                    <a:pt x="614" y="639"/>
                  </a:lnTo>
                  <a:lnTo>
                    <a:pt x="610" y="639"/>
                  </a:lnTo>
                  <a:lnTo>
                    <a:pt x="610" y="635"/>
                  </a:lnTo>
                  <a:lnTo>
                    <a:pt x="606" y="631"/>
                  </a:lnTo>
                  <a:lnTo>
                    <a:pt x="606" y="627"/>
                  </a:lnTo>
                  <a:lnTo>
                    <a:pt x="610" y="627"/>
                  </a:lnTo>
                  <a:lnTo>
                    <a:pt x="606" y="627"/>
                  </a:lnTo>
                  <a:lnTo>
                    <a:pt x="606" y="631"/>
                  </a:lnTo>
                  <a:lnTo>
                    <a:pt x="602" y="631"/>
                  </a:lnTo>
                  <a:lnTo>
                    <a:pt x="606" y="635"/>
                  </a:lnTo>
                  <a:lnTo>
                    <a:pt x="602" y="635"/>
                  </a:lnTo>
                  <a:lnTo>
                    <a:pt x="606" y="635"/>
                  </a:lnTo>
                  <a:lnTo>
                    <a:pt x="606" y="639"/>
                  </a:lnTo>
                  <a:lnTo>
                    <a:pt x="606" y="643"/>
                  </a:lnTo>
                  <a:lnTo>
                    <a:pt x="606" y="647"/>
                  </a:lnTo>
                  <a:lnTo>
                    <a:pt x="602" y="647"/>
                  </a:lnTo>
                  <a:lnTo>
                    <a:pt x="602" y="643"/>
                  </a:lnTo>
                  <a:lnTo>
                    <a:pt x="602" y="639"/>
                  </a:lnTo>
                  <a:lnTo>
                    <a:pt x="598" y="639"/>
                  </a:lnTo>
                  <a:lnTo>
                    <a:pt x="602" y="639"/>
                  </a:lnTo>
                  <a:lnTo>
                    <a:pt x="602" y="643"/>
                  </a:lnTo>
                  <a:lnTo>
                    <a:pt x="602" y="647"/>
                  </a:lnTo>
                  <a:lnTo>
                    <a:pt x="598" y="647"/>
                  </a:lnTo>
                  <a:lnTo>
                    <a:pt x="598" y="643"/>
                  </a:lnTo>
                  <a:lnTo>
                    <a:pt x="598" y="647"/>
                  </a:lnTo>
                  <a:lnTo>
                    <a:pt x="598" y="651"/>
                  </a:lnTo>
                  <a:lnTo>
                    <a:pt x="594" y="651"/>
                  </a:lnTo>
                  <a:lnTo>
                    <a:pt x="590" y="651"/>
                  </a:lnTo>
                  <a:lnTo>
                    <a:pt x="590" y="655"/>
                  </a:lnTo>
                  <a:lnTo>
                    <a:pt x="590" y="651"/>
                  </a:lnTo>
                  <a:lnTo>
                    <a:pt x="586" y="655"/>
                  </a:lnTo>
                  <a:lnTo>
                    <a:pt x="582" y="651"/>
                  </a:lnTo>
                  <a:lnTo>
                    <a:pt x="582" y="655"/>
                  </a:lnTo>
                  <a:lnTo>
                    <a:pt x="578" y="655"/>
                  </a:lnTo>
                  <a:lnTo>
                    <a:pt x="578" y="659"/>
                  </a:lnTo>
                  <a:lnTo>
                    <a:pt x="574" y="659"/>
                  </a:lnTo>
                  <a:lnTo>
                    <a:pt x="570" y="659"/>
                  </a:lnTo>
                  <a:lnTo>
                    <a:pt x="566" y="659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58" y="663"/>
                  </a:lnTo>
                  <a:lnTo>
                    <a:pt x="558" y="659"/>
                  </a:lnTo>
                  <a:lnTo>
                    <a:pt x="558" y="663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4" y="671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8"/>
                  </a:lnTo>
                  <a:lnTo>
                    <a:pt x="558" y="682"/>
                  </a:lnTo>
                  <a:lnTo>
                    <a:pt x="554" y="682"/>
                  </a:lnTo>
                  <a:lnTo>
                    <a:pt x="550" y="682"/>
                  </a:lnTo>
                  <a:lnTo>
                    <a:pt x="550" y="678"/>
                  </a:lnTo>
                  <a:lnTo>
                    <a:pt x="546" y="675"/>
                  </a:lnTo>
                  <a:lnTo>
                    <a:pt x="546" y="671"/>
                  </a:lnTo>
                  <a:lnTo>
                    <a:pt x="546" y="667"/>
                  </a:lnTo>
                  <a:lnTo>
                    <a:pt x="550" y="663"/>
                  </a:lnTo>
                  <a:lnTo>
                    <a:pt x="550" y="659"/>
                  </a:lnTo>
                  <a:lnTo>
                    <a:pt x="550" y="655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50" y="659"/>
                  </a:lnTo>
                  <a:lnTo>
                    <a:pt x="546" y="659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42" y="659"/>
                  </a:lnTo>
                  <a:lnTo>
                    <a:pt x="538" y="659"/>
                  </a:lnTo>
                  <a:lnTo>
                    <a:pt x="538" y="655"/>
                  </a:lnTo>
                  <a:lnTo>
                    <a:pt x="534" y="655"/>
                  </a:lnTo>
                  <a:lnTo>
                    <a:pt x="534" y="651"/>
                  </a:lnTo>
                  <a:lnTo>
                    <a:pt x="534" y="655"/>
                  </a:lnTo>
                  <a:lnTo>
                    <a:pt x="530" y="655"/>
                  </a:lnTo>
                  <a:lnTo>
                    <a:pt x="530" y="651"/>
                  </a:lnTo>
                  <a:lnTo>
                    <a:pt x="530" y="655"/>
                  </a:lnTo>
                  <a:lnTo>
                    <a:pt x="530" y="659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30" y="655"/>
                  </a:lnTo>
                  <a:lnTo>
                    <a:pt x="526" y="655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22" y="659"/>
                  </a:lnTo>
                  <a:lnTo>
                    <a:pt x="522" y="655"/>
                  </a:lnTo>
                  <a:lnTo>
                    <a:pt x="518" y="655"/>
                  </a:lnTo>
                  <a:lnTo>
                    <a:pt x="514" y="655"/>
                  </a:lnTo>
                  <a:lnTo>
                    <a:pt x="510" y="655"/>
                  </a:lnTo>
                  <a:lnTo>
                    <a:pt x="506" y="651"/>
                  </a:lnTo>
                  <a:lnTo>
                    <a:pt x="502" y="647"/>
                  </a:lnTo>
                  <a:lnTo>
                    <a:pt x="502" y="643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502" y="639"/>
                  </a:lnTo>
                  <a:lnTo>
                    <a:pt x="502" y="635"/>
                  </a:lnTo>
                  <a:lnTo>
                    <a:pt x="502" y="631"/>
                  </a:lnTo>
                  <a:lnTo>
                    <a:pt x="498" y="631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86" y="631"/>
                  </a:lnTo>
                  <a:lnTo>
                    <a:pt x="486" y="627"/>
                  </a:lnTo>
                  <a:lnTo>
                    <a:pt x="482" y="627"/>
                  </a:lnTo>
                  <a:lnTo>
                    <a:pt x="482" y="623"/>
                  </a:lnTo>
                  <a:lnTo>
                    <a:pt x="478" y="623"/>
                  </a:lnTo>
                  <a:lnTo>
                    <a:pt x="474" y="627"/>
                  </a:lnTo>
                  <a:lnTo>
                    <a:pt x="474" y="631"/>
                  </a:lnTo>
                  <a:lnTo>
                    <a:pt x="470" y="635"/>
                  </a:lnTo>
                  <a:lnTo>
                    <a:pt x="466" y="635"/>
                  </a:lnTo>
                  <a:lnTo>
                    <a:pt x="462" y="635"/>
                  </a:lnTo>
                  <a:lnTo>
                    <a:pt x="462" y="639"/>
                  </a:lnTo>
                  <a:lnTo>
                    <a:pt x="458" y="639"/>
                  </a:lnTo>
                  <a:lnTo>
                    <a:pt x="458" y="635"/>
                  </a:lnTo>
                  <a:lnTo>
                    <a:pt x="454" y="635"/>
                  </a:lnTo>
                  <a:lnTo>
                    <a:pt x="454" y="639"/>
                  </a:lnTo>
                  <a:lnTo>
                    <a:pt x="454" y="635"/>
                  </a:lnTo>
                  <a:lnTo>
                    <a:pt x="450" y="635"/>
                  </a:lnTo>
                  <a:lnTo>
                    <a:pt x="450" y="639"/>
                  </a:lnTo>
                  <a:lnTo>
                    <a:pt x="446" y="639"/>
                  </a:lnTo>
                  <a:lnTo>
                    <a:pt x="442" y="639"/>
                  </a:lnTo>
                  <a:lnTo>
                    <a:pt x="442" y="635"/>
                  </a:lnTo>
                  <a:lnTo>
                    <a:pt x="438" y="635"/>
                  </a:lnTo>
                  <a:lnTo>
                    <a:pt x="438" y="639"/>
                  </a:lnTo>
                  <a:lnTo>
                    <a:pt x="434" y="639"/>
                  </a:lnTo>
                  <a:lnTo>
                    <a:pt x="434" y="643"/>
                  </a:lnTo>
                  <a:lnTo>
                    <a:pt x="434" y="639"/>
                  </a:lnTo>
                  <a:lnTo>
                    <a:pt x="430" y="639"/>
                  </a:lnTo>
                  <a:lnTo>
                    <a:pt x="426" y="639"/>
                  </a:lnTo>
                  <a:lnTo>
                    <a:pt x="426" y="643"/>
                  </a:lnTo>
                  <a:lnTo>
                    <a:pt x="422" y="643"/>
                  </a:lnTo>
                  <a:lnTo>
                    <a:pt x="426" y="651"/>
                  </a:lnTo>
                  <a:lnTo>
                    <a:pt x="426" y="655"/>
                  </a:lnTo>
                  <a:lnTo>
                    <a:pt x="426" y="659"/>
                  </a:lnTo>
                  <a:lnTo>
                    <a:pt x="426" y="663"/>
                  </a:lnTo>
                  <a:lnTo>
                    <a:pt x="430" y="663"/>
                  </a:lnTo>
                  <a:lnTo>
                    <a:pt x="426" y="663"/>
                  </a:lnTo>
                  <a:lnTo>
                    <a:pt x="426" y="667"/>
                  </a:lnTo>
                  <a:lnTo>
                    <a:pt x="426" y="663"/>
                  </a:lnTo>
                  <a:lnTo>
                    <a:pt x="422" y="663"/>
                  </a:lnTo>
                  <a:lnTo>
                    <a:pt x="418" y="663"/>
                  </a:lnTo>
                  <a:lnTo>
                    <a:pt x="418" y="659"/>
                  </a:lnTo>
                  <a:lnTo>
                    <a:pt x="418" y="655"/>
                  </a:lnTo>
                  <a:lnTo>
                    <a:pt x="414" y="655"/>
                  </a:lnTo>
                  <a:lnTo>
                    <a:pt x="410" y="659"/>
                  </a:lnTo>
                  <a:lnTo>
                    <a:pt x="406" y="659"/>
                  </a:lnTo>
                  <a:lnTo>
                    <a:pt x="402" y="659"/>
                  </a:lnTo>
                  <a:lnTo>
                    <a:pt x="402" y="655"/>
                  </a:lnTo>
                  <a:lnTo>
                    <a:pt x="398" y="655"/>
                  </a:lnTo>
                  <a:lnTo>
                    <a:pt x="398" y="651"/>
                  </a:lnTo>
                  <a:lnTo>
                    <a:pt x="398" y="647"/>
                  </a:lnTo>
                  <a:lnTo>
                    <a:pt x="394" y="647"/>
                  </a:lnTo>
                  <a:lnTo>
                    <a:pt x="390" y="647"/>
                  </a:lnTo>
                  <a:lnTo>
                    <a:pt x="386" y="647"/>
                  </a:lnTo>
                  <a:lnTo>
                    <a:pt x="390" y="643"/>
                  </a:lnTo>
                  <a:lnTo>
                    <a:pt x="390" y="639"/>
                  </a:lnTo>
                  <a:lnTo>
                    <a:pt x="390" y="635"/>
                  </a:lnTo>
                  <a:lnTo>
                    <a:pt x="390" y="631"/>
                  </a:lnTo>
                  <a:lnTo>
                    <a:pt x="394" y="631"/>
                  </a:lnTo>
                  <a:lnTo>
                    <a:pt x="394" y="627"/>
                  </a:lnTo>
                  <a:lnTo>
                    <a:pt x="390" y="627"/>
                  </a:lnTo>
                  <a:lnTo>
                    <a:pt x="386" y="627"/>
                  </a:lnTo>
                  <a:lnTo>
                    <a:pt x="382" y="627"/>
                  </a:lnTo>
                  <a:lnTo>
                    <a:pt x="382" y="623"/>
                  </a:lnTo>
                  <a:lnTo>
                    <a:pt x="382" y="619"/>
                  </a:lnTo>
                  <a:lnTo>
                    <a:pt x="382" y="615"/>
                  </a:lnTo>
                  <a:lnTo>
                    <a:pt x="378" y="611"/>
                  </a:lnTo>
                  <a:lnTo>
                    <a:pt x="382" y="611"/>
                  </a:lnTo>
                  <a:lnTo>
                    <a:pt x="382" y="607"/>
                  </a:lnTo>
                  <a:lnTo>
                    <a:pt x="378" y="607"/>
                  </a:lnTo>
                  <a:lnTo>
                    <a:pt x="374" y="607"/>
                  </a:lnTo>
                  <a:lnTo>
                    <a:pt x="371" y="607"/>
                  </a:lnTo>
                  <a:lnTo>
                    <a:pt x="371" y="611"/>
                  </a:lnTo>
                  <a:lnTo>
                    <a:pt x="367" y="611"/>
                  </a:lnTo>
                  <a:lnTo>
                    <a:pt x="367" y="615"/>
                  </a:lnTo>
                  <a:close/>
                  <a:moveTo>
                    <a:pt x="706" y="619"/>
                  </a:moveTo>
                  <a:lnTo>
                    <a:pt x="706" y="615"/>
                  </a:lnTo>
                  <a:lnTo>
                    <a:pt x="706" y="611"/>
                  </a:lnTo>
                  <a:lnTo>
                    <a:pt x="710" y="611"/>
                  </a:lnTo>
                  <a:lnTo>
                    <a:pt x="710" y="607"/>
                  </a:lnTo>
                  <a:lnTo>
                    <a:pt x="710" y="603"/>
                  </a:lnTo>
                  <a:lnTo>
                    <a:pt x="714" y="603"/>
                  </a:lnTo>
                  <a:lnTo>
                    <a:pt x="714" y="599"/>
                  </a:lnTo>
                  <a:lnTo>
                    <a:pt x="718" y="595"/>
                  </a:lnTo>
                  <a:lnTo>
                    <a:pt x="718" y="591"/>
                  </a:lnTo>
                  <a:lnTo>
                    <a:pt x="722" y="591"/>
                  </a:lnTo>
                  <a:lnTo>
                    <a:pt x="722" y="587"/>
                  </a:lnTo>
                  <a:lnTo>
                    <a:pt x="725" y="587"/>
                  </a:lnTo>
                  <a:lnTo>
                    <a:pt x="725" y="591"/>
                  </a:lnTo>
                  <a:lnTo>
                    <a:pt x="725" y="587"/>
                  </a:lnTo>
                  <a:lnTo>
                    <a:pt x="729" y="587"/>
                  </a:lnTo>
                  <a:lnTo>
                    <a:pt x="729" y="591"/>
                  </a:lnTo>
                  <a:lnTo>
                    <a:pt x="733" y="591"/>
                  </a:lnTo>
                  <a:lnTo>
                    <a:pt x="729" y="595"/>
                  </a:lnTo>
                  <a:lnTo>
                    <a:pt x="729" y="599"/>
                  </a:lnTo>
                  <a:lnTo>
                    <a:pt x="729" y="603"/>
                  </a:lnTo>
                  <a:lnTo>
                    <a:pt x="729" y="607"/>
                  </a:lnTo>
                  <a:lnTo>
                    <a:pt x="725" y="611"/>
                  </a:lnTo>
                  <a:lnTo>
                    <a:pt x="729" y="611"/>
                  </a:lnTo>
                  <a:lnTo>
                    <a:pt x="725" y="611"/>
                  </a:lnTo>
                  <a:lnTo>
                    <a:pt x="725" y="615"/>
                  </a:lnTo>
                  <a:lnTo>
                    <a:pt x="725" y="619"/>
                  </a:lnTo>
                  <a:lnTo>
                    <a:pt x="725" y="623"/>
                  </a:lnTo>
                  <a:lnTo>
                    <a:pt x="725" y="627"/>
                  </a:lnTo>
                  <a:lnTo>
                    <a:pt x="722" y="631"/>
                  </a:lnTo>
                  <a:lnTo>
                    <a:pt x="722" y="635"/>
                  </a:lnTo>
                  <a:lnTo>
                    <a:pt x="718" y="635"/>
                  </a:lnTo>
                  <a:lnTo>
                    <a:pt x="718" y="639"/>
                  </a:lnTo>
                  <a:lnTo>
                    <a:pt x="718" y="643"/>
                  </a:lnTo>
                  <a:lnTo>
                    <a:pt x="718" y="647"/>
                  </a:lnTo>
                  <a:lnTo>
                    <a:pt x="718" y="651"/>
                  </a:lnTo>
                  <a:lnTo>
                    <a:pt x="714" y="651"/>
                  </a:lnTo>
                  <a:lnTo>
                    <a:pt x="714" y="647"/>
                  </a:lnTo>
                  <a:lnTo>
                    <a:pt x="714" y="643"/>
                  </a:lnTo>
                  <a:lnTo>
                    <a:pt x="710" y="643"/>
                  </a:lnTo>
                  <a:lnTo>
                    <a:pt x="710" y="639"/>
                  </a:lnTo>
                  <a:lnTo>
                    <a:pt x="706" y="639"/>
                  </a:lnTo>
                  <a:lnTo>
                    <a:pt x="706" y="635"/>
                  </a:lnTo>
                  <a:lnTo>
                    <a:pt x="706" y="631"/>
                  </a:lnTo>
                  <a:lnTo>
                    <a:pt x="706" y="627"/>
                  </a:lnTo>
                  <a:lnTo>
                    <a:pt x="706" y="623"/>
                  </a:lnTo>
                  <a:lnTo>
                    <a:pt x="706" y="619"/>
                  </a:lnTo>
                  <a:close/>
                  <a:moveTo>
                    <a:pt x="546" y="718"/>
                  </a:moveTo>
                  <a:lnTo>
                    <a:pt x="546" y="722"/>
                  </a:lnTo>
                  <a:lnTo>
                    <a:pt x="546" y="718"/>
                  </a:lnTo>
                  <a:lnTo>
                    <a:pt x="542" y="718"/>
                  </a:lnTo>
                  <a:lnTo>
                    <a:pt x="538" y="718"/>
                  </a:lnTo>
                  <a:lnTo>
                    <a:pt x="534" y="718"/>
                  </a:lnTo>
                  <a:lnTo>
                    <a:pt x="534" y="714"/>
                  </a:lnTo>
                  <a:lnTo>
                    <a:pt x="530" y="714"/>
                  </a:lnTo>
                  <a:lnTo>
                    <a:pt x="530" y="710"/>
                  </a:lnTo>
                  <a:lnTo>
                    <a:pt x="534" y="710"/>
                  </a:lnTo>
                  <a:lnTo>
                    <a:pt x="530" y="710"/>
                  </a:lnTo>
                  <a:lnTo>
                    <a:pt x="530" y="706"/>
                  </a:lnTo>
                  <a:lnTo>
                    <a:pt x="530" y="702"/>
                  </a:lnTo>
                  <a:lnTo>
                    <a:pt x="530" y="698"/>
                  </a:lnTo>
                  <a:lnTo>
                    <a:pt x="534" y="698"/>
                  </a:lnTo>
                  <a:lnTo>
                    <a:pt x="534" y="694"/>
                  </a:lnTo>
                  <a:lnTo>
                    <a:pt x="538" y="694"/>
                  </a:lnTo>
                  <a:lnTo>
                    <a:pt x="542" y="690"/>
                  </a:lnTo>
                  <a:lnTo>
                    <a:pt x="538" y="690"/>
                  </a:lnTo>
                  <a:lnTo>
                    <a:pt x="542" y="686"/>
                  </a:lnTo>
                  <a:lnTo>
                    <a:pt x="542" y="690"/>
                  </a:lnTo>
                  <a:lnTo>
                    <a:pt x="546" y="690"/>
                  </a:lnTo>
                  <a:lnTo>
                    <a:pt x="546" y="686"/>
                  </a:lnTo>
                  <a:lnTo>
                    <a:pt x="550" y="686"/>
                  </a:lnTo>
                  <a:lnTo>
                    <a:pt x="554" y="686"/>
                  </a:lnTo>
                  <a:lnTo>
                    <a:pt x="558" y="686"/>
                  </a:lnTo>
                  <a:lnTo>
                    <a:pt x="562" y="686"/>
                  </a:lnTo>
                  <a:lnTo>
                    <a:pt x="562" y="682"/>
                  </a:lnTo>
                  <a:lnTo>
                    <a:pt x="562" y="686"/>
                  </a:lnTo>
                  <a:lnTo>
                    <a:pt x="566" y="686"/>
                  </a:lnTo>
                  <a:lnTo>
                    <a:pt x="566" y="694"/>
                  </a:lnTo>
                  <a:lnTo>
                    <a:pt x="562" y="698"/>
                  </a:lnTo>
                  <a:lnTo>
                    <a:pt x="562" y="702"/>
                  </a:lnTo>
                  <a:lnTo>
                    <a:pt x="558" y="702"/>
                  </a:lnTo>
                  <a:lnTo>
                    <a:pt x="562" y="702"/>
                  </a:lnTo>
                  <a:lnTo>
                    <a:pt x="558" y="706"/>
                  </a:lnTo>
                  <a:lnTo>
                    <a:pt x="558" y="710"/>
                  </a:lnTo>
                  <a:lnTo>
                    <a:pt x="554" y="710"/>
                  </a:lnTo>
                  <a:lnTo>
                    <a:pt x="554" y="714"/>
                  </a:lnTo>
                  <a:lnTo>
                    <a:pt x="554" y="718"/>
                  </a:lnTo>
                  <a:lnTo>
                    <a:pt x="550" y="718"/>
                  </a:lnTo>
                  <a:lnTo>
                    <a:pt x="550" y="714"/>
                  </a:lnTo>
                  <a:lnTo>
                    <a:pt x="550" y="718"/>
                  </a:lnTo>
                  <a:lnTo>
                    <a:pt x="546" y="718"/>
                  </a:lnTo>
                  <a:close/>
                  <a:moveTo>
                    <a:pt x="722" y="459"/>
                  </a:moveTo>
                  <a:lnTo>
                    <a:pt x="725" y="459"/>
                  </a:lnTo>
                  <a:lnTo>
                    <a:pt x="725" y="463"/>
                  </a:lnTo>
                  <a:lnTo>
                    <a:pt x="729" y="463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67"/>
                  </a:lnTo>
                  <a:lnTo>
                    <a:pt x="725" y="463"/>
                  </a:lnTo>
                  <a:lnTo>
                    <a:pt x="722" y="463"/>
                  </a:lnTo>
                  <a:lnTo>
                    <a:pt x="722" y="459"/>
                  </a:lnTo>
                  <a:close/>
                  <a:moveTo>
                    <a:pt x="733" y="495"/>
                  </a:moveTo>
                  <a:lnTo>
                    <a:pt x="733" y="491"/>
                  </a:lnTo>
                  <a:lnTo>
                    <a:pt x="737" y="491"/>
                  </a:lnTo>
                  <a:lnTo>
                    <a:pt x="737" y="495"/>
                  </a:lnTo>
                  <a:lnTo>
                    <a:pt x="733" y="495"/>
                  </a:lnTo>
                  <a:close/>
                  <a:moveTo>
                    <a:pt x="698" y="583"/>
                  </a:moveTo>
                  <a:lnTo>
                    <a:pt x="698" y="579"/>
                  </a:lnTo>
                  <a:lnTo>
                    <a:pt x="702" y="579"/>
                  </a:lnTo>
                  <a:lnTo>
                    <a:pt x="702" y="583"/>
                  </a:lnTo>
                  <a:lnTo>
                    <a:pt x="698" y="583"/>
                  </a:lnTo>
                  <a:close/>
                  <a:moveTo>
                    <a:pt x="666" y="615"/>
                  </a:moveTo>
                  <a:lnTo>
                    <a:pt x="666" y="619"/>
                  </a:lnTo>
                  <a:lnTo>
                    <a:pt x="662" y="619"/>
                  </a:lnTo>
                  <a:lnTo>
                    <a:pt x="662" y="615"/>
                  </a:lnTo>
                  <a:lnTo>
                    <a:pt x="666" y="615"/>
                  </a:lnTo>
                  <a:close/>
                  <a:moveTo>
                    <a:pt x="558" y="667"/>
                  </a:moveTo>
                  <a:lnTo>
                    <a:pt x="562" y="667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8" y="667"/>
                  </a:lnTo>
                  <a:close/>
                  <a:moveTo>
                    <a:pt x="725" y="307"/>
                  </a:moveTo>
                  <a:lnTo>
                    <a:pt x="722" y="307"/>
                  </a:lnTo>
                  <a:lnTo>
                    <a:pt x="722" y="303"/>
                  </a:lnTo>
                  <a:lnTo>
                    <a:pt x="725" y="303"/>
                  </a:lnTo>
                  <a:lnTo>
                    <a:pt x="725" y="307"/>
                  </a:lnTo>
                  <a:close/>
                  <a:moveTo>
                    <a:pt x="614" y="643"/>
                  </a:moveTo>
                  <a:lnTo>
                    <a:pt x="610" y="643"/>
                  </a:lnTo>
                  <a:lnTo>
                    <a:pt x="610" y="647"/>
                  </a:lnTo>
                  <a:lnTo>
                    <a:pt x="610" y="643"/>
                  </a:lnTo>
                  <a:lnTo>
                    <a:pt x="614" y="643"/>
                  </a:lnTo>
                  <a:close/>
                  <a:moveTo>
                    <a:pt x="698" y="451"/>
                  </a:moveTo>
                  <a:lnTo>
                    <a:pt x="702" y="451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698" y="451"/>
                  </a:lnTo>
                  <a:close/>
                  <a:moveTo>
                    <a:pt x="606" y="635"/>
                  </a:moveTo>
                  <a:lnTo>
                    <a:pt x="602" y="631"/>
                  </a:lnTo>
                  <a:lnTo>
                    <a:pt x="606" y="631"/>
                  </a:lnTo>
                  <a:lnTo>
                    <a:pt x="606" y="635"/>
                  </a:lnTo>
                  <a:close/>
                  <a:moveTo>
                    <a:pt x="678" y="603"/>
                  </a:moveTo>
                  <a:lnTo>
                    <a:pt x="678" y="599"/>
                  </a:lnTo>
                  <a:lnTo>
                    <a:pt x="678" y="603"/>
                  </a:lnTo>
                  <a:lnTo>
                    <a:pt x="682" y="603"/>
                  </a:lnTo>
                  <a:lnTo>
                    <a:pt x="678" y="603"/>
                  </a:lnTo>
                  <a:close/>
                  <a:moveTo>
                    <a:pt x="658" y="619"/>
                  </a:moveTo>
                  <a:lnTo>
                    <a:pt x="658" y="623"/>
                  </a:lnTo>
                  <a:lnTo>
                    <a:pt x="658" y="619"/>
                  </a:lnTo>
                  <a:close/>
                  <a:moveTo>
                    <a:pt x="578" y="659"/>
                  </a:moveTo>
                  <a:lnTo>
                    <a:pt x="578" y="655"/>
                  </a:lnTo>
                  <a:lnTo>
                    <a:pt x="582" y="655"/>
                  </a:lnTo>
                  <a:lnTo>
                    <a:pt x="578" y="659"/>
                  </a:lnTo>
                  <a:close/>
                  <a:moveTo>
                    <a:pt x="674" y="603"/>
                  </a:moveTo>
                  <a:lnTo>
                    <a:pt x="674" y="599"/>
                  </a:lnTo>
                  <a:lnTo>
                    <a:pt x="678" y="603"/>
                  </a:lnTo>
                  <a:lnTo>
                    <a:pt x="674" y="603"/>
                  </a:lnTo>
                  <a:close/>
                  <a:moveTo>
                    <a:pt x="558" y="663"/>
                  </a:moveTo>
                  <a:lnTo>
                    <a:pt x="562" y="663"/>
                  </a:lnTo>
                  <a:lnTo>
                    <a:pt x="562" y="667"/>
                  </a:lnTo>
                  <a:lnTo>
                    <a:pt x="558" y="667"/>
                  </a:lnTo>
                  <a:lnTo>
                    <a:pt x="558" y="663"/>
                  </a:lnTo>
                  <a:close/>
                  <a:moveTo>
                    <a:pt x="733" y="487"/>
                  </a:moveTo>
                  <a:lnTo>
                    <a:pt x="737" y="487"/>
                  </a:lnTo>
                  <a:lnTo>
                    <a:pt x="737" y="491"/>
                  </a:lnTo>
                  <a:lnTo>
                    <a:pt x="733" y="491"/>
                  </a:lnTo>
                  <a:lnTo>
                    <a:pt x="733" y="487"/>
                  </a:lnTo>
                  <a:close/>
                  <a:moveTo>
                    <a:pt x="733" y="499"/>
                  </a:moveTo>
                  <a:lnTo>
                    <a:pt x="737" y="499"/>
                  </a:lnTo>
                  <a:lnTo>
                    <a:pt x="737" y="503"/>
                  </a:lnTo>
                  <a:lnTo>
                    <a:pt x="733" y="499"/>
                  </a:lnTo>
                  <a:close/>
                  <a:moveTo>
                    <a:pt x="614" y="643"/>
                  </a:moveTo>
                  <a:lnTo>
                    <a:pt x="618" y="643"/>
                  </a:lnTo>
                  <a:lnTo>
                    <a:pt x="618" y="647"/>
                  </a:lnTo>
                  <a:lnTo>
                    <a:pt x="614" y="643"/>
                  </a:lnTo>
                  <a:lnTo>
                    <a:pt x="614" y="647"/>
                  </a:lnTo>
                  <a:lnTo>
                    <a:pt x="614" y="6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xmlns="" id="{989EA442-F769-4C32-B2F8-7166961F99DB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5096830" y="3597852"/>
              <a:ext cx="53390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49" name="Freeform 14">
              <a:extLst>
                <a:ext uri="{FF2B5EF4-FFF2-40B4-BE49-F238E27FC236}">
                  <a16:creationId xmlns:a16="http://schemas.microsoft.com/office/drawing/2014/main" xmlns="" id="{8DD38FD3-E3CD-4EE5-B2D7-633D04B8380D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5144288" y="3716497"/>
              <a:ext cx="5932" cy="1186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50" name="Freeform 15">
              <a:extLst>
                <a:ext uri="{FF2B5EF4-FFF2-40B4-BE49-F238E27FC236}">
                  <a16:creationId xmlns:a16="http://schemas.microsoft.com/office/drawing/2014/main" xmlns="" id="{0229E9C6-E0E0-4728-9479-F384CEF2F441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5274797" y="3356113"/>
              <a:ext cx="148306" cy="75636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51" name="Freeform 16">
              <a:extLst>
                <a:ext uri="{FF2B5EF4-FFF2-40B4-BE49-F238E27FC236}">
                  <a16:creationId xmlns:a16="http://schemas.microsoft.com/office/drawing/2014/main" xmlns="" id="{533E591B-7A04-4FF9-BFB4-1ACA3AC6E911}"/>
                </a:ext>
              </a:extLst>
            </p:cNvPr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>
              <a:off x="5908066" y="3597852"/>
              <a:ext cx="656997" cy="817168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52" name="Freeform 17">
              <a:extLst>
                <a:ext uri="{FF2B5EF4-FFF2-40B4-BE49-F238E27FC236}">
                  <a16:creationId xmlns:a16="http://schemas.microsoft.com/office/drawing/2014/main" xmlns="" id="{74A15F42-EE14-47FB-85DC-8ED8EF87732C}"/>
                </a:ext>
              </a:extLst>
            </p:cNvPr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gray">
            <a:xfrm>
              <a:off x="6511673" y="4432818"/>
              <a:ext cx="1029246" cy="461232"/>
            </a:xfrm>
            <a:custGeom>
              <a:avLst/>
              <a:gdLst/>
              <a:ahLst/>
              <a:cxnLst>
                <a:cxn ang="0">
                  <a:pos x="462" y="44"/>
                </a:cxn>
                <a:cxn ang="0">
                  <a:pos x="486" y="120"/>
                </a:cxn>
                <a:cxn ang="0">
                  <a:pos x="590" y="219"/>
                </a:cxn>
                <a:cxn ang="0">
                  <a:pos x="546" y="243"/>
                </a:cxn>
                <a:cxn ang="0">
                  <a:pos x="139" y="136"/>
                </a:cxn>
                <a:cxn ang="0">
                  <a:pos x="163" y="215"/>
                </a:cxn>
                <a:cxn ang="0">
                  <a:pos x="103" y="175"/>
                </a:cxn>
                <a:cxn ang="0">
                  <a:pos x="51" y="76"/>
                </a:cxn>
                <a:cxn ang="0">
                  <a:pos x="24" y="16"/>
                </a:cxn>
                <a:cxn ang="0">
                  <a:pos x="83" y="72"/>
                </a:cxn>
                <a:cxn ang="0">
                  <a:pos x="131" y="104"/>
                </a:cxn>
                <a:cxn ang="0">
                  <a:pos x="267" y="80"/>
                </a:cxn>
                <a:cxn ang="0">
                  <a:pos x="339" y="32"/>
                </a:cxn>
                <a:cxn ang="0">
                  <a:pos x="359" y="96"/>
                </a:cxn>
                <a:cxn ang="0">
                  <a:pos x="323" y="148"/>
                </a:cxn>
                <a:cxn ang="0">
                  <a:pos x="279" y="167"/>
                </a:cxn>
                <a:cxn ang="0">
                  <a:pos x="223" y="140"/>
                </a:cxn>
                <a:cxn ang="0">
                  <a:pos x="195" y="40"/>
                </a:cxn>
                <a:cxn ang="0">
                  <a:pos x="506" y="64"/>
                </a:cxn>
                <a:cxn ang="0">
                  <a:pos x="490" y="92"/>
                </a:cxn>
                <a:cxn ang="0">
                  <a:pos x="498" y="120"/>
                </a:cxn>
                <a:cxn ang="0">
                  <a:pos x="410" y="171"/>
                </a:cxn>
                <a:cxn ang="0">
                  <a:pos x="379" y="167"/>
                </a:cxn>
                <a:cxn ang="0">
                  <a:pos x="363" y="175"/>
                </a:cxn>
                <a:cxn ang="0">
                  <a:pos x="375" y="112"/>
                </a:cxn>
                <a:cxn ang="0">
                  <a:pos x="438" y="92"/>
                </a:cxn>
                <a:cxn ang="0">
                  <a:pos x="391" y="100"/>
                </a:cxn>
                <a:cxn ang="0">
                  <a:pos x="426" y="124"/>
                </a:cxn>
                <a:cxn ang="0">
                  <a:pos x="143" y="88"/>
                </a:cxn>
                <a:cxn ang="0">
                  <a:pos x="135" y="96"/>
                </a:cxn>
                <a:cxn ang="0">
                  <a:pos x="534" y="116"/>
                </a:cxn>
                <a:cxn ang="0">
                  <a:pos x="143" y="116"/>
                </a:cxn>
                <a:cxn ang="0">
                  <a:pos x="634" y="199"/>
                </a:cxn>
                <a:cxn ang="0">
                  <a:pos x="574" y="183"/>
                </a:cxn>
                <a:cxn ang="0">
                  <a:pos x="558" y="148"/>
                </a:cxn>
                <a:cxn ang="0">
                  <a:pos x="590" y="156"/>
                </a:cxn>
                <a:cxn ang="0">
                  <a:pos x="650" y="136"/>
                </a:cxn>
                <a:cxn ang="0">
                  <a:pos x="678" y="259"/>
                </a:cxn>
                <a:cxn ang="0">
                  <a:pos x="614" y="124"/>
                </a:cxn>
                <a:cxn ang="0">
                  <a:pos x="215" y="128"/>
                </a:cxn>
                <a:cxn ang="0">
                  <a:pos x="163" y="152"/>
                </a:cxn>
                <a:cxn ang="0">
                  <a:pos x="630" y="144"/>
                </a:cxn>
                <a:cxn ang="0">
                  <a:pos x="470" y="144"/>
                </a:cxn>
                <a:cxn ang="0">
                  <a:pos x="79" y="167"/>
                </a:cxn>
                <a:cxn ang="0">
                  <a:pos x="526" y="164"/>
                </a:cxn>
                <a:cxn ang="0">
                  <a:pos x="315" y="171"/>
                </a:cxn>
                <a:cxn ang="0">
                  <a:pos x="418" y="207"/>
                </a:cxn>
                <a:cxn ang="0">
                  <a:pos x="111" y="211"/>
                </a:cxn>
                <a:cxn ang="0">
                  <a:pos x="191" y="247"/>
                </a:cxn>
                <a:cxn ang="0">
                  <a:pos x="191" y="223"/>
                </a:cxn>
                <a:cxn ang="0">
                  <a:pos x="267" y="243"/>
                </a:cxn>
                <a:cxn ang="0">
                  <a:pos x="243" y="259"/>
                </a:cxn>
                <a:cxn ang="0">
                  <a:pos x="287" y="235"/>
                </a:cxn>
                <a:cxn ang="0">
                  <a:pos x="650" y="263"/>
                </a:cxn>
                <a:cxn ang="0">
                  <a:pos x="414" y="271"/>
                </a:cxn>
                <a:cxn ang="0">
                  <a:pos x="418" y="263"/>
                </a:cxn>
                <a:cxn ang="0">
                  <a:pos x="347" y="259"/>
                </a:cxn>
                <a:cxn ang="0">
                  <a:pos x="319" y="271"/>
                </a:cxn>
                <a:cxn ang="0">
                  <a:pos x="375" y="279"/>
                </a:cxn>
                <a:cxn ang="0">
                  <a:pos x="422" y="311"/>
                </a:cxn>
                <a:cxn ang="0">
                  <a:pos x="426" y="267"/>
                </a:cxn>
                <a:cxn ang="0">
                  <a:pos x="442" y="279"/>
                </a:cxn>
              </a:cxnLst>
              <a:rect l="0" t="0" r="r" b="b"/>
              <a:pathLst>
                <a:path w="694" h="311">
                  <a:moveTo>
                    <a:pt x="123" y="100"/>
                  </a:moveTo>
                  <a:lnTo>
                    <a:pt x="119" y="100"/>
                  </a:lnTo>
                  <a:lnTo>
                    <a:pt x="119" y="96"/>
                  </a:lnTo>
                  <a:lnTo>
                    <a:pt x="123" y="96"/>
                  </a:lnTo>
                  <a:lnTo>
                    <a:pt x="123" y="100"/>
                  </a:lnTo>
                  <a:close/>
                  <a:moveTo>
                    <a:pt x="494" y="167"/>
                  </a:moveTo>
                  <a:lnTo>
                    <a:pt x="490" y="167"/>
                  </a:lnTo>
                  <a:lnTo>
                    <a:pt x="494" y="167"/>
                  </a:lnTo>
                  <a:close/>
                  <a:moveTo>
                    <a:pt x="323" y="171"/>
                  </a:moveTo>
                  <a:lnTo>
                    <a:pt x="323" y="175"/>
                  </a:lnTo>
                  <a:lnTo>
                    <a:pt x="319" y="175"/>
                  </a:lnTo>
                  <a:lnTo>
                    <a:pt x="323" y="171"/>
                  </a:lnTo>
                  <a:close/>
                  <a:moveTo>
                    <a:pt x="478" y="36"/>
                  </a:moveTo>
                  <a:lnTo>
                    <a:pt x="478" y="32"/>
                  </a:lnTo>
                  <a:lnTo>
                    <a:pt x="478" y="28"/>
                  </a:lnTo>
                  <a:lnTo>
                    <a:pt x="482" y="32"/>
                  </a:lnTo>
                  <a:lnTo>
                    <a:pt x="478" y="32"/>
                  </a:lnTo>
                  <a:lnTo>
                    <a:pt x="478" y="36"/>
                  </a:lnTo>
                  <a:close/>
                  <a:moveTo>
                    <a:pt x="343" y="32"/>
                  </a:move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3" y="32"/>
                  </a:lnTo>
                  <a:close/>
                  <a:moveTo>
                    <a:pt x="339" y="36"/>
                  </a:moveTo>
                  <a:lnTo>
                    <a:pt x="343" y="36"/>
                  </a:lnTo>
                  <a:lnTo>
                    <a:pt x="339" y="36"/>
                  </a:lnTo>
                  <a:close/>
                  <a:moveTo>
                    <a:pt x="478" y="40"/>
                  </a:moveTo>
                  <a:lnTo>
                    <a:pt x="474" y="36"/>
                  </a:lnTo>
                  <a:lnTo>
                    <a:pt x="478" y="36"/>
                  </a:lnTo>
                  <a:lnTo>
                    <a:pt x="478" y="40"/>
                  </a:lnTo>
                  <a:close/>
                  <a:moveTo>
                    <a:pt x="466" y="48"/>
                  </a:moveTo>
                  <a:lnTo>
                    <a:pt x="462" y="48"/>
                  </a:lnTo>
                  <a:lnTo>
                    <a:pt x="462" y="44"/>
                  </a:lnTo>
                  <a:lnTo>
                    <a:pt x="462" y="40"/>
                  </a:lnTo>
                  <a:lnTo>
                    <a:pt x="462" y="44"/>
                  </a:lnTo>
                  <a:lnTo>
                    <a:pt x="466" y="48"/>
                  </a:lnTo>
                  <a:close/>
                  <a:moveTo>
                    <a:pt x="335" y="44"/>
                  </a:move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close/>
                  <a:moveTo>
                    <a:pt x="339" y="48"/>
                  </a:moveTo>
                  <a:lnTo>
                    <a:pt x="343" y="48"/>
                  </a:lnTo>
                  <a:lnTo>
                    <a:pt x="339" y="52"/>
                  </a:lnTo>
                  <a:lnTo>
                    <a:pt x="339" y="48"/>
                  </a:lnTo>
                  <a:close/>
                  <a:moveTo>
                    <a:pt x="522" y="116"/>
                  </a:moveTo>
                  <a:lnTo>
                    <a:pt x="518" y="112"/>
                  </a:lnTo>
                  <a:lnTo>
                    <a:pt x="518" y="108"/>
                  </a:lnTo>
                  <a:lnTo>
                    <a:pt x="522" y="112"/>
                  </a:lnTo>
                  <a:lnTo>
                    <a:pt x="522" y="116"/>
                  </a:lnTo>
                  <a:close/>
                  <a:moveTo>
                    <a:pt x="131" y="116"/>
                  </a:moveTo>
                  <a:lnTo>
                    <a:pt x="127" y="116"/>
                  </a:lnTo>
                  <a:lnTo>
                    <a:pt x="131" y="116"/>
                  </a:lnTo>
                  <a:close/>
                  <a:moveTo>
                    <a:pt x="486" y="116"/>
                  </a:moveTo>
                  <a:lnTo>
                    <a:pt x="486" y="120"/>
                  </a:lnTo>
                  <a:lnTo>
                    <a:pt x="482" y="120"/>
                  </a:lnTo>
                  <a:lnTo>
                    <a:pt x="482" y="116"/>
                  </a:lnTo>
                  <a:lnTo>
                    <a:pt x="486" y="116"/>
                  </a:lnTo>
                  <a:close/>
                  <a:moveTo>
                    <a:pt x="406" y="116"/>
                  </a:moveTo>
                  <a:lnTo>
                    <a:pt x="402" y="116"/>
                  </a:lnTo>
                  <a:lnTo>
                    <a:pt x="406" y="116"/>
                  </a:lnTo>
                  <a:close/>
                  <a:moveTo>
                    <a:pt x="406" y="120"/>
                  </a:moveTo>
                  <a:lnTo>
                    <a:pt x="402" y="120"/>
                  </a:lnTo>
                  <a:lnTo>
                    <a:pt x="402" y="116"/>
                  </a:lnTo>
                  <a:lnTo>
                    <a:pt x="406" y="116"/>
                  </a:lnTo>
                  <a:lnTo>
                    <a:pt x="406" y="120"/>
                  </a:lnTo>
                  <a:close/>
                  <a:moveTo>
                    <a:pt x="486" y="120"/>
                  </a:moveTo>
                  <a:lnTo>
                    <a:pt x="486" y="124"/>
                  </a:lnTo>
                  <a:lnTo>
                    <a:pt x="486" y="120"/>
                  </a:lnTo>
                  <a:close/>
                  <a:moveTo>
                    <a:pt x="602" y="128"/>
                  </a:moveTo>
                  <a:lnTo>
                    <a:pt x="602" y="132"/>
                  </a:lnTo>
                  <a:lnTo>
                    <a:pt x="602" y="128"/>
                  </a:lnTo>
                  <a:close/>
                  <a:moveTo>
                    <a:pt x="466" y="148"/>
                  </a:moveTo>
                  <a:lnTo>
                    <a:pt x="466" y="152"/>
                  </a:lnTo>
                  <a:lnTo>
                    <a:pt x="466" y="156"/>
                  </a:lnTo>
                  <a:lnTo>
                    <a:pt x="466" y="152"/>
                  </a:lnTo>
                  <a:lnTo>
                    <a:pt x="466" y="148"/>
                  </a:lnTo>
                  <a:close/>
                  <a:moveTo>
                    <a:pt x="506" y="175"/>
                  </a:moveTo>
                  <a:lnTo>
                    <a:pt x="510" y="175"/>
                  </a:lnTo>
                  <a:lnTo>
                    <a:pt x="506" y="175"/>
                  </a:lnTo>
                  <a:close/>
                  <a:moveTo>
                    <a:pt x="578" y="183"/>
                  </a:moveTo>
                  <a:lnTo>
                    <a:pt x="578" y="187"/>
                  </a:lnTo>
                  <a:lnTo>
                    <a:pt x="582" y="187"/>
                  </a:lnTo>
                  <a:lnTo>
                    <a:pt x="578" y="187"/>
                  </a:lnTo>
                  <a:lnTo>
                    <a:pt x="578" y="183"/>
                  </a:lnTo>
                  <a:close/>
                  <a:moveTo>
                    <a:pt x="574" y="207"/>
                  </a:moveTo>
                  <a:lnTo>
                    <a:pt x="574" y="211"/>
                  </a:lnTo>
                  <a:lnTo>
                    <a:pt x="574" y="215"/>
                  </a:lnTo>
                  <a:lnTo>
                    <a:pt x="570" y="219"/>
                  </a:lnTo>
                  <a:lnTo>
                    <a:pt x="570" y="215"/>
                  </a:lnTo>
                  <a:lnTo>
                    <a:pt x="574" y="211"/>
                  </a:lnTo>
                  <a:lnTo>
                    <a:pt x="574" y="207"/>
                  </a:lnTo>
                  <a:close/>
                  <a:moveTo>
                    <a:pt x="570" y="215"/>
                  </a:moveTo>
                  <a:lnTo>
                    <a:pt x="570" y="219"/>
                  </a:lnTo>
                  <a:lnTo>
                    <a:pt x="566" y="219"/>
                  </a:lnTo>
                  <a:lnTo>
                    <a:pt x="566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0" y="215"/>
                  </a:lnTo>
                  <a:close/>
                  <a:moveTo>
                    <a:pt x="590" y="219"/>
                  </a:moveTo>
                  <a:lnTo>
                    <a:pt x="590" y="223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0" y="223"/>
                  </a:lnTo>
                  <a:lnTo>
                    <a:pt x="590" y="219"/>
                  </a:lnTo>
                  <a:close/>
                  <a:moveTo>
                    <a:pt x="594" y="223"/>
                  </a:moveTo>
                  <a:lnTo>
                    <a:pt x="598" y="227"/>
                  </a:lnTo>
                  <a:lnTo>
                    <a:pt x="594" y="227"/>
                  </a:lnTo>
                  <a:lnTo>
                    <a:pt x="594" y="223"/>
                  </a:lnTo>
                  <a:close/>
                  <a:moveTo>
                    <a:pt x="602" y="223"/>
                  </a:moveTo>
                  <a:lnTo>
                    <a:pt x="602" y="227"/>
                  </a:lnTo>
                  <a:lnTo>
                    <a:pt x="602" y="223"/>
                  </a:lnTo>
                  <a:close/>
                  <a:moveTo>
                    <a:pt x="598" y="231"/>
                  </a:moveTo>
                  <a:lnTo>
                    <a:pt x="598" y="235"/>
                  </a:lnTo>
                  <a:lnTo>
                    <a:pt x="598" y="231"/>
                  </a:lnTo>
                  <a:close/>
                  <a:moveTo>
                    <a:pt x="658" y="231"/>
                  </a:moveTo>
                  <a:lnTo>
                    <a:pt x="658" y="235"/>
                  </a:lnTo>
                  <a:lnTo>
                    <a:pt x="662" y="235"/>
                  </a:lnTo>
                  <a:lnTo>
                    <a:pt x="658" y="235"/>
                  </a:lnTo>
                  <a:lnTo>
                    <a:pt x="658" y="231"/>
                  </a:lnTo>
                  <a:close/>
                  <a:moveTo>
                    <a:pt x="506" y="239"/>
                  </a:moveTo>
                  <a:lnTo>
                    <a:pt x="506" y="243"/>
                  </a:lnTo>
                  <a:lnTo>
                    <a:pt x="506" y="239"/>
                  </a:lnTo>
                  <a:close/>
                  <a:moveTo>
                    <a:pt x="558" y="239"/>
                  </a:moveTo>
                  <a:lnTo>
                    <a:pt x="558" y="243"/>
                  </a:lnTo>
                  <a:lnTo>
                    <a:pt x="558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391" y="243"/>
                  </a:moveTo>
                  <a:lnTo>
                    <a:pt x="387" y="243"/>
                  </a:lnTo>
                  <a:lnTo>
                    <a:pt x="391" y="243"/>
                  </a:lnTo>
                  <a:close/>
                  <a:moveTo>
                    <a:pt x="542" y="247"/>
                  </a:moveTo>
                  <a:lnTo>
                    <a:pt x="546" y="243"/>
                  </a:lnTo>
                  <a:lnTo>
                    <a:pt x="546" y="247"/>
                  </a:lnTo>
                  <a:lnTo>
                    <a:pt x="542" y="247"/>
                  </a:lnTo>
                  <a:close/>
                  <a:moveTo>
                    <a:pt x="490" y="247"/>
                  </a:moveTo>
                  <a:lnTo>
                    <a:pt x="486" y="251"/>
                  </a:lnTo>
                  <a:lnTo>
                    <a:pt x="486" y="247"/>
                  </a:lnTo>
                  <a:lnTo>
                    <a:pt x="490" y="247"/>
                  </a:lnTo>
                  <a:close/>
                  <a:moveTo>
                    <a:pt x="538" y="263"/>
                  </a:moveTo>
                  <a:lnTo>
                    <a:pt x="542" y="259"/>
                  </a:lnTo>
                  <a:lnTo>
                    <a:pt x="546" y="259"/>
                  </a:lnTo>
                  <a:lnTo>
                    <a:pt x="542" y="259"/>
                  </a:lnTo>
                  <a:lnTo>
                    <a:pt x="542" y="263"/>
                  </a:lnTo>
                  <a:lnTo>
                    <a:pt x="538" y="263"/>
                  </a:lnTo>
                  <a:close/>
                  <a:moveTo>
                    <a:pt x="311" y="271"/>
                  </a:moveTo>
                  <a:lnTo>
                    <a:pt x="307" y="271"/>
                  </a:lnTo>
                  <a:lnTo>
                    <a:pt x="307" y="267"/>
                  </a:lnTo>
                  <a:lnTo>
                    <a:pt x="311" y="267"/>
                  </a:lnTo>
                  <a:lnTo>
                    <a:pt x="311" y="271"/>
                  </a:lnTo>
                  <a:close/>
                  <a:moveTo>
                    <a:pt x="426" y="295"/>
                  </a:moveTo>
                  <a:lnTo>
                    <a:pt x="430" y="295"/>
                  </a:lnTo>
                  <a:lnTo>
                    <a:pt x="426" y="299"/>
                  </a:lnTo>
                  <a:lnTo>
                    <a:pt x="426" y="295"/>
                  </a:lnTo>
                  <a:close/>
                  <a:moveTo>
                    <a:pt x="4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127" y="124"/>
                  </a:moveTo>
                  <a:lnTo>
                    <a:pt x="127" y="128"/>
                  </a:lnTo>
                  <a:lnTo>
                    <a:pt x="131" y="128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9" y="132"/>
                  </a:lnTo>
                  <a:lnTo>
                    <a:pt x="139" y="136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43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43" y="156"/>
                  </a:lnTo>
                  <a:lnTo>
                    <a:pt x="143" y="160"/>
                  </a:lnTo>
                  <a:lnTo>
                    <a:pt x="143" y="156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7" y="167"/>
                  </a:lnTo>
                  <a:lnTo>
                    <a:pt x="163" y="167"/>
                  </a:lnTo>
                  <a:lnTo>
                    <a:pt x="163" y="171"/>
                  </a:lnTo>
                  <a:lnTo>
                    <a:pt x="163" y="175"/>
                  </a:lnTo>
                  <a:lnTo>
                    <a:pt x="163" y="179"/>
                  </a:lnTo>
                  <a:lnTo>
                    <a:pt x="163" y="183"/>
                  </a:lnTo>
                  <a:lnTo>
                    <a:pt x="163" y="187"/>
                  </a:lnTo>
                  <a:lnTo>
                    <a:pt x="163" y="191"/>
                  </a:lnTo>
                  <a:lnTo>
                    <a:pt x="163" y="195"/>
                  </a:lnTo>
                  <a:lnTo>
                    <a:pt x="163" y="199"/>
                  </a:lnTo>
                  <a:lnTo>
                    <a:pt x="163" y="203"/>
                  </a:lnTo>
                  <a:lnTo>
                    <a:pt x="163" y="211"/>
                  </a:lnTo>
                  <a:lnTo>
                    <a:pt x="163" y="215"/>
                  </a:lnTo>
                  <a:lnTo>
                    <a:pt x="159" y="215"/>
                  </a:lnTo>
                  <a:lnTo>
                    <a:pt x="159" y="219"/>
                  </a:lnTo>
                  <a:lnTo>
                    <a:pt x="159" y="215"/>
                  </a:lnTo>
                  <a:lnTo>
                    <a:pt x="155" y="211"/>
                  </a:lnTo>
                  <a:lnTo>
                    <a:pt x="155" y="207"/>
                  </a:lnTo>
                  <a:lnTo>
                    <a:pt x="151" y="207"/>
                  </a:lnTo>
                  <a:lnTo>
                    <a:pt x="151" y="211"/>
                  </a:lnTo>
                  <a:lnTo>
                    <a:pt x="151" y="215"/>
                  </a:lnTo>
                  <a:lnTo>
                    <a:pt x="147" y="215"/>
                  </a:lnTo>
                  <a:lnTo>
                    <a:pt x="147" y="211"/>
                  </a:lnTo>
                  <a:lnTo>
                    <a:pt x="143" y="211"/>
                  </a:lnTo>
                  <a:lnTo>
                    <a:pt x="143" y="215"/>
                  </a:lnTo>
                  <a:lnTo>
                    <a:pt x="143" y="219"/>
                  </a:lnTo>
                  <a:lnTo>
                    <a:pt x="143" y="215"/>
                  </a:lnTo>
                  <a:lnTo>
                    <a:pt x="139" y="215"/>
                  </a:lnTo>
                  <a:lnTo>
                    <a:pt x="139" y="211"/>
                  </a:lnTo>
                  <a:lnTo>
                    <a:pt x="135" y="211"/>
                  </a:lnTo>
                  <a:lnTo>
                    <a:pt x="135" y="207"/>
                  </a:lnTo>
                  <a:lnTo>
                    <a:pt x="131" y="203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3" y="199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15" y="187"/>
                  </a:lnTo>
                  <a:lnTo>
                    <a:pt x="111" y="187"/>
                  </a:lnTo>
                  <a:lnTo>
                    <a:pt x="111" y="183"/>
                  </a:lnTo>
                  <a:lnTo>
                    <a:pt x="107" y="183"/>
                  </a:lnTo>
                  <a:lnTo>
                    <a:pt x="107" y="179"/>
                  </a:lnTo>
                  <a:lnTo>
                    <a:pt x="107" y="175"/>
                  </a:lnTo>
                  <a:lnTo>
                    <a:pt x="103" y="175"/>
                  </a:lnTo>
                  <a:lnTo>
                    <a:pt x="103" y="171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5" y="164"/>
                  </a:lnTo>
                  <a:lnTo>
                    <a:pt x="95" y="160"/>
                  </a:lnTo>
                  <a:lnTo>
                    <a:pt x="91" y="160"/>
                  </a:lnTo>
                  <a:lnTo>
                    <a:pt x="91" y="156"/>
                  </a:lnTo>
                  <a:lnTo>
                    <a:pt x="87" y="156"/>
                  </a:lnTo>
                  <a:lnTo>
                    <a:pt x="87" y="152"/>
                  </a:lnTo>
                  <a:lnTo>
                    <a:pt x="87" y="148"/>
                  </a:lnTo>
                  <a:lnTo>
                    <a:pt x="87" y="144"/>
                  </a:lnTo>
                  <a:lnTo>
                    <a:pt x="83" y="140"/>
                  </a:lnTo>
                  <a:lnTo>
                    <a:pt x="83" y="136"/>
                  </a:lnTo>
                  <a:lnTo>
                    <a:pt x="79" y="132"/>
                  </a:lnTo>
                  <a:lnTo>
                    <a:pt x="79" y="128"/>
                  </a:lnTo>
                  <a:lnTo>
                    <a:pt x="79" y="124"/>
                  </a:lnTo>
                  <a:lnTo>
                    <a:pt x="75" y="124"/>
                  </a:lnTo>
                  <a:lnTo>
                    <a:pt x="75" y="120"/>
                  </a:lnTo>
                  <a:lnTo>
                    <a:pt x="71" y="120"/>
                  </a:lnTo>
                  <a:lnTo>
                    <a:pt x="71" y="116"/>
                  </a:lnTo>
                  <a:lnTo>
                    <a:pt x="71" y="112"/>
                  </a:lnTo>
                  <a:lnTo>
                    <a:pt x="67" y="108"/>
                  </a:lnTo>
                  <a:lnTo>
                    <a:pt x="63" y="104"/>
                  </a:lnTo>
                  <a:lnTo>
                    <a:pt x="63" y="108"/>
                  </a:lnTo>
                  <a:lnTo>
                    <a:pt x="59" y="104"/>
                  </a:lnTo>
                  <a:lnTo>
                    <a:pt x="59" y="100"/>
                  </a:lnTo>
                  <a:lnTo>
                    <a:pt x="59" y="96"/>
                  </a:lnTo>
                  <a:lnTo>
                    <a:pt x="59" y="92"/>
                  </a:lnTo>
                  <a:lnTo>
                    <a:pt x="55" y="88"/>
                  </a:lnTo>
                  <a:lnTo>
                    <a:pt x="55" y="84"/>
                  </a:lnTo>
                  <a:lnTo>
                    <a:pt x="55" y="80"/>
                  </a:lnTo>
                  <a:lnTo>
                    <a:pt x="55" y="76"/>
                  </a:lnTo>
                  <a:lnTo>
                    <a:pt x="51" y="76"/>
                  </a:lnTo>
                  <a:lnTo>
                    <a:pt x="51" y="72"/>
                  </a:lnTo>
                  <a:lnTo>
                    <a:pt x="47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40"/>
                  </a:lnTo>
                  <a:lnTo>
                    <a:pt x="55" y="44"/>
                  </a:lnTo>
                  <a:lnTo>
                    <a:pt x="59" y="44"/>
                  </a:lnTo>
                  <a:lnTo>
                    <a:pt x="63" y="44"/>
                  </a:lnTo>
                  <a:lnTo>
                    <a:pt x="67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71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1" y="60"/>
                  </a:lnTo>
                  <a:lnTo>
                    <a:pt x="75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9" y="64"/>
                  </a:lnTo>
                  <a:lnTo>
                    <a:pt x="79" y="68"/>
                  </a:lnTo>
                  <a:lnTo>
                    <a:pt x="83" y="72"/>
                  </a:lnTo>
                  <a:lnTo>
                    <a:pt x="87" y="72"/>
                  </a:lnTo>
                  <a:lnTo>
                    <a:pt x="87" y="76"/>
                  </a:lnTo>
                  <a:lnTo>
                    <a:pt x="87" y="72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1" y="72"/>
                  </a:lnTo>
                  <a:lnTo>
                    <a:pt x="95" y="72"/>
                  </a:lnTo>
                  <a:lnTo>
                    <a:pt x="95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103" y="80"/>
                  </a:lnTo>
                  <a:lnTo>
                    <a:pt x="103" y="84"/>
                  </a:lnTo>
                  <a:lnTo>
                    <a:pt x="107" y="84"/>
                  </a:lnTo>
                  <a:lnTo>
                    <a:pt x="107" y="88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15" y="104"/>
                  </a:lnTo>
                  <a:lnTo>
                    <a:pt x="111" y="108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5" y="108"/>
                  </a:lnTo>
                  <a:lnTo>
                    <a:pt x="115" y="104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27" y="112"/>
                  </a:lnTo>
                  <a:lnTo>
                    <a:pt x="127" y="116"/>
                  </a:lnTo>
                  <a:lnTo>
                    <a:pt x="123" y="116"/>
                  </a:lnTo>
                  <a:lnTo>
                    <a:pt x="127" y="116"/>
                  </a:lnTo>
                  <a:lnTo>
                    <a:pt x="127" y="120"/>
                  </a:lnTo>
                  <a:lnTo>
                    <a:pt x="123" y="120"/>
                  </a:lnTo>
                  <a:lnTo>
                    <a:pt x="123" y="124"/>
                  </a:lnTo>
                  <a:lnTo>
                    <a:pt x="127" y="124"/>
                  </a:lnTo>
                  <a:close/>
                  <a:moveTo>
                    <a:pt x="219" y="72"/>
                  </a:moveTo>
                  <a:lnTo>
                    <a:pt x="219" y="76"/>
                  </a:lnTo>
                  <a:lnTo>
                    <a:pt x="219" y="80"/>
                  </a:lnTo>
                  <a:lnTo>
                    <a:pt x="223" y="84"/>
                  </a:lnTo>
                  <a:lnTo>
                    <a:pt x="223" y="88"/>
                  </a:lnTo>
                  <a:lnTo>
                    <a:pt x="227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9" y="92"/>
                  </a:lnTo>
                  <a:lnTo>
                    <a:pt x="243" y="92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84"/>
                  </a:lnTo>
                  <a:lnTo>
                    <a:pt x="263" y="80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5" y="84"/>
                  </a:lnTo>
                  <a:lnTo>
                    <a:pt x="279" y="88"/>
                  </a:lnTo>
                  <a:lnTo>
                    <a:pt x="283" y="88"/>
                  </a:lnTo>
                  <a:lnTo>
                    <a:pt x="283" y="84"/>
                  </a:lnTo>
                  <a:lnTo>
                    <a:pt x="287" y="84"/>
                  </a:lnTo>
                  <a:lnTo>
                    <a:pt x="291" y="84"/>
                  </a:lnTo>
                  <a:lnTo>
                    <a:pt x="295" y="84"/>
                  </a:lnTo>
                  <a:lnTo>
                    <a:pt x="295" y="80"/>
                  </a:lnTo>
                  <a:lnTo>
                    <a:pt x="295" y="76"/>
                  </a:lnTo>
                  <a:lnTo>
                    <a:pt x="299" y="76"/>
                  </a:lnTo>
                  <a:lnTo>
                    <a:pt x="299" y="72"/>
                  </a:lnTo>
                  <a:lnTo>
                    <a:pt x="299" y="68"/>
                  </a:lnTo>
                  <a:lnTo>
                    <a:pt x="303" y="64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07" y="52"/>
                  </a:lnTo>
                  <a:lnTo>
                    <a:pt x="307" y="48"/>
                  </a:lnTo>
                  <a:lnTo>
                    <a:pt x="311" y="48"/>
                  </a:lnTo>
                  <a:lnTo>
                    <a:pt x="311" y="44"/>
                  </a:lnTo>
                  <a:lnTo>
                    <a:pt x="311" y="40"/>
                  </a:lnTo>
                  <a:lnTo>
                    <a:pt x="311" y="36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5" y="28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31" y="32"/>
                  </a:lnTo>
                  <a:lnTo>
                    <a:pt x="335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9" y="32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39" y="40"/>
                  </a:lnTo>
                  <a:lnTo>
                    <a:pt x="343" y="40"/>
                  </a:lnTo>
                  <a:lnTo>
                    <a:pt x="343" y="44"/>
                  </a:lnTo>
                  <a:lnTo>
                    <a:pt x="339" y="44"/>
                  </a:lnTo>
                  <a:lnTo>
                    <a:pt x="335" y="44"/>
                  </a:lnTo>
                  <a:lnTo>
                    <a:pt x="331" y="44"/>
                  </a:lnTo>
                  <a:lnTo>
                    <a:pt x="335" y="44"/>
                  </a:lnTo>
                  <a:lnTo>
                    <a:pt x="335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52"/>
                  </a:lnTo>
                  <a:lnTo>
                    <a:pt x="339" y="52"/>
                  </a:lnTo>
                  <a:lnTo>
                    <a:pt x="343" y="56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47" y="68"/>
                  </a:lnTo>
                  <a:lnTo>
                    <a:pt x="347" y="72"/>
                  </a:lnTo>
                  <a:lnTo>
                    <a:pt x="343" y="72"/>
                  </a:lnTo>
                  <a:lnTo>
                    <a:pt x="343" y="76"/>
                  </a:lnTo>
                  <a:lnTo>
                    <a:pt x="347" y="80"/>
                  </a:lnTo>
                  <a:lnTo>
                    <a:pt x="351" y="80"/>
                  </a:lnTo>
                  <a:lnTo>
                    <a:pt x="351" y="84"/>
                  </a:lnTo>
                  <a:lnTo>
                    <a:pt x="355" y="84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63" y="92"/>
                  </a:lnTo>
                  <a:lnTo>
                    <a:pt x="359" y="92"/>
                  </a:lnTo>
                  <a:lnTo>
                    <a:pt x="359" y="96"/>
                  </a:lnTo>
                  <a:lnTo>
                    <a:pt x="355" y="96"/>
                  </a:lnTo>
                  <a:lnTo>
                    <a:pt x="351" y="96"/>
                  </a:lnTo>
                  <a:lnTo>
                    <a:pt x="347" y="92"/>
                  </a:lnTo>
                  <a:lnTo>
                    <a:pt x="347" y="88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47" y="96"/>
                  </a:lnTo>
                  <a:lnTo>
                    <a:pt x="343" y="96"/>
                  </a:lnTo>
                  <a:lnTo>
                    <a:pt x="343" y="100"/>
                  </a:lnTo>
                  <a:lnTo>
                    <a:pt x="339" y="100"/>
                  </a:lnTo>
                  <a:lnTo>
                    <a:pt x="339" y="104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lnTo>
                    <a:pt x="331" y="132"/>
                  </a:lnTo>
                  <a:lnTo>
                    <a:pt x="327" y="132"/>
                  </a:lnTo>
                  <a:lnTo>
                    <a:pt x="327" y="128"/>
                  </a:lnTo>
                  <a:lnTo>
                    <a:pt x="327" y="132"/>
                  </a:lnTo>
                  <a:lnTo>
                    <a:pt x="327" y="136"/>
                  </a:lnTo>
                  <a:lnTo>
                    <a:pt x="323" y="136"/>
                  </a:lnTo>
                  <a:lnTo>
                    <a:pt x="323" y="140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23" y="144"/>
                  </a:lnTo>
                  <a:lnTo>
                    <a:pt x="323" y="148"/>
                  </a:lnTo>
                  <a:lnTo>
                    <a:pt x="319" y="148"/>
                  </a:lnTo>
                  <a:lnTo>
                    <a:pt x="323" y="152"/>
                  </a:lnTo>
                  <a:lnTo>
                    <a:pt x="323" y="148"/>
                  </a:lnTo>
                  <a:lnTo>
                    <a:pt x="323" y="152"/>
                  </a:lnTo>
                  <a:lnTo>
                    <a:pt x="327" y="152"/>
                  </a:lnTo>
                  <a:lnTo>
                    <a:pt x="323" y="152"/>
                  </a:lnTo>
                  <a:lnTo>
                    <a:pt x="323" y="156"/>
                  </a:lnTo>
                  <a:lnTo>
                    <a:pt x="319" y="156"/>
                  </a:lnTo>
                  <a:lnTo>
                    <a:pt x="323" y="160"/>
                  </a:lnTo>
                  <a:lnTo>
                    <a:pt x="323" y="164"/>
                  </a:lnTo>
                  <a:lnTo>
                    <a:pt x="319" y="164"/>
                  </a:lnTo>
                  <a:lnTo>
                    <a:pt x="319" y="160"/>
                  </a:lnTo>
                  <a:lnTo>
                    <a:pt x="319" y="164"/>
                  </a:lnTo>
                  <a:lnTo>
                    <a:pt x="319" y="167"/>
                  </a:lnTo>
                  <a:lnTo>
                    <a:pt x="319" y="171"/>
                  </a:lnTo>
                  <a:lnTo>
                    <a:pt x="315" y="171"/>
                  </a:lnTo>
                  <a:lnTo>
                    <a:pt x="315" y="175"/>
                  </a:lnTo>
                  <a:lnTo>
                    <a:pt x="311" y="175"/>
                  </a:lnTo>
                  <a:lnTo>
                    <a:pt x="311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303" y="183"/>
                  </a:lnTo>
                  <a:lnTo>
                    <a:pt x="299" y="183"/>
                  </a:lnTo>
                  <a:lnTo>
                    <a:pt x="295" y="187"/>
                  </a:lnTo>
                  <a:lnTo>
                    <a:pt x="295" y="183"/>
                  </a:lnTo>
                  <a:lnTo>
                    <a:pt x="295" y="179"/>
                  </a:lnTo>
                  <a:lnTo>
                    <a:pt x="295" y="175"/>
                  </a:lnTo>
                  <a:lnTo>
                    <a:pt x="291" y="175"/>
                  </a:lnTo>
                  <a:lnTo>
                    <a:pt x="291" y="171"/>
                  </a:lnTo>
                  <a:lnTo>
                    <a:pt x="287" y="171"/>
                  </a:lnTo>
                  <a:lnTo>
                    <a:pt x="283" y="171"/>
                  </a:lnTo>
                  <a:lnTo>
                    <a:pt x="279" y="171"/>
                  </a:lnTo>
                  <a:lnTo>
                    <a:pt x="279" y="167"/>
                  </a:lnTo>
                  <a:lnTo>
                    <a:pt x="275" y="167"/>
                  </a:lnTo>
                  <a:lnTo>
                    <a:pt x="271" y="167"/>
                  </a:lnTo>
                  <a:lnTo>
                    <a:pt x="271" y="164"/>
                  </a:lnTo>
                  <a:lnTo>
                    <a:pt x="271" y="167"/>
                  </a:lnTo>
                  <a:lnTo>
                    <a:pt x="267" y="171"/>
                  </a:lnTo>
                  <a:lnTo>
                    <a:pt x="263" y="171"/>
                  </a:lnTo>
                  <a:lnTo>
                    <a:pt x="259" y="171"/>
                  </a:lnTo>
                  <a:lnTo>
                    <a:pt x="255" y="171"/>
                  </a:lnTo>
                  <a:lnTo>
                    <a:pt x="255" y="175"/>
                  </a:lnTo>
                  <a:lnTo>
                    <a:pt x="251" y="175"/>
                  </a:lnTo>
                  <a:lnTo>
                    <a:pt x="251" y="171"/>
                  </a:lnTo>
                  <a:lnTo>
                    <a:pt x="251" y="167"/>
                  </a:lnTo>
                  <a:lnTo>
                    <a:pt x="251" y="164"/>
                  </a:lnTo>
                  <a:lnTo>
                    <a:pt x="251" y="160"/>
                  </a:lnTo>
                  <a:lnTo>
                    <a:pt x="251" y="164"/>
                  </a:lnTo>
                  <a:lnTo>
                    <a:pt x="247" y="164"/>
                  </a:lnTo>
                  <a:lnTo>
                    <a:pt x="243" y="164"/>
                  </a:lnTo>
                  <a:lnTo>
                    <a:pt x="243" y="167"/>
                  </a:lnTo>
                  <a:lnTo>
                    <a:pt x="239" y="167"/>
                  </a:lnTo>
                  <a:lnTo>
                    <a:pt x="235" y="164"/>
                  </a:lnTo>
                  <a:lnTo>
                    <a:pt x="239" y="164"/>
                  </a:lnTo>
                  <a:lnTo>
                    <a:pt x="235" y="164"/>
                  </a:lnTo>
                  <a:lnTo>
                    <a:pt x="235" y="167"/>
                  </a:lnTo>
                  <a:lnTo>
                    <a:pt x="235" y="164"/>
                  </a:lnTo>
                  <a:lnTo>
                    <a:pt x="231" y="164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27" y="156"/>
                  </a:lnTo>
                  <a:lnTo>
                    <a:pt x="227" y="152"/>
                  </a:lnTo>
                  <a:lnTo>
                    <a:pt x="227" y="148"/>
                  </a:lnTo>
                  <a:lnTo>
                    <a:pt x="227" y="144"/>
                  </a:lnTo>
                  <a:lnTo>
                    <a:pt x="223" y="144"/>
                  </a:lnTo>
                  <a:lnTo>
                    <a:pt x="223" y="140"/>
                  </a:lnTo>
                  <a:lnTo>
                    <a:pt x="227" y="140"/>
                  </a:lnTo>
                  <a:lnTo>
                    <a:pt x="227" y="136"/>
                  </a:lnTo>
                  <a:lnTo>
                    <a:pt x="227" y="132"/>
                  </a:lnTo>
                  <a:lnTo>
                    <a:pt x="223" y="132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5" y="124"/>
                  </a:lnTo>
                  <a:lnTo>
                    <a:pt x="215" y="128"/>
                  </a:lnTo>
                  <a:lnTo>
                    <a:pt x="215" y="124"/>
                  </a:lnTo>
                  <a:lnTo>
                    <a:pt x="219" y="124"/>
                  </a:lnTo>
                  <a:lnTo>
                    <a:pt x="215" y="120"/>
                  </a:lnTo>
                  <a:lnTo>
                    <a:pt x="211" y="120"/>
                  </a:lnTo>
                  <a:lnTo>
                    <a:pt x="211" y="116"/>
                  </a:lnTo>
                  <a:lnTo>
                    <a:pt x="211" y="112"/>
                  </a:lnTo>
                  <a:lnTo>
                    <a:pt x="211" y="108"/>
                  </a:lnTo>
                  <a:lnTo>
                    <a:pt x="211" y="104"/>
                  </a:lnTo>
                  <a:lnTo>
                    <a:pt x="207" y="104"/>
                  </a:lnTo>
                  <a:lnTo>
                    <a:pt x="207" y="100"/>
                  </a:lnTo>
                  <a:lnTo>
                    <a:pt x="207" y="96"/>
                  </a:lnTo>
                  <a:lnTo>
                    <a:pt x="207" y="92"/>
                  </a:lnTo>
                  <a:lnTo>
                    <a:pt x="211" y="92"/>
                  </a:lnTo>
                  <a:lnTo>
                    <a:pt x="207" y="92"/>
                  </a:lnTo>
                  <a:lnTo>
                    <a:pt x="207" y="88"/>
                  </a:lnTo>
                  <a:lnTo>
                    <a:pt x="211" y="88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8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15" y="80"/>
                  </a:lnTo>
                  <a:lnTo>
                    <a:pt x="215" y="76"/>
                  </a:lnTo>
                  <a:lnTo>
                    <a:pt x="219" y="72"/>
                  </a:lnTo>
                  <a:close/>
                  <a:moveTo>
                    <a:pt x="195" y="40"/>
                  </a:moveTo>
                  <a:lnTo>
                    <a:pt x="195" y="36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195" y="44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195" y="40"/>
                  </a:lnTo>
                  <a:close/>
                  <a:moveTo>
                    <a:pt x="159" y="56"/>
                  </a:moveTo>
                  <a:lnTo>
                    <a:pt x="159" y="52"/>
                  </a:lnTo>
                  <a:lnTo>
                    <a:pt x="163" y="56"/>
                  </a:lnTo>
                  <a:lnTo>
                    <a:pt x="159" y="56"/>
                  </a:lnTo>
                  <a:lnTo>
                    <a:pt x="159" y="60"/>
                  </a:lnTo>
                  <a:lnTo>
                    <a:pt x="159" y="56"/>
                  </a:lnTo>
                  <a:close/>
                  <a:moveTo>
                    <a:pt x="20" y="68"/>
                  </a:moveTo>
                  <a:lnTo>
                    <a:pt x="16" y="68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close/>
                  <a:moveTo>
                    <a:pt x="502" y="72"/>
                  </a:moveTo>
                  <a:lnTo>
                    <a:pt x="502" y="68"/>
                  </a:lnTo>
                  <a:lnTo>
                    <a:pt x="502" y="64"/>
                  </a:lnTo>
                  <a:lnTo>
                    <a:pt x="506" y="60"/>
                  </a:lnTo>
                  <a:lnTo>
                    <a:pt x="506" y="64"/>
                  </a:lnTo>
                  <a:lnTo>
                    <a:pt x="506" y="68"/>
                  </a:lnTo>
                  <a:lnTo>
                    <a:pt x="506" y="72"/>
                  </a:lnTo>
                  <a:lnTo>
                    <a:pt x="502" y="72"/>
                  </a:lnTo>
                  <a:close/>
                  <a:moveTo>
                    <a:pt x="32" y="72"/>
                  </a:moveTo>
                  <a:lnTo>
                    <a:pt x="32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72"/>
                  </a:lnTo>
                  <a:close/>
                  <a:moveTo>
                    <a:pt x="494" y="120"/>
                  </a:moveTo>
                  <a:lnTo>
                    <a:pt x="494" y="116"/>
                  </a:lnTo>
                  <a:lnTo>
                    <a:pt x="490" y="112"/>
                  </a:lnTo>
                  <a:lnTo>
                    <a:pt x="494" y="112"/>
                  </a:lnTo>
                  <a:lnTo>
                    <a:pt x="494" y="108"/>
                  </a:lnTo>
                  <a:lnTo>
                    <a:pt x="490" y="104"/>
                  </a:lnTo>
                  <a:lnTo>
                    <a:pt x="490" y="100"/>
                  </a:lnTo>
                  <a:lnTo>
                    <a:pt x="490" y="96"/>
                  </a:lnTo>
                  <a:lnTo>
                    <a:pt x="490" y="92"/>
                  </a:lnTo>
                  <a:lnTo>
                    <a:pt x="486" y="92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84"/>
                  </a:lnTo>
                  <a:lnTo>
                    <a:pt x="490" y="80"/>
                  </a:lnTo>
                  <a:lnTo>
                    <a:pt x="490" y="76"/>
                  </a:lnTo>
                  <a:lnTo>
                    <a:pt x="494" y="76"/>
                  </a:lnTo>
                  <a:lnTo>
                    <a:pt x="494" y="72"/>
                  </a:lnTo>
                  <a:lnTo>
                    <a:pt x="498" y="68"/>
                  </a:lnTo>
                  <a:lnTo>
                    <a:pt x="498" y="72"/>
                  </a:lnTo>
                  <a:lnTo>
                    <a:pt x="494" y="76"/>
                  </a:lnTo>
                  <a:lnTo>
                    <a:pt x="498" y="76"/>
                  </a:lnTo>
                  <a:lnTo>
                    <a:pt x="498" y="80"/>
                  </a:lnTo>
                  <a:lnTo>
                    <a:pt x="498" y="84"/>
                  </a:lnTo>
                  <a:lnTo>
                    <a:pt x="494" y="88"/>
                  </a:lnTo>
                  <a:lnTo>
                    <a:pt x="490" y="92"/>
                  </a:lnTo>
                  <a:lnTo>
                    <a:pt x="494" y="96"/>
                  </a:lnTo>
                  <a:lnTo>
                    <a:pt x="494" y="92"/>
                  </a:lnTo>
                  <a:lnTo>
                    <a:pt x="498" y="92"/>
                  </a:lnTo>
                  <a:lnTo>
                    <a:pt x="498" y="88"/>
                  </a:lnTo>
                  <a:lnTo>
                    <a:pt x="498" y="84"/>
                  </a:lnTo>
                  <a:lnTo>
                    <a:pt x="502" y="84"/>
                  </a:lnTo>
                  <a:lnTo>
                    <a:pt x="502" y="80"/>
                  </a:lnTo>
                  <a:lnTo>
                    <a:pt x="506" y="80"/>
                  </a:lnTo>
                  <a:lnTo>
                    <a:pt x="506" y="88"/>
                  </a:lnTo>
                  <a:lnTo>
                    <a:pt x="506" y="92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2" y="100"/>
                  </a:lnTo>
                  <a:lnTo>
                    <a:pt x="506" y="100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0" y="108"/>
                  </a:lnTo>
                  <a:lnTo>
                    <a:pt x="510" y="104"/>
                  </a:lnTo>
                  <a:lnTo>
                    <a:pt x="506" y="104"/>
                  </a:lnTo>
                  <a:lnTo>
                    <a:pt x="502" y="104"/>
                  </a:lnTo>
                  <a:lnTo>
                    <a:pt x="498" y="104"/>
                  </a:lnTo>
                  <a:lnTo>
                    <a:pt x="498" y="100"/>
                  </a:lnTo>
                  <a:lnTo>
                    <a:pt x="494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8" y="116"/>
                  </a:lnTo>
                  <a:lnTo>
                    <a:pt x="498" y="120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24"/>
                  </a:lnTo>
                  <a:lnTo>
                    <a:pt x="498" y="124"/>
                  </a:lnTo>
                  <a:lnTo>
                    <a:pt x="498" y="120"/>
                  </a:lnTo>
                  <a:lnTo>
                    <a:pt x="494" y="120"/>
                  </a:lnTo>
                  <a:close/>
                  <a:moveTo>
                    <a:pt x="99" y="76"/>
                  </a:moveTo>
                  <a:lnTo>
                    <a:pt x="99" y="80"/>
                  </a:lnTo>
                  <a:lnTo>
                    <a:pt x="95" y="80"/>
                  </a:lnTo>
                  <a:lnTo>
                    <a:pt x="95" y="76"/>
                  </a:lnTo>
                  <a:lnTo>
                    <a:pt x="95" y="72"/>
                  </a:lnTo>
                  <a:lnTo>
                    <a:pt x="99" y="72"/>
                  </a:lnTo>
                  <a:lnTo>
                    <a:pt x="99" y="76"/>
                  </a:lnTo>
                  <a:close/>
                  <a:moveTo>
                    <a:pt x="426" y="128"/>
                  </a:moveTo>
                  <a:lnTo>
                    <a:pt x="422" y="128"/>
                  </a:lnTo>
                  <a:lnTo>
                    <a:pt x="418" y="128"/>
                  </a:lnTo>
                  <a:lnTo>
                    <a:pt x="418" y="132"/>
                  </a:lnTo>
                  <a:lnTo>
                    <a:pt x="414" y="132"/>
                  </a:lnTo>
                  <a:lnTo>
                    <a:pt x="414" y="136"/>
                  </a:lnTo>
                  <a:lnTo>
                    <a:pt x="410" y="136"/>
                  </a:lnTo>
                  <a:lnTo>
                    <a:pt x="410" y="140"/>
                  </a:lnTo>
                  <a:lnTo>
                    <a:pt x="406" y="140"/>
                  </a:lnTo>
                  <a:lnTo>
                    <a:pt x="402" y="140"/>
                  </a:lnTo>
                  <a:lnTo>
                    <a:pt x="402" y="144"/>
                  </a:lnTo>
                  <a:lnTo>
                    <a:pt x="398" y="144"/>
                  </a:lnTo>
                  <a:lnTo>
                    <a:pt x="395" y="144"/>
                  </a:lnTo>
                  <a:lnTo>
                    <a:pt x="395" y="148"/>
                  </a:lnTo>
                  <a:lnTo>
                    <a:pt x="398" y="148"/>
                  </a:lnTo>
                  <a:lnTo>
                    <a:pt x="402" y="148"/>
                  </a:lnTo>
                  <a:lnTo>
                    <a:pt x="402" y="152"/>
                  </a:lnTo>
                  <a:lnTo>
                    <a:pt x="406" y="156"/>
                  </a:lnTo>
                  <a:lnTo>
                    <a:pt x="406" y="160"/>
                  </a:lnTo>
                  <a:lnTo>
                    <a:pt x="410" y="160"/>
                  </a:lnTo>
                  <a:lnTo>
                    <a:pt x="410" y="164"/>
                  </a:lnTo>
                  <a:lnTo>
                    <a:pt x="410" y="167"/>
                  </a:lnTo>
                  <a:lnTo>
                    <a:pt x="414" y="167"/>
                  </a:lnTo>
                  <a:lnTo>
                    <a:pt x="410" y="167"/>
                  </a:lnTo>
                  <a:lnTo>
                    <a:pt x="410" y="171"/>
                  </a:lnTo>
                  <a:lnTo>
                    <a:pt x="410" y="175"/>
                  </a:lnTo>
                  <a:lnTo>
                    <a:pt x="410" y="179"/>
                  </a:lnTo>
                  <a:lnTo>
                    <a:pt x="414" y="179"/>
                  </a:lnTo>
                  <a:lnTo>
                    <a:pt x="414" y="183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91"/>
                  </a:lnTo>
                  <a:lnTo>
                    <a:pt x="414" y="191"/>
                  </a:lnTo>
                  <a:lnTo>
                    <a:pt x="410" y="191"/>
                  </a:lnTo>
                  <a:lnTo>
                    <a:pt x="406" y="191"/>
                  </a:lnTo>
                  <a:lnTo>
                    <a:pt x="406" y="195"/>
                  </a:lnTo>
                  <a:lnTo>
                    <a:pt x="406" y="199"/>
                  </a:lnTo>
                  <a:lnTo>
                    <a:pt x="402" y="199"/>
                  </a:lnTo>
                  <a:lnTo>
                    <a:pt x="398" y="195"/>
                  </a:lnTo>
                  <a:lnTo>
                    <a:pt x="398" y="191"/>
                  </a:lnTo>
                  <a:lnTo>
                    <a:pt x="398" y="187"/>
                  </a:lnTo>
                  <a:lnTo>
                    <a:pt x="402" y="187"/>
                  </a:lnTo>
                  <a:lnTo>
                    <a:pt x="402" y="183"/>
                  </a:lnTo>
                  <a:lnTo>
                    <a:pt x="398" y="183"/>
                  </a:lnTo>
                  <a:lnTo>
                    <a:pt x="395" y="183"/>
                  </a:lnTo>
                  <a:lnTo>
                    <a:pt x="395" y="179"/>
                  </a:lnTo>
                  <a:lnTo>
                    <a:pt x="391" y="175"/>
                  </a:lnTo>
                  <a:lnTo>
                    <a:pt x="391" y="171"/>
                  </a:lnTo>
                  <a:lnTo>
                    <a:pt x="391" y="167"/>
                  </a:lnTo>
                  <a:lnTo>
                    <a:pt x="391" y="164"/>
                  </a:lnTo>
                  <a:lnTo>
                    <a:pt x="391" y="160"/>
                  </a:lnTo>
                  <a:lnTo>
                    <a:pt x="387" y="156"/>
                  </a:lnTo>
                  <a:lnTo>
                    <a:pt x="387" y="160"/>
                  </a:lnTo>
                  <a:lnTo>
                    <a:pt x="383" y="164"/>
                  </a:lnTo>
                  <a:lnTo>
                    <a:pt x="379" y="164"/>
                  </a:lnTo>
                  <a:lnTo>
                    <a:pt x="379" y="167"/>
                  </a:lnTo>
                  <a:lnTo>
                    <a:pt x="383" y="167"/>
                  </a:lnTo>
                  <a:lnTo>
                    <a:pt x="383" y="171"/>
                  </a:lnTo>
                  <a:lnTo>
                    <a:pt x="383" y="175"/>
                  </a:lnTo>
                  <a:lnTo>
                    <a:pt x="383" y="179"/>
                  </a:lnTo>
                  <a:lnTo>
                    <a:pt x="383" y="183"/>
                  </a:lnTo>
                  <a:lnTo>
                    <a:pt x="383" y="187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83" y="199"/>
                  </a:lnTo>
                  <a:lnTo>
                    <a:pt x="379" y="203"/>
                  </a:lnTo>
                  <a:lnTo>
                    <a:pt x="383" y="207"/>
                  </a:lnTo>
                  <a:lnTo>
                    <a:pt x="383" y="211"/>
                  </a:lnTo>
                  <a:lnTo>
                    <a:pt x="379" y="211"/>
                  </a:lnTo>
                  <a:lnTo>
                    <a:pt x="375" y="211"/>
                  </a:lnTo>
                  <a:lnTo>
                    <a:pt x="375" y="215"/>
                  </a:lnTo>
                  <a:lnTo>
                    <a:pt x="371" y="215"/>
                  </a:lnTo>
                  <a:lnTo>
                    <a:pt x="371" y="211"/>
                  </a:lnTo>
                  <a:lnTo>
                    <a:pt x="367" y="211"/>
                  </a:lnTo>
                  <a:lnTo>
                    <a:pt x="367" y="207"/>
                  </a:lnTo>
                  <a:lnTo>
                    <a:pt x="367" y="203"/>
                  </a:lnTo>
                  <a:lnTo>
                    <a:pt x="371" y="199"/>
                  </a:lnTo>
                  <a:lnTo>
                    <a:pt x="367" y="199"/>
                  </a:lnTo>
                  <a:lnTo>
                    <a:pt x="367" y="195"/>
                  </a:lnTo>
                  <a:lnTo>
                    <a:pt x="371" y="195"/>
                  </a:lnTo>
                  <a:lnTo>
                    <a:pt x="371" y="191"/>
                  </a:lnTo>
                  <a:lnTo>
                    <a:pt x="371" y="187"/>
                  </a:lnTo>
                  <a:lnTo>
                    <a:pt x="371" y="183"/>
                  </a:lnTo>
                  <a:lnTo>
                    <a:pt x="371" y="179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67" y="171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59" y="175"/>
                  </a:lnTo>
                  <a:lnTo>
                    <a:pt x="359" y="171"/>
                  </a:lnTo>
                  <a:lnTo>
                    <a:pt x="359" y="167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48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0"/>
                  </a:lnTo>
                  <a:lnTo>
                    <a:pt x="367" y="136"/>
                  </a:lnTo>
                  <a:lnTo>
                    <a:pt x="367" y="132"/>
                  </a:lnTo>
                  <a:lnTo>
                    <a:pt x="367" y="128"/>
                  </a:lnTo>
                  <a:lnTo>
                    <a:pt x="371" y="128"/>
                  </a:lnTo>
                  <a:lnTo>
                    <a:pt x="371" y="124"/>
                  </a:lnTo>
                  <a:lnTo>
                    <a:pt x="371" y="120"/>
                  </a:lnTo>
                  <a:lnTo>
                    <a:pt x="375" y="124"/>
                  </a:lnTo>
                  <a:lnTo>
                    <a:pt x="375" y="128"/>
                  </a:lnTo>
                  <a:lnTo>
                    <a:pt x="375" y="124"/>
                  </a:lnTo>
                  <a:lnTo>
                    <a:pt x="375" y="120"/>
                  </a:lnTo>
                  <a:lnTo>
                    <a:pt x="371" y="120"/>
                  </a:lnTo>
                  <a:lnTo>
                    <a:pt x="371" y="116"/>
                  </a:lnTo>
                  <a:lnTo>
                    <a:pt x="375" y="116"/>
                  </a:lnTo>
                  <a:lnTo>
                    <a:pt x="375" y="112"/>
                  </a:lnTo>
                  <a:lnTo>
                    <a:pt x="371" y="112"/>
                  </a:lnTo>
                  <a:lnTo>
                    <a:pt x="371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5" y="108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75" y="100"/>
                  </a:lnTo>
                  <a:lnTo>
                    <a:pt x="375" y="96"/>
                  </a:lnTo>
                  <a:lnTo>
                    <a:pt x="379" y="96"/>
                  </a:lnTo>
                  <a:lnTo>
                    <a:pt x="379" y="92"/>
                  </a:lnTo>
                  <a:lnTo>
                    <a:pt x="383" y="92"/>
                  </a:lnTo>
                  <a:lnTo>
                    <a:pt x="383" y="96"/>
                  </a:lnTo>
                  <a:lnTo>
                    <a:pt x="387" y="96"/>
                  </a:lnTo>
                  <a:lnTo>
                    <a:pt x="387" y="92"/>
                  </a:lnTo>
                  <a:lnTo>
                    <a:pt x="391" y="88"/>
                  </a:lnTo>
                  <a:lnTo>
                    <a:pt x="387" y="88"/>
                  </a:lnTo>
                  <a:lnTo>
                    <a:pt x="391" y="84"/>
                  </a:lnTo>
                  <a:lnTo>
                    <a:pt x="395" y="84"/>
                  </a:lnTo>
                  <a:lnTo>
                    <a:pt x="395" y="88"/>
                  </a:lnTo>
                  <a:lnTo>
                    <a:pt x="398" y="88"/>
                  </a:lnTo>
                  <a:lnTo>
                    <a:pt x="398" y="92"/>
                  </a:lnTo>
                  <a:lnTo>
                    <a:pt x="402" y="92"/>
                  </a:lnTo>
                  <a:lnTo>
                    <a:pt x="406" y="88"/>
                  </a:lnTo>
                  <a:lnTo>
                    <a:pt x="406" y="92"/>
                  </a:lnTo>
                  <a:lnTo>
                    <a:pt x="410" y="92"/>
                  </a:lnTo>
                  <a:lnTo>
                    <a:pt x="414" y="92"/>
                  </a:lnTo>
                  <a:lnTo>
                    <a:pt x="418" y="92"/>
                  </a:lnTo>
                  <a:lnTo>
                    <a:pt x="418" y="96"/>
                  </a:lnTo>
                  <a:lnTo>
                    <a:pt x="422" y="92"/>
                  </a:lnTo>
                  <a:lnTo>
                    <a:pt x="426" y="92"/>
                  </a:lnTo>
                  <a:lnTo>
                    <a:pt x="430" y="92"/>
                  </a:lnTo>
                  <a:lnTo>
                    <a:pt x="430" y="96"/>
                  </a:lnTo>
                  <a:lnTo>
                    <a:pt x="430" y="92"/>
                  </a:lnTo>
                  <a:lnTo>
                    <a:pt x="434" y="96"/>
                  </a:lnTo>
                  <a:lnTo>
                    <a:pt x="438" y="92"/>
                  </a:lnTo>
                  <a:lnTo>
                    <a:pt x="442" y="92"/>
                  </a:lnTo>
                  <a:lnTo>
                    <a:pt x="442" y="88"/>
                  </a:lnTo>
                  <a:lnTo>
                    <a:pt x="446" y="88"/>
                  </a:lnTo>
                  <a:lnTo>
                    <a:pt x="446" y="84"/>
                  </a:lnTo>
                  <a:lnTo>
                    <a:pt x="450" y="84"/>
                  </a:lnTo>
                  <a:lnTo>
                    <a:pt x="450" y="80"/>
                  </a:lnTo>
                  <a:lnTo>
                    <a:pt x="454" y="80"/>
                  </a:lnTo>
                  <a:lnTo>
                    <a:pt x="454" y="84"/>
                  </a:lnTo>
                  <a:lnTo>
                    <a:pt x="454" y="88"/>
                  </a:lnTo>
                  <a:lnTo>
                    <a:pt x="450" y="88"/>
                  </a:lnTo>
                  <a:lnTo>
                    <a:pt x="450" y="92"/>
                  </a:lnTo>
                  <a:lnTo>
                    <a:pt x="446" y="96"/>
                  </a:lnTo>
                  <a:lnTo>
                    <a:pt x="446" y="100"/>
                  </a:lnTo>
                  <a:lnTo>
                    <a:pt x="442" y="100"/>
                  </a:lnTo>
                  <a:lnTo>
                    <a:pt x="442" y="104"/>
                  </a:lnTo>
                  <a:lnTo>
                    <a:pt x="438" y="104"/>
                  </a:lnTo>
                  <a:lnTo>
                    <a:pt x="434" y="104"/>
                  </a:lnTo>
                  <a:lnTo>
                    <a:pt x="430" y="104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22" y="100"/>
                  </a:lnTo>
                  <a:lnTo>
                    <a:pt x="418" y="100"/>
                  </a:lnTo>
                  <a:lnTo>
                    <a:pt x="414" y="100"/>
                  </a:lnTo>
                  <a:lnTo>
                    <a:pt x="410" y="100"/>
                  </a:lnTo>
                  <a:lnTo>
                    <a:pt x="406" y="100"/>
                  </a:lnTo>
                  <a:lnTo>
                    <a:pt x="406" y="104"/>
                  </a:lnTo>
                  <a:lnTo>
                    <a:pt x="402" y="104"/>
                  </a:lnTo>
                  <a:lnTo>
                    <a:pt x="402" y="100"/>
                  </a:lnTo>
                  <a:lnTo>
                    <a:pt x="398" y="100"/>
                  </a:lnTo>
                  <a:lnTo>
                    <a:pt x="395" y="100"/>
                  </a:lnTo>
                  <a:lnTo>
                    <a:pt x="395" y="104"/>
                  </a:lnTo>
                  <a:lnTo>
                    <a:pt x="391" y="104"/>
                  </a:lnTo>
                  <a:lnTo>
                    <a:pt x="391" y="100"/>
                  </a:lnTo>
                  <a:lnTo>
                    <a:pt x="387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79" y="104"/>
                  </a:lnTo>
                  <a:lnTo>
                    <a:pt x="379" y="108"/>
                  </a:lnTo>
                  <a:lnTo>
                    <a:pt x="379" y="112"/>
                  </a:lnTo>
                  <a:lnTo>
                    <a:pt x="375" y="112"/>
                  </a:lnTo>
                  <a:lnTo>
                    <a:pt x="375" y="116"/>
                  </a:lnTo>
                  <a:lnTo>
                    <a:pt x="379" y="120"/>
                  </a:lnTo>
                  <a:lnTo>
                    <a:pt x="379" y="124"/>
                  </a:lnTo>
                  <a:lnTo>
                    <a:pt x="379" y="128"/>
                  </a:lnTo>
                  <a:lnTo>
                    <a:pt x="383" y="128"/>
                  </a:lnTo>
                  <a:lnTo>
                    <a:pt x="387" y="128"/>
                  </a:lnTo>
                  <a:lnTo>
                    <a:pt x="387" y="132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5" y="136"/>
                  </a:lnTo>
                  <a:lnTo>
                    <a:pt x="395" y="132"/>
                  </a:lnTo>
                  <a:lnTo>
                    <a:pt x="398" y="128"/>
                  </a:lnTo>
                  <a:lnTo>
                    <a:pt x="398" y="124"/>
                  </a:lnTo>
                  <a:lnTo>
                    <a:pt x="402" y="124"/>
                  </a:lnTo>
                  <a:lnTo>
                    <a:pt x="402" y="128"/>
                  </a:lnTo>
                  <a:lnTo>
                    <a:pt x="406" y="128"/>
                  </a:lnTo>
                  <a:lnTo>
                    <a:pt x="410" y="128"/>
                  </a:lnTo>
                  <a:lnTo>
                    <a:pt x="410" y="124"/>
                  </a:lnTo>
                  <a:lnTo>
                    <a:pt x="414" y="124"/>
                  </a:lnTo>
                  <a:lnTo>
                    <a:pt x="418" y="124"/>
                  </a:lnTo>
                  <a:lnTo>
                    <a:pt x="422" y="124"/>
                  </a:lnTo>
                  <a:lnTo>
                    <a:pt x="418" y="124"/>
                  </a:lnTo>
                  <a:lnTo>
                    <a:pt x="418" y="120"/>
                  </a:lnTo>
                  <a:lnTo>
                    <a:pt x="422" y="120"/>
                  </a:lnTo>
                  <a:lnTo>
                    <a:pt x="426" y="120"/>
                  </a:lnTo>
                  <a:lnTo>
                    <a:pt x="426" y="124"/>
                  </a:lnTo>
                  <a:lnTo>
                    <a:pt x="426" y="128"/>
                  </a:lnTo>
                  <a:close/>
                  <a:moveTo>
                    <a:pt x="111" y="84"/>
                  </a:moveTo>
                  <a:lnTo>
                    <a:pt x="111" y="88"/>
                  </a:lnTo>
                  <a:lnTo>
                    <a:pt x="111" y="84"/>
                  </a:lnTo>
                  <a:lnTo>
                    <a:pt x="107" y="84"/>
                  </a:lnTo>
                  <a:lnTo>
                    <a:pt x="103" y="84"/>
                  </a:lnTo>
                  <a:lnTo>
                    <a:pt x="103" y="80"/>
                  </a:lnTo>
                  <a:lnTo>
                    <a:pt x="107" y="80"/>
                  </a:lnTo>
                  <a:lnTo>
                    <a:pt x="111" y="84"/>
                  </a:lnTo>
                  <a:close/>
                  <a:moveTo>
                    <a:pt x="40" y="100"/>
                  </a:move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40" y="88"/>
                  </a:lnTo>
                  <a:lnTo>
                    <a:pt x="44" y="92"/>
                  </a:lnTo>
                  <a:lnTo>
                    <a:pt x="40" y="96"/>
                  </a:lnTo>
                  <a:lnTo>
                    <a:pt x="40" y="100"/>
                  </a:lnTo>
                  <a:close/>
                  <a:moveTo>
                    <a:pt x="111" y="88"/>
                  </a:moveTo>
                  <a:lnTo>
                    <a:pt x="111" y="92"/>
                  </a:lnTo>
                  <a:lnTo>
                    <a:pt x="107" y="92"/>
                  </a:lnTo>
                  <a:lnTo>
                    <a:pt x="107" y="88"/>
                  </a:lnTo>
                  <a:lnTo>
                    <a:pt x="107" y="84"/>
                  </a:lnTo>
                  <a:lnTo>
                    <a:pt x="111" y="88"/>
                  </a:lnTo>
                  <a:close/>
                  <a:moveTo>
                    <a:pt x="143" y="92"/>
                  </a:moveTo>
                  <a:lnTo>
                    <a:pt x="143" y="96"/>
                  </a:lnTo>
                  <a:lnTo>
                    <a:pt x="143" y="92"/>
                  </a:lnTo>
                  <a:lnTo>
                    <a:pt x="139" y="92"/>
                  </a:lnTo>
                  <a:lnTo>
                    <a:pt x="139" y="88"/>
                  </a:lnTo>
                  <a:lnTo>
                    <a:pt x="143" y="88"/>
                  </a:lnTo>
                  <a:lnTo>
                    <a:pt x="143" y="92"/>
                  </a:lnTo>
                  <a:close/>
                  <a:moveTo>
                    <a:pt x="135" y="88"/>
                  </a:moveTo>
                  <a:lnTo>
                    <a:pt x="135" y="92"/>
                  </a:lnTo>
                  <a:lnTo>
                    <a:pt x="131" y="92"/>
                  </a:lnTo>
                  <a:lnTo>
                    <a:pt x="131" y="88"/>
                  </a:lnTo>
                  <a:lnTo>
                    <a:pt x="135" y="88"/>
                  </a:lnTo>
                  <a:close/>
                  <a:moveTo>
                    <a:pt x="119" y="96"/>
                  </a:moveTo>
                  <a:lnTo>
                    <a:pt x="119" y="92"/>
                  </a:lnTo>
                  <a:lnTo>
                    <a:pt x="115" y="92"/>
                  </a:lnTo>
                  <a:lnTo>
                    <a:pt x="115" y="88"/>
                  </a:lnTo>
                  <a:lnTo>
                    <a:pt x="119" y="88"/>
                  </a:lnTo>
                  <a:lnTo>
                    <a:pt x="119" y="92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19" y="96"/>
                  </a:lnTo>
                  <a:close/>
                  <a:moveTo>
                    <a:pt x="119" y="96"/>
                  </a:moveTo>
                  <a:lnTo>
                    <a:pt x="115" y="96"/>
                  </a:lnTo>
                  <a:lnTo>
                    <a:pt x="111" y="96"/>
                  </a:lnTo>
                  <a:lnTo>
                    <a:pt x="111" y="92"/>
                  </a:lnTo>
                  <a:lnTo>
                    <a:pt x="111" y="88"/>
                  </a:lnTo>
                  <a:lnTo>
                    <a:pt x="111" y="92"/>
                  </a:lnTo>
                  <a:lnTo>
                    <a:pt x="115" y="92"/>
                  </a:lnTo>
                  <a:lnTo>
                    <a:pt x="119" y="92"/>
                  </a:lnTo>
                  <a:lnTo>
                    <a:pt x="119" y="96"/>
                  </a:lnTo>
                  <a:close/>
                  <a:moveTo>
                    <a:pt x="127" y="92"/>
                  </a:moveTo>
                  <a:lnTo>
                    <a:pt x="123" y="92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7" y="92"/>
                  </a:lnTo>
                  <a:close/>
                  <a:moveTo>
                    <a:pt x="135" y="96"/>
                  </a:moveTo>
                  <a:lnTo>
                    <a:pt x="135" y="92"/>
                  </a:lnTo>
                  <a:lnTo>
                    <a:pt x="139" y="96"/>
                  </a:lnTo>
                  <a:lnTo>
                    <a:pt x="135" y="96"/>
                  </a:lnTo>
                  <a:close/>
                  <a:moveTo>
                    <a:pt x="127" y="96"/>
                  </a:moveTo>
                  <a:lnTo>
                    <a:pt x="127" y="100"/>
                  </a:lnTo>
                  <a:lnTo>
                    <a:pt x="123" y="100"/>
                  </a:lnTo>
                  <a:lnTo>
                    <a:pt x="123" y="96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27" y="96"/>
                  </a:lnTo>
                  <a:close/>
                  <a:moveTo>
                    <a:pt x="143" y="108"/>
                  </a:moveTo>
                  <a:lnTo>
                    <a:pt x="143" y="104"/>
                  </a:lnTo>
                  <a:lnTo>
                    <a:pt x="143" y="108"/>
                  </a:lnTo>
                  <a:close/>
                  <a:moveTo>
                    <a:pt x="55" y="108"/>
                  </a:moveTo>
                  <a:lnTo>
                    <a:pt x="51" y="108"/>
                  </a:lnTo>
                  <a:lnTo>
                    <a:pt x="55" y="108"/>
                  </a:lnTo>
                  <a:close/>
                  <a:moveTo>
                    <a:pt x="147" y="116"/>
                  </a:moveTo>
                  <a:lnTo>
                    <a:pt x="143" y="116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7" y="116"/>
                  </a:lnTo>
                  <a:close/>
                  <a:moveTo>
                    <a:pt x="51" y="116"/>
                  </a:moveTo>
                  <a:lnTo>
                    <a:pt x="47" y="112"/>
                  </a:lnTo>
                  <a:lnTo>
                    <a:pt x="47" y="108"/>
                  </a:lnTo>
                  <a:lnTo>
                    <a:pt x="47" y="112"/>
                  </a:lnTo>
                  <a:lnTo>
                    <a:pt x="51" y="112"/>
                  </a:lnTo>
                  <a:lnTo>
                    <a:pt x="51" y="116"/>
                  </a:lnTo>
                  <a:close/>
                  <a:moveTo>
                    <a:pt x="538" y="120"/>
                  </a:moveTo>
                  <a:lnTo>
                    <a:pt x="538" y="116"/>
                  </a:lnTo>
                  <a:lnTo>
                    <a:pt x="534" y="116"/>
                  </a:lnTo>
                  <a:lnTo>
                    <a:pt x="530" y="116"/>
                  </a:lnTo>
                  <a:lnTo>
                    <a:pt x="530" y="112"/>
                  </a:lnTo>
                  <a:lnTo>
                    <a:pt x="534" y="116"/>
                  </a:lnTo>
                  <a:lnTo>
                    <a:pt x="534" y="112"/>
                  </a:lnTo>
                  <a:lnTo>
                    <a:pt x="530" y="112"/>
                  </a:lnTo>
                  <a:lnTo>
                    <a:pt x="534" y="112"/>
                  </a:lnTo>
                  <a:lnTo>
                    <a:pt x="538" y="112"/>
                  </a:lnTo>
                  <a:lnTo>
                    <a:pt x="542" y="112"/>
                  </a:lnTo>
                  <a:lnTo>
                    <a:pt x="546" y="112"/>
                  </a:lnTo>
                  <a:lnTo>
                    <a:pt x="546" y="116"/>
                  </a:lnTo>
                  <a:lnTo>
                    <a:pt x="542" y="116"/>
                  </a:lnTo>
                  <a:lnTo>
                    <a:pt x="538" y="112"/>
                  </a:lnTo>
                  <a:lnTo>
                    <a:pt x="538" y="116"/>
                  </a:lnTo>
                  <a:lnTo>
                    <a:pt x="542" y="116"/>
                  </a:lnTo>
                  <a:lnTo>
                    <a:pt x="542" y="120"/>
                  </a:lnTo>
                  <a:lnTo>
                    <a:pt x="538" y="120"/>
                  </a:lnTo>
                  <a:close/>
                  <a:moveTo>
                    <a:pt x="51" y="120"/>
                  </a:moveTo>
                  <a:lnTo>
                    <a:pt x="47" y="120"/>
                  </a:lnTo>
                  <a:lnTo>
                    <a:pt x="47" y="116"/>
                  </a:lnTo>
                  <a:lnTo>
                    <a:pt x="51" y="116"/>
                  </a:lnTo>
                  <a:lnTo>
                    <a:pt x="51" y="120"/>
                  </a:lnTo>
                  <a:close/>
                  <a:moveTo>
                    <a:pt x="490" y="116"/>
                  </a:moveTo>
                  <a:lnTo>
                    <a:pt x="494" y="120"/>
                  </a:lnTo>
                  <a:lnTo>
                    <a:pt x="490" y="120"/>
                  </a:lnTo>
                  <a:lnTo>
                    <a:pt x="490" y="124"/>
                  </a:lnTo>
                  <a:lnTo>
                    <a:pt x="494" y="124"/>
                  </a:lnTo>
                  <a:lnTo>
                    <a:pt x="494" y="128"/>
                  </a:lnTo>
                  <a:lnTo>
                    <a:pt x="494" y="124"/>
                  </a:lnTo>
                  <a:lnTo>
                    <a:pt x="490" y="124"/>
                  </a:lnTo>
                  <a:lnTo>
                    <a:pt x="486" y="120"/>
                  </a:lnTo>
                  <a:lnTo>
                    <a:pt x="486" y="116"/>
                  </a:lnTo>
                  <a:lnTo>
                    <a:pt x="490" y="116"/>
                  </a:lnTo>
                  <a:close/>
                  <a:moveTo>
                    <a:pt x="143" y="116"/>
                  </a:moveTo>
                  <a:lnTo>
                    <a:pt x="143" y="120"/>
                  </a:lnTo>
                  <a:lnTo>
                    <a:pt x="139" y="120"/>
                  </a:lnTo>
                  <a:lnTo>
                    <a:pt x="139" y="116"/>
                  </a:lnTo>
                  <a:lnTo>
                    <a:pt x="143" y="116"/>
                  </a:lnTo>
                  <a:close/>
                  <a:moveTo>
                    <a:pt x="666" y="243"/>
                  </a:moveTo>
                  <a:lnTo>
                    <a:pt x="666" y="239"/>
                  </a:lnTo>
                  <a:lnTo>
                    <a:pt x="666" y="243"/>
                  </a:lnTo>
                  <a:lnTo>
                    <a:pt x="662" y="239"/>
                  </a:lnTo>
                  <a:lnTo>
                    <a:pt x="658" y="235"/>
                  </a:lnTo>
                  <a:lnTo>
                    <a:pt x="662" y="235"/>
                  </a:lnTo>
                  <a:lnTo>
                    <a:pt x="666" y="235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62" y="235"/>
                  </a:lnTo>
                  <a:lnTo>
                    <a:pt x="658" y="231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4" y="223"/>
                  </a:lnTo>
                  <a:lnTo>
                    <a:pt x="654" y="219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4" y="215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0" y="211"/>
                  </a:lnTo>
                  <a:lnTo>
                    <a:pt x="650" y="207"/>
                  </a:lnTo>
                  <a:lnTo>
                    <a:pt x="650" y="211"/>
                  </a:lnTo>
                  <a:lnTo>
                    <a:pt x="646" y="207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34" y="199"/>
                  </a:lnTo>
                  <a:lnTo>
                    <a:pt x="630" y="199"/>
                  </a:lnTo>
                  <a:lnTo>
                    <a:pt x="626" y="195"/>
                  </a:lnTo>
                  <a:lnTo>
                    <a:pt x="622" y="195"/>
                  </a:lnTo>
                  <a:lnTo>
                    <a:pt x="618" y="195"/>
                  </a:lnTo>
                  <a:lnTo>
                    <a:pt x="618" y="191"/>
                  </a:lnTo>
                  <a:lnTo>
                    <a:pt x="614" y="191"/>
                  </a:lnTo>
                  <a:lnTo>
                    <a:pt x="610" y="191"/>
                  </a:lnTo>
                  <a:lnTo>
                    <a:pt x="606" y="191"/>
                  </a:lnTo>
                  <a:lnTo>
                    <a:pt x="602" y="187"/>
                  </a:lnTo>
                  <a:lnTo>
                    <a:pt x="598" y="187"/>
                  </a:lnTo>
                  <a:lnTo>
                    <a:pt x="598" y="183"/>
                  </a:lnTo>
                  <a:lnTo>
                    <a:pt x="602" y="183"/>
                  </a:lnTo>
                  <a:lnTo>
                    <a:pt x="598" y="179"/>
                  </a:lnTo>
                  <a:lnTo>
                    <a:pt x="598" y="183"/>
                  </a:lnTo>
                  <a:lnTo>
                    <a:pt x="594" y="183"/>
                  </a:lnTo>
                  <a:lnTo>
                    <a:pt x="594" y="179"/>
                  </a:lnTo>
                  <a:lnTo>
                    <a:pt x="594" y="183"/>
                  </a:lnTo>
                  <a:lnTo>
                    <a:pt x="590" y="183"/>
                  </a:lnTo>
                  <a:lnTo>
                    <a:pt x="590" y="179"/>
                  </a:lnTo>
                  <a:lnTo>
                    <a:pt x="586" y="179"/>
                  </a:lnTo>
                  <a:lnTo>
                    <a:pt x="586" y="175"/>
                  </a:lnTo>
                  <a:lnTo>
                    <a:pt x="582" y="175"/>
                  </a:lnTo>
                  <a:lnTo>
                    <a:pt x="582" y="171"/>
                  </a:lnTo>
                  <a:lnTo>
                    <a:pt x="582" y="167"/>
                  </a:lnTo>
                  <a:lnTo>
                    <a:pt x="586" y="167"/>
                  </a:lnTo>
                  <a:lnTo>
                    <a:pt x="586" y="164"/>
                  </a:lnTo>
                  <a:lnTo>
                    <a:pt x="582" y="164"/>
                  </a:lnTo>
                  <a:lnTo>
                    <a:pt x="582" y="167"/>
                  </a:lnTo>
                  <a:lnTo>
                    <a:pt x="582" y="171"/>
                  </a:lnTo>
                  <a:lnTo>
                    <a:pt x="582" y="175"/>
                  </a:lnTo>
                  <a:lnTo>
                    <a:pt x="578" y="179"/>
                  </a:lnTo>
                  <a:lnTo>
                    <a:pt x="578" y="183"/>
                  </a:lnTo>
                  <a:lnTo>
                    <a:pt x="574" y="183"/>
                  </a:lnTo>
                  <a:lnTo>
                    <a:pt x="570" y="183"/>
                  </a:lnTo>
                  <a:lnTo>
                    <a:pt x="570" y="179"/>
                  </a:lnTo>
                  <a:lnTo>
                    <a:pt x="570" y="175"/>
                  </a:lnTo>
                  <a:lnTo>
                    <a:pt x="570" y="171"/>
                  </a:lnTo>
                  <a:lnTo>
                    <a:pt x="570" y="167"/>
                  </a:lnTo>
                  <a:lnTo>
                    <a:pt x="570" y="171"/>
                  </a:lnTo>
                  <a:lnTo>
                    <a:pt x="566" y="171"/>
                  </a:lnTo>
                  <a:lnTo>
                    <a:pt x="566" y="167"/>
                  </a:lnTo>
                  <a:lnTo>
                    <a:pt x="566" y="164"/>
                  </a:lnTo>
                  <a:lnTo>
                    <a:pt x="562" y="164"/>
                  </a:lnTo>
                  <a:lnTo>
                    <a:pt x="558" y="164"/>
                  </a:lnTo>
                  <a:lnTo>
                    <a:pt x="558" y="160"/>
                  </a:lnTo>
                  <a:lnTo>
                    <a:pt x="562" y="160"/>
                  </a:lnTo>
                  <a:lnTo>
                    <a:pt x="566" y="160"/>
                  </a:lnTo>
                  <a:lnTo>
                    <a:pt x="570" y="160"/>
                  </a:lnTo>
                  <a:lnTo>
                    <a:pt x="574" y="156"/>
                  </a:lnTo>
                  <a:lnTo>
                    <a:pt x="578" y="156"/>
                  </a:lnTo>
                  <a:lnTo>
                    <a:pt x="582" y="156"/>
                  </a:lnTo>
                  <a:lnTo>
                    <a:pt x="582" y="160"/>
                  </a:lnTo>
                  <a:lnTo>
                    <a:pt x="582" y="156"/>
                  </a:lnTo>
                  <a:lnTo>
                    <a:pt x="586" y="156"/>
                  </a:lnTo>
                  <a:lnTo>
                    <a:pt x="586" y="160"/>
                  </a:lnTo>
                  <a:lnTo>
                    <a:pt x="586" y="156"/>
                  </a:lnTo>
                  <a:lnTo>
                    <a:pt x="586" y="152"/>
                  </a:lnTo>
                  <a:lnTo>
                    <a:pt x="586" y="148"/>
                  </a:lnTo>
                  <a:lnTo>
                    <a:pt x="582" y="152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48"/>
                  </a:lnTo>
                  <a:lnTo>
                    <a:pt x="558" y="148"/>
                  </a:lnTo>
                  <a:lnTo>
                    <a:pt x="558" y="144"/>
                  </a:lnTo>
                  <a:lnTo>
                    <a:pt x="558" y="140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2" y="132"/>
                  </a:lnTo>
                  <a:lnTo>
                    <a:pt x="546" y="132"/>
                  </a:lnTo>
                  <a:lnTo>
                    <a:pt x="546" y="128"/>
                  </a:lnTo>
                  <a:lnTo>
                    <a:pt x="546" y="124"/>
                  </a:lnTo>
                  <a:lnTo>
                    <a:pt x="550" y="124"/>
                  </a:lnTo>
                  <a:lnTo>
                    <a:pt x="554" y="124"/>
                  </a:lnTo>
                  <a:lnTo>
                    <a:pt x="558" y="124"/>
                  </a:lnTo>
                  <a:lnTo>
                    <a:pt x="558" y="120"/>
                  </a:lnTo>
                  <a:lnTo>
                    <a:pt x="562" y="116"/>
                  </a:lnTo>
                  <a:lnTo>
                    <a:pt x="566" y="116"/>
                  </a:lnTo>
                  <a:lnTo>
                    <a:pt x="570" y="116"/>
                  </a:lnTo>
                  <a:lnTo>
                    <a:pt x="570" y="120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78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90" y="124"/>
                  </a:lnTo>
                  <a:lnTo>
                    <a:pt x="590" y="128"/>
                  </a:lnTo>
                  <a:lnTo>
                    <a:pt x="590" y="132"/>
                  </a:lnTo>
                  <a:lnTo>
                    <a:pt x="594" y="136"/>
                  </a:lnTo>
                  <a:lnTo>
                    <a:pt x="590" y="136"/>
                  </a:lnTo>
                  <a:lnTo>
                    <a:pt x="590" y="140"/>
                  </a:lnTo>
                  <a:lnTo>
                    <a:pt x="590" y="144"/>
                  </a:lnTo>
                  <a:lnTo>
                    <a:pt x="590" y="148"/>
                  </a:lnTo>
                  <a:lnTo>
                    <a:pt x="590" y="152"/>
                  </a:lnTo>
                  <a:lnTo>
                    <a:pt x="590" y="156"/>
                  </a:lnTo>
                  <a:lnTo>
                    <a:pt x="594" y="156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8" y="164"/>
                  </a:lnTo>
                  <a:lnTo>
                    <a:pt x="602" y="164"/>
                  </a:lnTo>
                  <a:lnTo>
                    <a:pt x="602" y="167"/>
                  </a:lnTo>
                  <a:lnTo>
                    <a:pt x="602" y="171"/>
                  </a:lnTo>
                  <a:lnTo>
                    <a:pt x="606" y="171"/>
                  </a:lnTo>
                  <a:lnTo>
                    <a:pt x="610" y="171"/>
                  </a:lnTo>
                  <a:lnTo>
                    <a:pt x="610" y="167"/>
                  </a:lnTo>
                  <a:lnTo>
                    <a:pt x="614" y="167"/>
                  </a:lnTo>
                  <a:lnTo>
                    <a:pt x="614" y="164"/>
                  </a:lnTo>
                  <a:lnTo>
                    <a:pt x="618" y="164"/>
                  </a:lnTo>
                  <a:lnTo>
                    <a:pt x="618" y="160"/>
                  </a:lnTo>
                  <a:lnTo>
                    <a:pt x="622" y="160"/>
                  </a:lnTo>
                  <a:lnTo>
                    <a:pt x="622" y="156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30" y="152"/>
                  </a:lnTo>
                  <a:lnTo>
                    <a:pt x="634" y="148"/>
                  </a:lnTo>
                  <a:lnTo>
                    <a:pt x="638" y="148"/>
                  </a:lnTo>
                  <a:lnTo>
                    <a:pt x="638" y="144"/>
                  </a:lnTo>
                  <a:lnTo>
                    <a:pt x="634" y="144"/>
                  </a:lnTo>
                  <a:lnTo>
                    <a:pt x="638" y="144"/>
                  </a:lnTo>
                  <a:lnTo>
                    <a:pt x="638" y="140"/>
                  </a:lnTo>
                  <a:lnTo>
                    <a:pt x="642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0" y="140"/>
                  </a:lnTo>
                  <a:lnTo>
                    <a:pt x="654" y="140"/>
                  </a:lnTo>
                  <a:lnTo>
                    <a:pt x="658" y="144"/>
                  </a:lnTo>
                  <a:lnTo>
                    <a:pt x="662" y="144"/>
                  </a:lnTo>
                  <a:lnTo>
                    <a:pt x="662" y="148"/>
                  </a:lnTo>
                  <a:lnTo>
                    <a:pt x="666" y="148"/>
                  </a:lnTo>
                  <a:lnTo>
                    <a:pt x="670" y="148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2" y="156"/>
                  </a:lnTo>
                  <a:lnTo>
                    <a:pt x="686" y="156"/>
                  </a:lnTo>
                  <a:lnTo>
                    <a:pt x="690" y="156"/>
                  </a:lnTo>
                  <a:lnTo>
                    <a:pt x="690" y="160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4" y="199"/>
                  </a:lnTo>
                  <a:lnTo>
                    <a:pt x="694" y="219"/>
                  </a:lnTo>
                  <a:lnTo>
                    <a:pt x="694" y="227"/>
                  </a:lnTo>
                  <a:lnTo>
                    <a:pt x="694" y="231"/>
                  </a:lnTo>
                  <a:lnTo>
                    <a:pt x="694" y="235"/>
                  </a:lnTo>
                  <a:lnTo>
                    <a:pt x="694" y="275"/>
                  </a:lnTo>
                  <a:lnTo>
                    <a:pt x="690" y="275"/>
                  </a:lnTo>
                  <a:lnTo>
                    <a:pt x="690" y="271"/>
                  </a:lnTo>
                  <a:lnTo>
                    <a:pt x="686" y="267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78" y="259"/>
                  </a:lnTo>
                  <a:lnTo>
                    <a:pt x="682" y="259"/>
                  </a:lnTo>
                  <a:lnTo>
                    <a:pt x="682" y="255"/>
                  </a:lnTo>
                  <a:lnTo>
                    <a:pt x="678" y="255"/>
                  </a:lnTo>
                  <a:lnTo>
                    <a:pt x="678" y="259"/>
                  </a:lnTo>
                  <a:lnTo>
                    <a:pt x="674" y="259"/>
                  </a:lnTo>
                  <a:lnTo>
                    <a:pt x="670" y="259"/>
                  </a:lnTo>
                  <a:lnTo>
                    <a:pt x="666" y="259"/>
                  </a:lnTo>
                  <a:lnTo>
                    <a:pt x="662" y="259"/>
                  </a:lnTo>
                  <a:lnTo>
                    <a:pt x="662" y="263"/>
                  </a:lnTo>
                  <a:lnTo>
                    <a:pt x="662" y="259"/>
                  </a:lnTo>
                  <a:lnTo>
                    <a:pt x="662" y="255"/>
                  </a:lnTo>
                  <a:lnTo>
                    <a:pt x="666" y="251"/>
                  </a:lnTo>
                  <a:lnTo>
                    <a:pt x="662" y="251"/>
                  </a:lnTo>
                  <a:lnTo>
                    <a:pt x="666" y="251"/>
                  </a:lnTo>
                  <a:lnTo>
                    <a:pt x="666" y="247"/>
                  </a:lnTo>
                  <a:lnTo>
                    <a:pt x="662" y="247"/>
                  </a:lnTo>
                  <a:lnTo>
                    <a:pt x="662" y="243"/>
                  </a:lnTo>
                  <a:lnTo>
                    <a:pt x="658" y="243"/>
                  </a:lnTo>
                  <a:lnTo>
                    <a:pt x="658" y="239"/>
                  </a:lnTo>
                  <a:lnTo>
                    <a:pt x="662" y="243"/>
                  </a:lnTo>
                  <a:lnTo>
                    <a:pt x="666" y="243"/>
                  </a:lnTo>
                  <a:close/>
                  <a:moveTo>
                    <a:pt x="538" y="116"/>
                  </a:moveTo>
                  <a:lnTo>
                    <a:pt x="538" y="120"/>
                  </a:lnTo>
                  <a:lnTo>
                    <a:pt x="534" y="120"/>
                  </a:lnTo>
                  <a:lnTo>
                    <a:pt x="538" y="116"/>
                  </a:lnTo>
                  <a:close/>
                  <a:moveTo>
                    <a:pt x="610" y="124"/>
                  </a:moveTo>
                  <a:lnTo>
                    <a:pt x="614" y="124"/>
                  </a:lnTo>
                  <a:lnTo>
                    <a:pt x="618" y="124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2" y="132"/>
                  </a:lnTo>
                  <a:lnTo>
                    <a:pt x="626" y="132"/>
                  </a:lnTo>
                  <a:lnTo>
                    <a:pt x="622" y="132"/>
                  </a:lnTo>
                  <a:lnTo>
                    <a:pt x="618" y="132"/>
                  </a:lnTo>
                  <a:lnTo>
                    <a:pt x="614" y="132"/>
                  </a:lnTo>
                  <a:lnTo>
                    <a:pt x="614" y="128"/>
                  </a:lnTo>
                  <a:lnTo>
                    <a:pt x="614" y="124"/>
                  </a:lnTo>
                  <a:lnTo>
                    <a:pt x="610" y="124"/>
                  </a:lnTo>
                  <a:lnTo>
                    <a:pt x="610" y="120"/>
                  </a:lnTo>
                  <a:lnTo>
                    <a:pt x="610" y="124"/>
                  </a:lnTo>
                  <a:close/>
                  <a:moveTo>
                    <a:pt x="542" y="124"/>
                  </a:moveTo>
                  <a:lnTo>
                    <a:pt x="538" y="128"/>
                  </a:lnTo>
                  <a:lnTo>
                    <a:pt x="534" y="128"/>
                  </a:lnTo>
                  <a:lnTo>
                    <a:pt x="534" y="124"/>
                  </a:lnTo>
                  <a:lnTo>
                    <a:pt x="538" y="124"/>
                  </a:lnTo>
                  <a:lnTo>
                    <a:pt x="542" y="124"/>
                  </a:lnTo>
                  <a:close/>
                  <a:moveTo>
                    <a:pt x="542" y="128"/>
                  </a:moveTo>
                  <a:lnTo>
                    <a:pt x="542" y="132"/>
                  </a:lnTo>
                  <a:lnTo>
                    <a:pt x="542" y="136"/>
                  </a:lnTo>
                  <a:lnTo>
                    <a:pt x="538" y="132"/>
                  </a:lnTo>
                  <a:lnTo>
                    <a:pt x="538" y="128"/>
                  </a:lnTo>
                  <a:lnTo>
                    <a:pt x="542" y="128"/>
                  </a:lnTo>
                  <a:close/>
                  <a:moveTo>
                    <a:pt x="63" y="140"/>
                  </a:moveTo>
                  <a:lnTo>
                    <a:pt x="59" y="140"/>
                  </a:lnTo>
                  <a:lnTo>
                    <a:pt x="63" y="140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1" y="132"/>
                  </a:lnTo>
                  <a:lnTo>
                    <a:pt x="51" y="128"/>
                  </a:lnTo>
                  <a:lnTo>
                    <a:pt x="55" y="128"/>
                  </a:lnTo>
                  <a:lnTo>
                    <a:pt x="59" y="132"/>
                  </a:lnTo>
                  <a:lnTo>
                    <a:pt x="59" y="136"/>
                  </a:lnTo>
                  <a:lnTo>
                    <a:pt x="63" y="140"/>
                  </a:lnTo>
                  <a:close/>
                  <a:moveTo>
                    <a:pt x="223" y="128"/>
                  </a:moveTo>
                  <a:lnTo>
                    <a:pt x="223" y="132"/>
                  </a:lnTo>
                  <a:lnTo>
                    <a:pt x="219" y="132"/>
                  </a:lnTo>
                  <a:lnTo>
                    <a:pt x="215" y="132"/>
                  </a:lnTo>
                  <a:lnTo>
                    <a:pt x="215" y="128"/>
                  </a:lnTo>
                  <a:lnTo>
                    <a:pt x="219" y="128"/>
                  </a:lnTo>
                  <a:lnTo>
                    <a:pt x="223" y="128"/>
                  </a:lnTo>
                  <a:close/>
                  <a:moveTo>
                    <a:pt x="526" y="132"/>
                  </a:moveTo>
                  <a:lnTo>
                    <a:pt x="522" y="132"/>
                  </a:lnTo>
                  <a:lnTo>
                    <a:pt x="526" y="132"/>
                  </a:lnTo>
                  <a:close/>
                  <a:moveTo>
                    <a:pt x="430" y="132"/>
                  </a:moveTo>
                  <a:lnTo>
                    <a:pt x="430" y="136"/>
                  </a:lnTo>
                  <a:lnTo>
                    <a:pt x="426" y="136"/>
                  </a:lnTo>
                  <a:lnTo>
                    <a:pt x="426" y="140"/>
                  </a:lnTo>
                  <a:lnTo>
                    <a:pt x="422" y="140"/>
                  </a:lnTo>
                  <a:lnTo>
                    <a:pt x="422" y="136"/>
                  </a:lnTo>
                  <a:lnTo>
                    <a:pt x="422" y="140"/>
                  </a:lnTo>
                  <a:lnTo>
                    <a:pt x="418" y="140"/>
                  </a:lnTo>
                  <a:lnTo>
                    <a:pt x="418" y="136"/>
                  </a:lnTo>
                  <a:lnTo>
                    <a:pt x="418" y="132"/>
                  </a:lnTo>
                  <a:lnTo>
                    <a:pt x="422" y="132"/>
                  </a:lnTo>
                  <a:lnTo>
                    <a:pt x="426" y="132"/>
                  </a:lnTo>
                  <a:lnTo>
                    <a:pt x="426" y="136"/>
                  </a:lnTo>
                  <a:lnTo>
                    <a:pt x="426" y="132"/>
                  </a:lnTo>
                  <a:lnTo>
                    <a:pt x="430" y="132"/>
                  </a:lnTo>
                  <a:close/>
                  <a:moveTo>
                    <a:pt x="498" y="140"/>
                  </a:moveTo>
                  <a:lnTo>
                    <a:pt x="494" y="140"/>
                  </a:lnTo>
                  <a:lnTo>
                    <a:pt x="490" y="140"/>
                  </a:lnTo>
                  <a:lnTo>
                    <a:pt x="486" y="140"/>
                  </a:lnTo>
                  <a:lnTo>
                    <a:pt x="486" y="136"/>
                  </a:lnTo>
                  <a:lnTo>
                    <a:pt x="490" y="136"/>
                  </a:lnTo>
                  <a:lnTo>
                    <a:pt x="494" y="136"/>
                  </a:lnTo>
                  <a:lnTo>
                    <a:pt x="498" y="140"/>
                  </a:lnTo>
                  <a:close/>
                  <a:moveTo>
                    <a:pt x="171" y="164"/>
                  </a:moveTo>
                  <a:lnTo>
                    <a:pt x="167" y="164"/>
                  </a:lnTo>
                  <a:lnTo>
                    <a:pt x="163" y="160"/>
                  </a:lnTo>
                  <a:lnTo>
                    <a:pt x="163" y="156"/>
                  </a:lnTo>
                  <a:lnTo>
                    <a:pt x="163" y="152"/>
                  </a:lnTo>
                  <a:lnTo>
                    <a:pt x="159" y="148"/>
                  </a:lnTo>
                  <a:lnTo>
                    <a:pt x="155" y="148"/>
                  </a:lnTo>
                  <a:lnTo>
                    <a:pt x="151" y="148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0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7" y="144"/>
                  </a:lnTo>
                  <a:lnTo>
                    <a:pt x="167" y="148"/>
                  </a:lnTo>
                  <a:lnTo>
                    <a:pt x="167" y="152"/>
                  </a:lnTo>
                  <a:lnTo>
                    <a:pt x="167" y="156"/>
                  </a:lnTo>
                  <a:lnTo>
                    <a:pt x="171" y="156"/>
                  </a:lnTo>
                  <a:lnTo>
                    <a:pt x="175" y="156"/>
                  </a:lnTo>
                  <a:lnTo>
                    <a:pt x="175" y="160"/>
                  </a:lnTo>
                  <a:lnTo>
                    <a:pt x="175" y="164"/>
                  </a:lnTo>
                  <a:lnTo>
                    <a:pt x="175" y="167"/>
                  </a:lnTo>
                  <a:lnTo>
                    <a:pt x="171" y="167"/>
                  </a:lnTo>
                  <a:lnTo>
                    <a:pt x="171" y="164"/>
                  </a:lnTo>
                  <a:close/>
                  <a:moveTo>
                    <a:pt x="207" y="140"/>
                  </a:moveTo>
                  <a:lnTo>
                    <a:pt x="211" y="140"/>
                  </a:lnTo>
                  <a:lnTo>
                    <a:pt x="207" y="140"/>
                  </a:lnTo>
                  <a:close/>
                  <a:moveTo>
                    <a:pt x="610" y="140"/>
                  </a:move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26" y="140"/>
                  </a:lnTo>
                  <a:lnTo>
                    <a:pt x="630" y="140"/>
                  </a:lnTo>
                  <a:lnTo>
                    <a:pt x="630" y="144"/>
                  </a:lnTo>
                  <a:lnTo>
                    <a:pt x="634" y="144"/>
                  </a:lnTo>
                  <a:lnTo>
                    <a:pt x="630" y="144"/>
                  </a:lnTo>
                  <a:lnTo>
                    <a:pt x="626" y="144"/>
                  </a:lnTo>
                  <a:lnTo>
                    <a:pt x="622" y="144"/>
                  </a:lnTo>
                  <a:lnTo>
                    <a:pt x="618" y="144"/>
                  </a:lnTo>
                  <a:lnTo>
                    <a:pt x="614" y="140"/>
                  </a:lnTo>
                  <a:lnTo>
                    <a:pt x="610" y="140"/>
                  </a:lnTo>
                  <a:close/>
                  <a:moveTo>
                    <a:pt x="442" y="140"/>
                  </a:moveTo>
                  <a:lnTo>
                    <a:pt x="446" y="140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0" y="144"/>
                  </a:lnTo>
                  <a:lnTo>
                    <a:pt x="446" y="144"/>
                  </a:lnTo>
                  <a:lnTo>
                    <a:pt x="446" y="148"/>
                  </a:lnTo>
                  <a:lnTo>
                    <a:pt x="442" y="148"/>
                  </a:lnTo>
                  <a:lnTo>
                    <a:pt x="442" y="144"/>
                  </a:lnTo>
                  <a:lnTo>
                    <a:pt x="442" y="140"/>
                  </a:lnTo>
                  <a:close/>
                  <a:moveTo>
                    <a:pt x="534" y="140"/>
                  </a:moveTo>
                  <a:lnTo>
                    <a:pt x="534" y="144"/>
                  </a:lnTo>
                  <a:lnTo>
                    <a:pt x="534" y="148"/>
                  </a:lnTo>
                  <a:lnTo>
                    <a:pt x="530" y="148"/>
                  </a:lnTo>
                  <a:lnTo>
                    <a:pt x="526" y="148"/>
                  </a:lnTo>
                  <a:lnTo>
                    <a:pt x="522" y="144"/>
                  </a:lnTo>
                  <a:lnTo>
                    <a:pt x="526" y="144"/>
                  </a:lnTo>
                  <a:lnTo>
                    <a:pt x="526" y="140"/>
                  </a:lnTo>
                  <a:lnTo>
                    <a:pt x="530" y="140"/>
                  </a:lnTo>
                  <a:lnTo>
                    <a:pt x="534" y="140"/>
                  </a:lnTo>
                  <a:close/>
                  <a:moveTo>
                    <a:pt x="458" y="144"/>
                  </a:moveTo>
                  <a:lnTo>
                    <a:pt x="462" y="144"/>
                  </a:lnTo>
                  <a:lnTo>
                    <a:pt x="466" y="144"/>
                  </a:lnTo>
                  <a:lnTo>
                    <a:pt x="470" y="144"/>
                  </a:lnTo>
                  <a:lnTo>
                    <a:pt x="466" y="144"/>
                  </a:lnTo>
                  <a:lnTo>
                    <a:pt x="462" y="144"/>
                  </a:lnTo>
                  <a:lnTo>
                    <a:pt x="458" y="144"/>
                  </a:lnTo>
                  <a:close/>
                  <a:moveTo>
                    <a:pt x="71" y="152"/>
                  </a:moveTo>
                  <a:lnTo>
                    <a:pt x="67" y="152"/>
                  </a:lnTo>
                  <a:lnTo>
                    <a:pt x="67" y="148"/>
                  </a:lnTo>
                  <a:lnTo>
                    <a:pt x="71" y="152"/>
                  </a:lnTo>
                  <a:close/>
                  <a:moveTo>
                    <a:pt x="75" y="160"/>
                  </a:moveTo>
                  <a:lnTo>
                    <a:pt x="75" y="164"/>
                  </a:lnTo>
                  <a:lnTo>
                    <a:pt x="75" y="160"/>
                  </a:lnTo>
                  <a:lnTo>
                    <a:pt x="71" y="160"/>
                  </a:lnTo>
                  <a:lnTo>
                    <a:pt x="71" y="156"/>
                  </a:lnTo>
                  <a:lnTo>
                    <a:pt x="75" y="156"/>
                  </a:lnTo>
                  <a:lnTo>
                    <a:pt x="75" y="160"/>
                  </a:lnTo>
                  <a:close/>
                  <a:moveTo>
                    <a:pt x="199" y="164"/>
                  </a:moveTo>
                  <a:lnTo>
                    <a:pt x="199" y="167"/>
                  </a:lnTo>
                  <a:lnTo>
                    <a:pt x="195" y="167"/>
                  </a:lnTo>
                  <a:lnTo>
                    <a:pt x="191" y="167"/>
                  </a:lnTo>
                  <a:lnTo>
                    <a:pt x="191" y="164"/>
                  </a:lnTo>
                  <a:lnTo>
                    <a:pt x="191" y="167"/>
                  </a:lnTo>
                  <a:lnTo>
                    <a:pt x="187" y="167"/>
                  </a:lnTo>
                  <a:lnTo>
                    <a:pt x="187" y="164"/>
                  </a:lnTo>
                  <a:lnTo>
                    <a:pt x="187" y="160"/>
                  </a:lnTo>
                  <a:lnTo>
                    <a:pt x="191" y="156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64"/>
                  </a:lnTo>
                  <a:close/>
                  <a:moveTo>
                    <a:pt x="79" y="171"/>
                  </a:moveTo>
                  <a:lnTo>
                    <a:pt x="79" y="167"/>
                  </a:lnTo>
                  <a:lnTo>
                    <a:pt x="75" y="164"/>
                  </a:lnTo>
                  <a:lnTo>
                    <a:pt x="75" y="160"/>
                  </a:lnTo>
                  <a:lnTo>
                    <a:pt x="79" y="164"/>
                  </a:lnTo>
                  <a:lnTo>
                    <a:pt x="79" y="167"/>
                  </a:lnTo>
                  <a:lnTo>
                    <a:pt x="79" y="171"/>
                  </a:lnTo>
                  <a:close/>
                  <a:moveTo>
                    <a:pt x="538" y="179"/>
                  </a:moveTo>
                  <a:lnTo>
                    <a:pt x="534" y="179"/>
                  </a:lnTo>
                  <a:lnTo>
                    <a:pt x="534" y="175"/>
                  </a:lnTo>
                  <a:lnTo>
                    <a:pt x="530" y="175"/>
                  </a:lnTo>
                  <a:lnTo>
                    <a:pt x="526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14" y="171"/>
                  </a:lnTo>
                  <a:lnTo>
                    <a:pt x="510" y="171"/>
                  </a:lnTo>
                  <a:lnTo>
                    <a:pt x="510" y="167"/>
                  </a:lnTo>
                  <a:lnTo>
                    <a:pt x="510" y="171"/>
                  </a:lnTo>
                  <a:lnTo>
                    <a:pt x="506" y="171"/>
                  </a:lnTo>
                  <a:lnTo>
                    <a:pt x="502" y="171"/>
                  </a:lnTo>
                  <a:lnTo>
                    <a:pt x="502" y="167"/>
                  </a:lnTo>
                  <a:lnTo>
                    <a:pt x="498" y="167"/>
                  </a:lnTo>
                  <a:lnTo>
                    <a:pt x="498" y="171"/>
                  </a:lnTo>
                  <a:lnTo>
                    <a:pt x="494" y="175"/>
                  </a:lnTo>
                  <a:lnTo>
                    <a:pt x="494" y="171"/>
                  </a:lnTo>
                  <a:lnTo>
                    <a:pt x="494" y="167"/>
                  </a:lnTo>
                  <a:lnTo>
                    <a:pt x="498" y="167"/>
                  </a:lnTo>
                  <a:lnTo>
                    <a:pt x="498" y="164"/>
                  </a:lnTo>
                  <a:lnTo>
                    <a:pt x="502" y="164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4" y="164"/>
                  </a:lnTo>
                  <a:lnTo>
                    <a:pt x="518" y="164"/>
                  </a:lnTo>
                  <a:lnTo>
                    <a:pt x="518" y="160"/>
                  </a:lnTo>
                  <a:lnTo>
                    <a:pt x="522" y="160"/>
                  </a:lnTo>
                  <a:lnTo>
                    <a:pt x="522" y="164"/>
                  </a:lnTo>
                  <a:lnTo>
                    <a:pt x="526" y="164"/>
                  </a:lnTo>
                  <a:lnTo>
                    <a:pt x="530" y="164"/>
                  </a:lnTo>
                  <a:lnTo>
                    <a:pt x="534" y="164"/>
                  </a:lnTo>
                  <a:lnTo>
                    <a:pt x="538" y="167"/>
                  </a:lnTo>
                  <a:lnTo>
                    <a:pt x="538" y="171"/>
                  </a:lnTo>
                  <a:lnTo>
                    <a:pt x="542" y="175"/>
                  </a:lnTo>
                  <a:lnTo>
                    <a:pt x="538" y="179"/>
                  </a:lnTo>
                  <a:close/>
                  <a:moveTo>
                    <a:pt x="175" y="164"/>
                  </a:moveTo>
                  <a:lnTo>
                    <a:pt x="179" y="164"/>
                  </a:lnTo>
                  <a:lnTo>
                    <a:pt x="175" y="164"/>
                  </a:lnTo>
                  <a:close/>
                  <a:moveTo>
                    <a:pt x="470" y="167"/>
                  </a:moveTo>
                  <a:lnTo>
                    <a:pt x="474" y="167"/>
                  </a:lnTo>
                  <a:lnTo>
                    <a:pt x="478" y="167"/>
                  </a:lnTo>
                  <a:lnTo>
                    <a:pt x="482" y="167"/>
                  </a:lnTo>
                  <a:lnTo>
                    <a:pt x="482" y="171"/>
                  </a:lnTo>
                  <a:lnTo>
                    <a:pt x="486" y="171"/>
                  </a:lnTo>
                  <a:lnTo>
                    <a:pt x="486" y="175"/>
                  </a:lnTo>
                  <a:lnTo>
                    <a:pt x="482" y="175"/>
                  </a:lnTo>
                  <a:lnTo>
                    <a:pt x="482" y="179"/>
                  </a:lnTo>
                  <a:lnTo>
                    <a:pt x="478" y="179"/>
                  </a:lnTo>
                  <a:lnTo>
                    <a:pt x="474" y="179"/>
                  </a:lnTo>
                  <a:lnTo>
                    <a:pt x="470" y="175"/>
                  </a:lnTo>
                  <a:lnTo>
                    <a:pt x="466" y="171"/>
                  </a:lnTo>
                  <a:lnTo>
                    <a:pt x="466" y="167"/>
                  </a:lnTo>
                  <a:lnTo>
                    <a:pt x="470" y="167"/>
                  </a:lnTo>
                  <a:close/>
                  <a:moveTo>
                    <a:pt x="319" y="171"/>
                  </a:moveTo>
                  <a:lnTo>
                    <a:pt x="319" y="175"/>
                  </a:lnTo>
                  <a:lnTo>
                    <a:pt x="319" y="179"/>
                  </a:lnTo>
                  <a:lnTo>
                    <a:pt x="319" y="183"/>
                  </a:lnTo>
                  <a:lnTo>
                    <a:pt x="315" y="183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5" y="175"/>
                  </a:lnTo>
                  <a:lnTo>
                    <a:pt x="315" y="171"/>
                  </a:lnTo>
                  <a:lnTo>
                    <a:pt x="319" y="171"/>
                  </a:lnTo>
                  <a:lnTo>
                    <a:pt x="319" y="167"/>
                  </a:lnTo>
                  <a:lnTo>
                    <a:pt x="319" y="171"/>
                  </a:lnTo>
                  <a:close/>
                  <a:moveTo>
                    <a:pt x="490" y="167"/>
                  </a:moveTo>
                  <a:lnTo>
                    <a:pt x="490" y="171"/>
                  </a:lnTo>
                  <a:lnTo>
                    <a:pt x="490" y="167"/>
                  </a:lnTo>
                  <a:close/>
                  <a:moveTo>
                    <a:pt x="498" y="175"/>
                  </a:moveTo>
                  <a:lnTo>
                    <a:pt x="502" y="175"/>
                  </a:lnTo>
                  <a:lnTo>
                    <a:pt x="502" y="179"/>
                  </a:lnTo>
                  <a:lnTo>
                    <a:pt x="498" y="179"/>
                  </a:lnTo>
                  <a:lnTo>
                    <a:pt x="502" y="175"/>
                  </a:lnTo>
                  <a:lnTo>
                    <a:pt x="498" y="175"/>
                  </a:lnTo>
                  <a:lnTo>
                    <a:pt x="498" y="179"/>
                  </a:lnTo>
                  <a:lnTo>
                    <a:pt x="494" y="179"/>
                  </a:lnTo>
                  <a:lnTo>
                    <a:pt x="494" y="175"/>
                  </a:lnTo>
                  <a:lnTo>
                    <a:pt x="498" y="175"/>
                  </a:lnTo>
                  <a:close/>
                  <a:moveTo>
                    <a:pt x="502" y="175"/>
                  </a:moveTo>
                  <a:lnTo>
                    <a:pt x="506" y="175"/>
                  </a:lnTo>
                  <a:lnTo>
                    <a:pt x="502" y="175"/>
                  </a:lnTo>
                  <a:close/>
                  <a:moveTo>
                    <a:pt x="422" y="183"/>
                  </a:moveTo>
                  <a:lnTo>
                    <a:pt x="426" y="183"/>
                  </a:lnTo>
                  <a:lnTo>
                    <a:pt x="422" y="187"/>
                  </a:lnTo>
                  <a:lnTo>
                    <a:pt x="422" y="183"/>
                  </a:lnTo>
                  <a:close/>
                  <a:moveTo>
                    <a:pt x="422" y="191"/>
                  </a:moveTo>
                  <a:lnTo>
                    <a:pt x="426" y="191"/>
                  </a:lnTo>
                  <a:lnTo>
                    <a:pt x="426" y="195"/>
                  </a:lnTo>
                  <a:lnTo>
                    <a:pt x="426" y="199"/>
                  </a:lnTo>
                  <a:lnTo>
                    <a:pt x="422" y="195"/>
                  </a:lnTo>
                  <a:lnTo>
                    <a:pt x="422" y="199"/>
                  </a:lnTo>
                  <a:lnTo>
                    <a:pt x="422" y="203"/>
                  </a:lnTo>
                  <a:lnTo>
                    <a:pt x="426" y="207"/>
                  </a:lnTo>
                  <a:lnTo>
                    <a:pt x="422" y="207"/>
                  </a:lnTo>
                  <a:lnTo>
                    <a:pt x="418" y="207"/>
                  </a:lnTo>
                  <a:lnTo>
                    <a:pt x="418" y="211"/>
                  </a:lnTo>
                  <a:lnTo>
                    <a:pt x="418" y="215"/>
                  </a:lnTo>
                  <a:lnTo>
                    <a:pt x="414" y="215"/>
                  </a:lnTo>
                  <a:lnTo>
                    <a:pt x="414" y="211"/>
                  </a:lnTo>
                  <a:lnTo>
                    <a:pt x="414" y="207"/>
                  </a:lnTo>
                  <a:lnTo>
                    <a:pt x="418" y="207"/>
                  </a:lnTo>
                  <a:lnTo>
                    <a:pt x="418" y="203"/>
                  </a:lnTo>
                  <a:lnTo>
                    <a:pt x="418" y="199"/>
                  </a:lnTo>
                  <a:lnTo>
                    <a:pt x="418" y="195"/>
                  </a:lnTo>
                  <a:lnTo>
                    <a:pt x="418" y="191"/>
                  </a:lnTo>
                  <a:lnTo>
                    <a:pt x="422" y="191"/>
                  </a:lnTo>
                  <a:close/>
                  <a:moveTo>
                    <a:pt x="418" y="195"/>
                  </a:moveTo>
                  <a:lnTo>
                    <a:pt x="418" y="199"/>
                  </a:lnTo>
                  <a:lnTo>
                    <a:pt x="414" y="203"/>
                  </a:lnTo>
                  <a:lnTo>
                    <a:pt x="414" y="207"/>
                  </a:lnTo>
                  <a:lnTo>
                    <a:pt x="410" y="207"/>
                  </a:lnTo>
                  <a:lnTo>
                    <a:pt x="410" y="203"/>
                  </a:lnTo>
                  <a:lnTo>
                    <a:pt x="410" y="199"/>
                  </a:lnTo>
                  <a:lnTo>
                    <a:pt x="410" y="195"/>
                  </a:lnTo>
                  <a:lnTo>
                    <a:pt x="414" y="195"/>
                  </a:lnTo>
                  <a:lnTo>
                    <a:pt x="418" y="195"/>
                  </a:lnTo>
                  <a:close/>
                  <a:moveTo>
                    <a:pt x="406" y="203"/>
                  </a:moveTo>
                  <a:lnTo>
                    <a:pt x="406" y="207"/>
                  </a:lnTo>
                  <a:lnTo>
                    <a:pt x="406" y="211"/>
                  </a:lnTo>
                  <a:lnTo>
                    <a:pt x="402" y="207"/>
                  </a:lnTo>
                  <a:lnTo>
                    <a:pt x="402" y="203"/>
                  </a:lnTo>
                  <a:lnTo>
                    <a:pt x="406" y="203"/>
                  </a:lnTo>
                  <a:close/>
                  <a:moveTo>
                    <a:pt x="111" y="211"/>
                  </a:moveTo>
                  <a:lnTo>
                    <a:pt x="107" y="211"/>
                  </a:lnTo>
                  <a:lnTo>
                    <a:pt x="103" y="207"/>
                  </a:lnTo>
                  <a:lnTo>
                    <a:pt x="107" y="207"/>
                  </a:lnTo>
                  <a:lnTo>
                    <a:pt x="111" y="207"/>
                  </a:lnTo>
                  <a:lnTo>
                    <a:pt x="111" y="211"/>
                  </a:lnTo>
                  <a:close/>
                  <a:moveTo>
                    <a:pt x="594" y="207"/>
                  </a:moveTo>
                  <a:lnTo>
                    <a:pt x="598" y="207"/>
                  </a:lnTo>
                  <a:lnTo>
                    <a:pt x="598" y="211"/>
                  </a:lnTo>
                  <a:lnTo>
                    <a:pt x="598" y="215"/>
                  </a:lnTo>
                  <a:lnTo>
                    <a:pt x="598" y="219"/>
                  </a:lnTo>
                  <a:lnTo>
                    <a:pt x="594" y="219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94" y="215"/>
                  </a:lnTo>
                  <a:lnTo>
                    <a:pt x="594" y="211"/>
                  </a:lnTo>
                  <a:lnTo>
                    <a:pt x="594" y="207"/>
                  </a:lnTo>
                  <a:close/>
                  <a:moveTo>
                    <a:pt x="267" y="215"/>
                  </a:moveTo>
                  <a:lnTo>
                    <a:pt x="263" y="215"/>
                  </a:lnTo>
                  <a:lnTo>
                    <a:pt x="267" y="215"/>
                  </a:lnTo>
                  <a:close/>
                  <a:moveTo>
                    <a:pt x="383" y="215"/>
                  </a:moveTo>
                  <a:lnTo>
                    <a:pt x="383" y="219"/>
                  </a:lnTo>
                  <a:lnTo>
                    <a:pt x="387" y="219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19"/>
                  </a:lnTo>
                  <a:lnTo>
                    <a:pt x="383" y="215"/>
                  </a:lnTo>
                  <a:close/>
                  <a:moveTo>
                    <a:pt x="227" y="255"/>
                  </a:moveTo>
                  <a:lnTo>
                    <a:pt x="223" y="255"/>
                  </a:lnTo>
                  <a:lnTo>
                    <a:pt x="219" y="251"/>
                  </a:lnTo>
                  <a:lnTo>
                    <a:pt x="215" y="251"/>
                  </a:lnTo>
                  <a:lnTo>
                    <a:pt x="211" y="251"/>
                  </a:lnTo>
                  <a:lnTo>
                    <a:pt x="207" y="251"/>
                  </a:lnTo>
                  <a:lnTo>
                    <a:pt x="203" y="251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1" y="251"/>
                  </a:lnTo>
                  <a:lnTo>
                    <a:pt x="191" y="247"/>
                  </a:lnTo>
                  <a:lnTo>
                    <a:pt x="187" y="247"/>
                  </a:lnTo>
                  <a:lnTo>
                    <a:pt x="183" y="247"/>
                  </a:lnTo>
                  <a:lnTo>
                    <a:pt x="179" y="247"/>
                  </a:lnTo>
                  <a:lnTo>
                    <a:pt x="175" y="247"/>
                  </a:lnTo>
                  <a:lnTo>
                    <a:pt x="171" y="247"/>
                  </a:lnTo>
                  <a:lnTo>
                    <a:pt x="171" y="243"/>
                  </a:lnTo>
                  <a:lnTo>
                    <a:pt x="171" y="239"/>
                  </a:lnTo>
                  <a:lnTo>
                    <a:pt x="171" y="235"/>
                  </a:lnTo>
                  <a:lnTo>
                    <a:pt x="171" y="239"/>
                  </a:lnTo>
                  <a:lnTo>
                    <a:pt x="167" y="239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59" y="235"/>
                  </a:lnTo>
                  <a:lnTo>
                    <a:pt x="155" y="235"/>
                  </a:lnTo>
                  <a:lnTo>
                    <a:pt x="151" y="235"/>
                  </a:lnTo>
                  <a:lnTo>
                    <a:pt x="155" y="235"/>
                  </a:lnTo>
                  <a:lnTo>
                    <a:pt x="155" y="231"/>
                  </a:lnTo>
                  <a:lnTo>
                    <a:pt x="155" y="235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63" y="227"/>
                  </a:lnTo>
                  <a:lnTo>
                    <a:pt x="163" y="223"/>
                  </a:lnTo>
                  <a:lnTo>
                    <a:pt x="163" y="219"/>
                  </a:lnTo>
                  <a:lnTo>
                    <a:pt x="163" y="215"/>
                  </a:lnTo>
                  <a:lnTo>
                    <a:pt x="167" y="215"/>
                  </a:lnTo>
                  <a:lnTo>
                    <a:pt x="167" y="219"/>
                  </a:lnTo>
                  <a:lnTo>
                    <a:pt x="171" y="219"/>
                  </a:lnTo>
                  <a:lnTo>
                    <a:pt x="175" y="219"/>
                  </a:lnTo>
                  <a:lnTo>
                    <a:pt x="179" y="219"/>
                  </a:lnTo>
                  <a:lnTo>
                    <a:pt x="183" y="219"/>
                  </a:lnTo>
                  <a:lnTo>
                    <a:pt x="187" y="219"/>
                  </a:lnTo>
                  <a:lnTo>
                    <a:pt x="187" y="223"/>
                  </a:lnTo>
                  <a:lnTo>
                    <a:pt x="191" y="223"/>
                  </a:lnTo>
                  <a:lnTo>
                    <a:pt x="195" y="227"/>
                  </a:lnTo>
                  <a:lnTo>
                    <a:pt x="199" y="227"/>
                  </a:lnTo>
                  <a:lnTo>
                    <a:pt x="199" y="223"/>
                  </a:lnTo>
                  <a:lnTo>
                    <a:pt x="199" y="227"/>
                  </a:lnTo>
                  <a:lnTo>
                    <a:pt x="203" y="227"/>
                  </a:lnTo>
                  <a:lnTo>
                    <a:pt x="203" y="231"/>
                  </a:lnTo>
                  <a:lnTo>
                    <a:pt x="203" y="235"/>
                  </a:lnTo>
                  <a:lnTo>
                    <a:pt x="207" y="235"/>
                  </a:lnTo>
                  <a:lnTo>
                    <a:pt x="211" y="235"/>
                  </a:lnTo>
                  <a:lnTo>
                    <a:pt x="215" y="235"/>
                  </a:lnTo>
                  <a:lnTo>
                    <a:pt x="219" y="235"/>
                  </a:lnTo>
                  <a:lnTo>
                    <a:pt x="223" y="235"/>
                  </a:lnTo>
                  <a:lnTo>
                    <a:pt x="227" y="235"/>
                  </a:lnTo>
                  <a:lnTo>
                    <a:pt x="231" y="235"/>
                  </a:lnTo>
                  <a:lnTo>
                    <a:pt x="231" y="239"/>
                  </a:lnTo>
                  <a:lnTo>
                    <a:pt x="231" y="235"/>
                  </a:lnTo>
                  <a:lnTo>
                    <a:pt x="235" y="235"/>
                  </a:lnTo>
                  <a:lnTo>
                    <a:pt x="235" y="231"/>
                  </a:lnTo>
                  <a:lnTo>
                    <a:pt x="235" y="227"/>
                  </a:lnTo>
                  <a:lnTo>
                    <a:pt x="239" y="227"/>
                  </a:lnTo>
                  <a:lnTo>
                    <a:pt x="243" y="231"/>
                  </a:lnTo>
                  <a:lnTo>
                    <a:pt x="247" y="231"/>
                  </a:lnTo>
                  <a:lnTo>
                    <a:pt x="251" y="231"/>
                  </a:lnTo>
                  <a:lnTo>
                    <a:pt x="251" y="235"/>
                  </a:lnTo>
                  <a:lnTo>
                    <a:pt x="255" y="235"/>
                  </a:lnTo>
                  <a:lnTo>
                    <a:pt x="259" y="235"/>
                  </a:lnTo>
                  <a:lnTo>
                    <a:pt x="263" y="235"/>
                  </a:lnTo>
                  <a:lnTo>
                    <a:pt x="263" y="239"/>
                  </a:lnTo>
                  <a:lnTo>
                    <a:pt x="267" y="239"/>
                  </a:lnTo>
                  <a:lnTo>
                    <a:pt x="267" y="243"/>
                  </a:lnTo>
                  <a:lnTo>
                    <a:pt x="263" y="239"/>
                  </a:lnTo>
                  <a:lnTo>
                    <a:pt x="263" y="243"/>
                  </a:lnTo>
                  <a:lnTo>
                    <a:pt x="267" y="243"/>
                  </a:lnTo>
                  <a:lnTo>
                    <a:pt x="267" y="247"/>
                  </a:lnTo>
                  <a:lnTo>
                    <a:pt x="271" y="251"/>
                  </a:lnTo>
                  <a:lnTo>
                    <a:pt x="275" y="251"/>
                  </a:lnTo>
                  <a:lnTo>
                    <a:pt x="279" y="251"/>
                  </a:lnTo>
                  <a:lnTo>
                    <a:pt x="283" y="251"/>
                  </a:lnTo>
                  <a:lnTo>
                    <a:pt x="287" y="251"/>
                  </a:lnTo>
                  <a:lnTo>
                    <a:pt x="287" y="247"/>
                  </a:lnTo>
                  <a:lnTo>
                    <a:pt x="287" y="251"/>
                  </a:lnTo>
                  <a:lnTo>
                    <a:pt x="291" y="251"/>
                  </a:lnTo>
                  <a:lnTo>
                    <a:pt x="291" y="255"/>
                  </a:lnTo>
                  <a:lnTo>
                    <a:pt x="291" y="259"/>
                  </a:lnTo>
                  <a:lnTo>
                    <a:pt x="291" y="263"/>
                  </a:lnTo>
                  <a:lnTo>
                    <a:pt x="291" y="267"/>
                  </a:lnTo>
                  <a:lnTo>
                    <a:pt x="295" y="267"/>
                  </a:lnTo>
                  <a:lnTo>
                    <a:pt x="295" y="271"/>
                  </a:lnTo>
                  <a:lnTo>
                    <a:pt x="291" y="271"/>
                  </a:lnTo>
                  <a:lnTo>
                    <a:pt x="291" y="267"/>
                  </a:lnTo>
                  <a:lnTo>
                    <a:pt x="287" y="267"/>
                  </a:lnTo>
                  <a:lnTo>
                    <a:pt x="283" y="267"/>
                  </a:lnTo>
                  <a:lnTo>
                    <a:pt x="279" y="263"/>
                  </a:lnTo>
                  <a:lnTo>
                    <a:pt x="275" y="263"/>
                  </a:lnTo>
                  <a:lnTo>
                    <a:pt x="275" y="259"/>
                  </a:lnTo>
                  <a:lnTo>
                    <a:pt x="271" y="259"/>
                  </a:lnTo>
                  <a:lnTo>
                    <a:pt x="271" y="263"/>
                  </a:lnTo>
                  <a:lnTo>
                    <a:pt x="267" y="263"/>
                  </a:lnTo>
                  <a:lnTo>
                    <a:pt x="263" y="263"/>
                  </a:lnTo>
                  <a:lnTo>
                    <a:pt x="259" y="263"/>
                  </a:lnTo>
                  <a:lnTo>
                    <a:pt x="255" y="263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3"/>
                  </a:lnTo>
                  <a:lnTo>
                    <a:pt x="247" y="259"/>
                  </a:lnTo>
                  <a:lnTo>
                    <a:pt x="243" y="259"/>
                  </a:lnTo>
                  <a:lnTo>
                    <a:pt x="239" y="259"/>
                  </a:lnTo>
                  <a:lnTo>
                    <a:pt x="235" y="259"/>
                  </a:lnTo>
                  <a:lnTo>
                    <a:pt x="231" y="259"/>
                  </a:lnTo>
                  <a:lnTo>
                    <a:pt x="227" y="255"/>
                  </a:lnTo>
                  <a:close/>
                  <a:moveTo>
                    <a:pt x="594" y="219"/>
                  </a:moveTo>
                  <a:lnTo>
                    <a:pt x="598" y="219"/>
                  </a:lnTo>
                  <a:lnTo>
                    <a:pt x="598" y="223"/>
                  </a:lnTo>
                  <a:lnTo>
                    <a:pt x="598" y="227"/>
                  </a:lnTo>
                  <a:lnTo>
                    <a:pt x="594" y="223"/>
                  </a:lnTo>
                  <a:lnTo>
                    <a:pt x="594" y="219"/>
                  </a:lnTo>
                  <a:close/>
                  <a:moveTo>
                    <a:pt x="590" y="223"/>
                  </a:move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90" y="227"/>
                  </a:lnTo>
                  <a:lnTo>
                    <a:pt x="590" y="223"/>
                  </a:lnTo>
                  <a:close/>
                  <a:moveTo>
                    <a:pt x="151" y="227"/>
                  </a:moveTo>
                  <a:lnTo>
                    <a:pt x="151" y="231"/>
                  </a:lnTo>
                  <a:lnTo>
                    <a:pt x="151" y="227"/>
                  </a:lnTo>
                  <a:close/>
                  <a:moveTo>
                    <a:pt x="307" y="235"/>
                  </a:moveTo>
                  <a:lnTo>
                    <a:pt x="311" y="235"/>
                  </a:lnTo>
                  <a:lnTo>
                    <a:pt x="307" y="235"/>
                  </a:lnTo>
                  <a:lnTo>
                    <a:pt x="307" y="239"/>
                  </a:lnTo>
                  <a:lnTo>
                    <a:pt x="303" y="239"/>
                  </a:lnTo>
                  <a:lnTo>
                    <a:pt x="303" y="235"/>
                  </a:lnTo>
                  <a:lnTo>
                    <a:pt x="307" y="235"/>
                  </a:lnTo>
                  <a:close/>
                  <a:moveTo>
                    <a:pt x="271" y="235"/>
                  </a:moveTo>
                  <a:lnTo>
                    <a:pt x="275" y="235"/>
                  </a:lnTo>
                  <a:lnTo>
                    <a:pt x="279" y="235"/>
                  </a:lnTo>
                  <a:lnTo>
                    <a:pt x="283" y="235"/>
                  </a:lnTo>
                  <a:lnTo>
                    <a:pt x="287" y="235"/>
                  </a:lnTo>
                  <a:lnTo>
                    <a:pt x="287" y="239"/>
                  </a:lnTo>
                  <a:lnTo>
                    <a:pt x="283" y="239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75" y="243"/>
                  </a:lnTo>
                  <a:lnTo>
                    <a:pt x="271" y="243"/>
                  </a:lnTo>
                  <a:lnTo>
                    <a:pt x="271" y="239"/>
                  </a:lnTo>
                  <a:lnTo>
                    <a:pt x="271" y="243"/>
                  </a:lnTo>
                  <a:lnTo>
                    <a:pt x="267" y="239"/>
                  </a:lnTo>
                  <a:lnTo>
                    <a:pt x="267" y="235"/>
                  </a:lnTo>
                  <a:lnTo>
                    <a:pt x="271" y="235"/>
                  </a:lnTo>
                  <a:close/>
                  <a:moveTo>
                    <a:pt x="554" y="239"/>
                  </a:moveTo>
                  <a:lnTo>
                    <a:pt x="554" y="243"/>
                  </a:lnTo>
                  <a:lnTo>
                    <a:pt x="554" y="247"/>
                  </a:lnTo>
                  <a:lnTo>
                    <a:pt x="550" y="251"/>
                  </a:lnTo>
                  <a:lnTo>
                    <a:pt x="550" y="255"/>
                  </a:lnTo>
                  <a:lnTo>
                    <a:pt x="546" y="255"/>
                  </a:lnTo>
                  <a:lnTo>
                    <a:pt x="542" y="255"/>
                  </a:lnTo>
                  <a:lnTo>
                    <a:pt x="546" y="251"/>
                  </a:lnTo>
                  <a:lnTo>
                    <a:pt x="546" y="247"/>
                  </a:lnTo>
                  <a:lnTo>
                    <a:pt x="550" y="243"/>
                  </a:lnTo>
                  <a:lnTo>
                    <a:pt x="550" y="239"/>
                  </a:lnTo>
                  <a:lnTo>
                    <a:pt x="554" y="239"/>
                  </a:lnTo>
                  <a:close/>
                  <a:moveTo>
                    <a:pt x="658" y="243"/>
                  </a:moveTo>
                  <a:lnTo>
                    <a:pt x="662" y="243"/>
                  </a:lnTo>
                  <a:lnTo>
                    <a:pt x="662" y="247"/>
                  </a:lnTo>
                  <a:lnTo>
                    <a:pt x="666" y="247"/>
                  </a:lnTo>
                  <a:lnTo>
                    <a:pt x="662" y="251"/>
                  </a:lnTo>
                  <a:lnTo>
                    <a:pt x="662" y="255"/>
                  </a:lnTo>
                  <a:lnTo>
                    <a:pt x="662" y="259"/>
                  </a:lnTo>
                  <a:lnTo>
                    <a:pt x="658" y="259"/>
                  </a:lnTo>
                  <a:lnTo>
                    <a:pt x="654" y="263"/>
                  </a:lnTo>
                  <a:lnTo>
                    <a:pt x="650" y="263"/>
                  </a:lnTo>
                  <a:lnTo>
                    <a:pt x="646" y="263"/>
                  </a:lnTo>
                  <a:lnTo>
                    <a:pt x="642" y="263"/>
                  </a:lnTo>
                  <a:lnTo>
                    <a:pt x="646" y="259"/>
                  </a:lnTo>
                  <a:lnTo>
                    <a:pt x="646" y="255"/>
                  </a:lnTo>
                  <a:lnTo>
                    <a:pt x="646" y="251"/>
                  </a:lnTo>
                  <a:lnTo>
                    <a:pt x="650" y="247"/>
                  </a:lnTo>
                  <a:lnTo>
                    <a:pt x="654" y="247"/>
                  </a:lnTo>
                  <a:lnTo>
                    <a:pt x="654" y="243"/>
                  </a:lnTo>
                  <a:lnTo>
                    <a:pt x="658" y="243"/>
                  </a:lnTo>
                  <a:close/>
                  <a:moveTo>
                    <a:pt x="522" y="251"/>
                  </a:moveTo>
                  <a:lnTo>
                    <a:pt x="526" y="251"/>
                  </a:lnTo>
                  <a:lnTo>
                    <a:pt x="526" y="255"/>
                  </a:lnTo>
                  <a:lnTo>
                    <a:pt x="522" y="255"/>
                  </a:lnTo>
                  <a:lnTo>
                    <a:pt x="522" y="251"/>
                  </a:lnTo>
                  <a:close/>
                  <a:moveTo>
                    <a:pt x="291" y="259"/>
                  </a:moveTo>
                  <a:lnTo>
                    <a:pt x="295" y="259"/>
                  </a:lnTo>
                  <a:lnTo>
                    <a:pt x="299" y="259"/>
                  </a:lnTo>
                  <a:lnTo>
                    <a:pt x="303" y="259"/>
                  </a:lnTo>
                  <a:lnTo>
                    <a:pt x="303" y="255"/>
                  </a:lnTo>
                  <a:lnTo>
                    <a:pt x="307" y="259"/>
                  </a:lnTo>
                  <a:lnTo>
                    <a:pt x="311" y="259"/>
                  </a:lnTo>
                  <a:lnTo>
                    <a:pt x="311" y="263"/>
                  </a:lnTo>
                  <a:lnTo>
                    <a:pt x="307" y="267"/>
                  </a:lnTo>
                  <a:lnTo>
                    <a:pt x="303" y="267"/>
                  </a:lnTo>
                  <a:lnTo>
                    <a:pt x="303" y="271"/>
                  </a:lnTo>
                  <a:lnTo>
                    <a:pt x="303" y="267"/>
                  </a:lnTo>
                  <a:lnTo>
                    <a:pt x="299" y="263"/>
                  </a:lnTo>
                  <a:lnTo>
                    <a:pt x="295" y="263"/>
                  </a:lnTo>
                  <a:lnTo>
                    <a:pt x="295" y="259"/>
                  </a:lnTo>
                  <a:lnTo>
                    <a:pt x="291" y="259"/>
                  </a:lnTo>
                  <a:close/>
                  <a:moveTo>
                    <a:pt x="418" y="267"/>
                  </a:moveTo>
                  <a:lnTo>
                    <a:pt x="414" y="267"/>
                  </a:lnTo>
                  <a:lnTo>
                    <a:pt x="414" y="271"/>
                  </a:lnTo>
                  <a:lnTo>
                    <a:pt x="410" y="271"/>
                  </a:lnTo>
                  <a:lnTo>
                    <a:pt x="406" y="271"/>
                  </a:lnTo>
                  <a:lnTo>
                    <a:pt x="402" y="271"/>
                  </a:lnTo>
                  <a:lnTo>
                    <a:pt x="398" y="271"/>
                  </a:lnTo>
                  <a:lnTo>
                    <a:pt x="395" y="271"/>
                  </a:lnTo>
                  <a:lnTo>
                    <a:pt x="391" y="275"/>
                  </a:lnTo>
                  <a:lnTo>
                    <a:pt x="391" y="271"/>
                  </a:lnTo>
                  <a:lnTo>
                    <a:pt x="387" y="271"/>
                  </a:lnTo>
                  <a:lnTo>
                    <a:pt x="383" y="271"/>
                  </a:lnTo>
                  <a:lnTo>
                    <a:pt x="379" y="271"/>
                  </a:lnTo>
                  <a:lnTo>
                    <a:pt x="375" y="271"/>
                  </a:lnTo>
                  <a:lnTo>
                    <a:pt x="375" y="267"/>
                  </a:lnTo>
                  <a:lnTo>
                    <a:pt x="375" y="263"/>
                  </a:lnTo>
                  <a:lnTo>
                    <a:pt x="379" y="263"/>
                  </a:lnTo>
                  <a:lnTo>
                    <a:pt x="379" y="259"/>
                  </a:lnTo>
                  <a:lnTo>
                    <a:pt x="383" y="259"/>
                  </a:lnTo>
                  <a:lnTo>
                    <a:pt x="387" y="263"/>
                  </a:lnTo>
                  <a:lnTo>
                    <a:pt x="391" y="263"/>
                  </a:lnTo>
                  <a:lnTo>
                    <a:pt x="395" y="263"/>
                  </a:lnTo>
                  <a:lnTo>
                    <a:pt x="395" y="267"/>
                  </a:lnTo>
                  <a:lnTo>
                    <a:pt x="398" y="267"/>
                  </a:lnTo>
                  <a:lnTo>
                    <a:pt x="402" y="263"/>
                  </a:lnTo>
                  <a:lnTo>
                    <a:pt x="406" y="263"/>
                  </a:lnTo>
                  <a:lnTo>
                    <a:pt x="406" y="267"/>
                  </a:lnTo>
                  <a:lnTo>
                    <a:pt x="410" y="267"/>
                  </a:lnTo>
                  <a:lnTo>
                    <a:pt x="414" y="267"/>
                  </a:lnTo>
                  <a:lnTo>
                    <a:pt x="414" y="263"/>
                  </a:lnTo>
                  <a:lnTo>
                    <a:pt x="418" y="263"/>
                  </a:lnTo>
                  <a:lnTo>
                    <a:pt x="422" y="259"/>
                  </a:lnTo>
                  <a:lnTo>
                    <a:pt x="418" y="259"/>
                  </a:lnTo>
                  <a:lnTo>
                    <a:pt x="422" y="259"/>
                  </a:lnTo>
                  <a:lnTo>
                    <a:pt x="422" y="263"/>
                  </a:lnTo>
                  <a:lnTo>
                    <a:pt x="418" y="263"/>
                  </a:lnTo>
                  <a:lnTo>
                    <a:pt x="418" y="267"/>
                  </a:lnTo>
                  <a:close/>
                  <a:moveTo>
                    <a:pt x="363" y="267"/>
                  </a:moveTo>
                  <a:lnTo>
                    <a:pt x="363" y="271"/>
                  </a:lnTo>
                  <a:lnTo>
                    <a:pt x="359" y="271"/>
                  </a:lnTo>
                  <a:lnTo>
                    <a:pt x="359" y="267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5" y="271"/>
                  </a:lnTo>
                  <a:lnTo>
                    <a:pt x="351" y="271"/>
                  </a:lnTo>
                  <a:lnTo>
                    <a:pt x="351" y="267"/>
                  </a:lnTo>
                  <a:lnTo>
                    <a:pt x="351" y="271"/>
                  </a:lnTo>
                  <a:lnTo>
                    <a:pt x="347" y="271"/>
                  </a:lnTo>
                  <a:lnTo>
                    <a:pt x="343" y="275"/>
                  </a:lnTo>
                  <a:lnTo>
                    <a:pt x="343" y="271"/>
                  </a:lnTo>
                  <a:lnTo>
                    <a:pt x="339" y="275"/>
                  </a:lnTo>
                  <a:lnTo>
                    <a:pt x="335" y="275"/>
                  </a:lnTo>
                  <a:lnTo>
                    <a:pt x="331" y="275"/>
                  </a:lnTo>
                  <a:lnTo>
                    <a:pt x="327" y="275"/>
                  </a:lnTo>
                  <a:lnTo>
                    <a:pt x="327" y="271"/>
                  </a:lnTo>
                  <a:lnTo>
                    <a:pt x="327" y="267"/>
                  </a:lnTo>
                  <a:lnTo>
                    <a:pt x="331" y="267"/>
                  </a:lnTo>
                  <a:lnTo>
                    <a:pt x="331" y="263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43" y="267"/>
                  </a:lnTo>
                  <a:lnTo>
                    <a:pt x="347" y="271"/>
                  </a:lnTo>
                  <a:lnTo>
                    <a:pt x="347" y="267"/>
                  </a:lnTo>
                  <a:lnTo>
                    <a:pt x="351" y="267"/>
                  </a:lnTo>
                  <a:lnTo>
                    <a:pt x="347" y="263"/>
                  </a:lnTo>
                  <a:lnTo>
                    <a:pt x="343" y="263"/>
                  </a:lnTo>
                  <a:lnTo>
                    <a:pt x="343" y="259"/>
                  </a:lnTo>
                  <a:lnTo>
                    <a:pt x="347" y="259"/>
                  </a:lnTo>
                  <a:lnTo>
                    <a:pt x="351" y="259"/>
                  </a:lnTo>
                  <a:lnTo>
                    <a:pt x="351" y="263"/>
                  </a:lnTo>
                  <a:lnTo>
                    <a:pt x="351" y="259"/>
                  </a:lnTo>
                  <a:lnTo>
                    <a:pt x="355" y="259"/>
                  </a:lnTo>
                  <a:lnTo>
                    <a:pt x="355" y="263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9" y="263"/>
                  </a:lnTo>
                  <a:lnTo>
                    <a:pt x="363" y="263"/>
                  </a:lnTo>
                  <a:lnTo>
                    <a:pt x="363" y="267"/>
                  </a:lnTo>
                  <a:close/>
                  <a:moveTo>
                    <a:pt x="494" y="259"/>
                  </a:moveTo>
                  <a:lnTo>
                    <a:pt x="498" y="259"/>
                  </a:lnTo>
                  <a:lnTo>
                    <a:pt x="494" y="259"/>
                  </a:lnTo>
                  <a:close/>
                  <a:moveTo>
                    <a:pt x="339" y="263"/>
                  </a:moveTo>
                  <a:lnTo>
                    <a:pt x="339" y="259"/>
                  </a:lnTo>
                  <a:lnTo>
                    <a:pt x="343" y="259"/>
                  </a:lnTo>
                  <a:lnTo>
                    <a:pt x="339" y="259"/>
                  </a:lnTo>
                  <a:lnTo>
                    <a:pt x="339" y="263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510" y="259"/>
                  </a:moveTo>
                  <a:lnTo>
                    <a:pt x="514" y="259"/>
                  </a:lnTo>
                  <a:lnTo>
                    <a:pt x="510" y="259"/>
                  </a:lnTo>
                  <a:close/>
                  <a:moveTo>
                    <a:pt x="319" y="259"/>
                  </a:moveTo>
                  <a:lnTo>
                    <a:pt x="323" y="259"/>
                  </a:lnTo>
                  <a:lnTo>
                    <a:pt x="327" y="263"/>
                  </a:lnTo>
                  <a:lnTo>
                    <a:pt x="327" y="267"/>
                  </a:lnTo>
                  <a:lnTo>
                    <a:pt x="323" y="267"/>
                  </a:lnTo>
                  <a:lnTo>
                    <a:pt x="323" y="271"/>
                  </a:lnTo>
                  <a:lnTo>
                    <a:pt x="319" y="271"/>
                  </a:lnTo>
                  <a:lnTo>
                    <a:pt x="315" y="271"/>
                  </a:lnTo>
                  <a:lnTo>
                    <a:pt x="319" y="267"/>
                  </a:lnTo>
                  <a:lnTo>
                    <a:pt x="315" y="267"/>
                  </a:lnTo>
                  <a:lnTo>
                    <a:pt x="319" y="263"/>
                  </a:lnTo>
                  <a:lnTo>
                    <a:pt x="319" y="259"/>
                  </a:lnTo>
                  <a:close/>
                  <a:moveTo>
                    <a:pt x="422" y="263"/>
                  </a:moveTo>
                  <a:lnTo>
                    <a:pt x="422" y="259"/>
                  </a:lnTo>
                  <a:lnTo>
                    <a:pt x="426" y="259"/>
                  </a:lnTo>
                  <a:lnTo>
                    <a:pt x="426" y="263"/>
                  </a:lnTo>
                  <a:lnTo>
                    <a:pt x="422" y="263"/>
                  </a:lnTo>
                  <a:close/>
                  <a:moveTo>
                    <a:pt x="367" y="263"/>
                  </a:moveTo>
                  <a:lnTo>
                    <a:pt x="371" y="263"/>
                  </a:lnTo>
                  <a:lnTo>
                    <a:pt x="371" y="267"/>
                  </a:lnTo>
                  <a:lnTo>
                    <a:pt x="367" y="267"/>
                  </a:lnTo>
                  <a:lnTo>
                    <a:pt x="367" y="271"/>
                  </a:lnTo>
                  <a:lnTo>
                    <a:pt x="367" y="267"/>
                  </a:lnTo>
                  <a:lnTo>
                    <a:pt x="367" y="263"/>
                  </a:lnTo>
                  <a:close/>
                  <a:moveTo>
                    <a:pt x="418" y="267"/>
                  </a:moveTo>
                  <a:lnTo>
                    <a:pt x="422" y="263"/>
                  </a:lnTo>
                  <a:lnTo>
                    <a:pt x="422" y="267"/>
                  </a:lnTo>
                  <a:lnTo>
                    <a:pt x="418" y="267"/>
                  </a:lnTo>
                  <a:close/>
                  <a:moveTo>
                    <a:pt x="371" y="271"/>
                  </a:moveTo>
                  <a:lnTo>
                    <a:pt x="371" y="267"/>
                  </a:lnTo>
                  <a:lnTo>
                    <a:pt x="371" y="271"/>
                  </a:lnTo>
                  <a:close/>
                  <a:moveTo>
                    <a:pt x="363" y="287"/>
                  </a:move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67" y="283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5" y="279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87"/>
                  </a:lnTo>
                  <a:lnTo>
                    <a:pt x="387" y="291"/>
                  </a:lnTo>
                  <a:lnTo>
                    <a:pt x="391" y="291"/>
                  </a:lnTo>
                  <a:lnTo>
                    <a:pt x="391" y="295"/>
                  </a:lnTo>
                  <a:lnTo>
                    <a:pt x="387" y="295"/>
                  </a:lnTo>
                  <a:lnTo>
                    <a:pt x="387" y="299"/>
                  </a:lnTo>
                  <a:lnTo>
                    <a:pt x="383" y="299"/>
                  </a:lnTo>
                  <a:lnTo>
                    <a:pt x="379" y="299"/>
                  </a:lnTo>
                  <a:lnTo>
                    <a:pt x="379" y="295"/>
                  </a:lnTo>
                  <a:lnTo>
                    <a:pt x="375" y="295"/>
                  </a:lnTo>
                  <a:lnTo>
                    <a:pt x="375" y="291"/>
                  </a:lnTo>
                  <a:lnTo>
                    <a:pt x="371" y="291"/>
                  </a:lnTo>
                  <a:lnTo>
                    <a:pt x="371" y="287"/>
                  </a:lnTo>
                  <a:lnTo>
                    <a:pt x="367" y="287"/>
                  </a:lnTo>
                  <a:lnTo>
                    <a:pt x="363" y="287"/>
                  </a:lnTo>
                  <a:close/>
                  <a:moveTo>
                    <a:pt x="402" y="303"/>
                  </a:moveTo>
                  <a:lnTo>
                    <a:pt x="402" y="299"/>
                  </a:lnTo>
                  <a:lnTo>
                    <a:pt x="406" y="299"/>
                  </a:lnTo>
                  <a:lnTo>
                    <a:pt x="406" y="303"/>
                  </a:lnTo>
                  <a:lnTo>
                    <a:pt x="402" y="303"/>
                  </a:lnTo>
                  <a:close/>
                  <a:moveTo>
                    <a:pt x="418" y="307"/>
                  </a:moveTo>
                  <a:lnTo>
                    <a:pt x="422" y="307"/>
                  </a:lnTo>
                  <a:lnTo>
                    <a:pt x="422" y="303"/>
                  </a:lnTo>
                  <a:lnTo>
                    <a:pt x="426" y="303"/>
                  </a:lnTo>
                  <a:lnTo>
                    <a:pt x="426" y="299"/>
                  </a:lnTo>
                  <a:lnTo>
                    <a:pt x="426" y="303"/>
                  </a:lnTo>
                  <a:lnTo>
                    <a:pt x="426" y="307"/>
                  </a:lnTo>
                  <a:lnTo>
                    <a:pt x="422" y="307"/>
                  </a:lnTo>
                  <a:lnTo>
                    <a:pt x="422" y="311"/>
                  </a:lnTo>
                  <a:lnTo>
                    <a:pt x="418" y="311"/>
                  </a:lnTo>
                  <a:lnTo>
                    <a:pt x="418" y="307"/>
                  </a:lnTo>
                  <a:close/>
                  <a:moveTo>
                    <a:pt x="466" y="251"/>
                  </a:moveTo>
                  <a:lnTo>
                    <a:pt x="470" y="251"/>
                  </a:lnTo>
                  <a:lnTo>
                    <a:pt x="474" y="251"/>
                  </a:lnTo>
                  <a:lnTo>
                    <a:pt x="474" y="247"/>
                  </a:lnTo>
                  <a:lnTo>
                    <a:pt x="478" y="247"/>
                  </a:lnTo>
                  <a:lnTo>
                    <a:pt x="478" y="251"/>
                  </a:lnTo>
                  <a:lnTo>
                    <a:pt x="474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66" y="251"/>
                  </a:lnTo>
                  <a:close/>
                  <a:moveTo>
                    <a:pt x="442" y="259"/>
                  </a:moveTo>
                  <a:lnTo>
                    <a:pt x="446" y="259"/>
                  </a:lnTo>
                  <a:lnTo>
                    <a:pt x="450" y="259"/>
                  </a:lnTo>
                  <a:lnTo>
                    <a:pt x="454" y="259"/>
                  </a:lnTo>
                  <a:lnTo>
                    <a:pt x="454" y="263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42" y="259"/>
                  </a:lnTo>
                  <a:close/>
                  <a:moveTo>
                    <a:pt x="434" y="263"/>
                  </a:moveTo>
                  <a:lnTo>
                    <a:pt x="438" y="263"/>
                  </a:lnTo>
                  <a:lnTo>
                    <a:pt x="438" y="259"/>
                  </a:lnTo>
                  <a:lnTo>
                    <a:pt x="442" y="259"/>
                  </a:lnTo>
                  <a:lnTo>
                    <a:pt x="442" y="263"/>
                  </a:lnTo>
                  <a:lnTo>
                    <a:pt x="438" y="263"/>
                  </a:lnTo>
                  <a:lnTo>
                    <a:pt x="438" y="267"/>
                  </a:lnTo>
                  <a:lnTo>
                    <a:pt x="438" y="263"/>
                  </a:lnTo>
                  <a:lnTo>
                    <a:pt x="434" y="263"/>
                  </a:lnTo>
                  <a:close/>
                  <a:moveTo>
                    <a:pt x="426" y="267"/>
                  </a:moveTo>
                  <a:lnTo>
                    <a:pt x="426" y="263"/>
                  </a:lnTo>
                  <a:lnTo>
                    <a:pt x="430" y="263"/>
                  </a:lnTo>
                  <a:lnTo>
                    <a:pt x="426" y="263"/>
                  </a:lnTo>
                  <a:lnTo>
                    <a:pt x="426" y="259"/>
                  </a:lnTo>
                  <a:lnTo>
                    <a:pt x="430" y="259"/>
                  </a:lnTo>
                  <a:lnTo>
                    <a:pt x="430" y="263"/>
                  </a:lnTo>
                  <a:lnTo>
                    <a:pt x="434" y="259"/>
                  </a:lnTo>
                  <a:lnTo>
                    <a:pt x="434" y="263"/>
                  </a:lnTo>
                  <a:lnTo>
                    <a:pt x="430" y="263"/>
                  </a:lnTo>
                  <a:lnTo>
                    <a:pt x="430" y="267"/>
                  </a:lnTo>
                  <a:lnTo>
                    <a:pt x="426" y="267"/>
                  </a:lnTo>
                  <a:close/>
                  <a:moveTo>
                    <a:pt x="454" y="283"/>
                  </a:moveTo>
                  <a:lnTo>
                    <a:pt x="450" y="283"/>
                  </a:lnTo>
                  <a:lnTo>
                    <a:pt x="450" y="287"/>
                  </a:lnTo>
                  <a:lnTo>
                    <a:pt x="450" y="291"/>
                  </a:lnTo>
                  <a:lnTo>
                    <a:pt x="446" y="291"/>
                  </a:lnTo>
                  <a:lnTo>
                    <a:pt x="446" y="295"/>
                  </a:lnTo>
                  <a:lnTo>
                    <a:pt x="442" y="295"/>
                  </a:lnTo>
                  <a:lnTo>
                    <a:pt x="438" y="295"/>
                  </a:lnTo>
                  <a:lnTo>
                    <a:pt x="438" y="299"/>
                  </a:lnTo>
                  <a:lnTo>
                    <a:pt x="434" y="299"/>
                  </a:lnTo>
                  <a:lnTo>
                    <a:pt x="430" y="299"/>
                  </a:lnTo>
                  <a:lnTo>
                    <a:pt x="430" y="295"/>
                  </a:lnTo>
                  <a:lnTo>
                    <a:pt x="434" y="295"/>
                  </a:lnTo>
                  <a:lnTo>
                    <a:pt x="430" y="295"/>
                  </a:lnTo>
                  <a:lnTo>
                    <a:pt x="430" y="291"/>
                  </a:lnTo>
                  <a:lnTo>
                    <a:pt x="430" y="287"/>
                  </a:lnTo>
                  <a:lnTo>
                    <a:pt x="434" y="283"/>
                  </a:lnTo>
                  <a:lnTo>
                    <a:pt x="434" y="279"/>
                  </a:lnTo>
                  <a:lnTo>
                    <a:pt x="438" y="279"/>
                  </a:lnTo>
                  <a:lnTo>
                    <a:pt x="438" y="283"/>
                  </a:lnTo>
                  <a:lnTo>
                    <a:pt x="442" y="283"/>
                  </a:lnTo>
                  <a:lnTo>
                    <a:pt x="442" y="279"/>
                  </a:lnTo>
                  <a:lnTo>
                    <a:pt x="446" y="279"/>
                  </a:lnTo>
                  <a:lnTo>
                    <a:pt x="446" y="275"/>
                  </a:lnTo>
                  <a:lnTo>
                    <a:pt x="450" y="275"/>
                  </a:lnTo>
                  <a:lnTo>
                    <a:pt x="454" y="275"/>
                  </a:lnTo>
                  <a:lnTo>
                    <a:pt x="454" y="279"/>
                  </a:lnTo>
                  <a:lnTo>
                    <a:pt x="450" y="279"/>
                  </a:lnTo>
                  <a:lnTo>
                    <a:pt x="454" y="28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53" name="Freeform 18">
              <a:extLst>
                <a:ext uri="{FF2B5EF4-FFF2-40B4-BE49-F238E27FC236}">
                  <a16:creationId xmlns:a16="http://schemas.microsoft.com/office/drawing/2014/main" xmlns="" id="{68286C14-9477-4B40-839A-3640406BA8EC}"/>
                </a:ext>
              </a:extLst>
            </p:cNvPr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gray">
            <a:xfrm>
              <a:off x="5363781" y="3473275"/>
              <a:ext cx="431571" cy="433055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55" name="Freeform 19">
              <a:extLst>
                <a:ext uri="{FF2B5EF4-FFF2-40B4-BE49-F238E27FC236}">
                  <a16:creationId xmlns:a16="http://schemas.microsoft.com/office/drawing/2014/main" xmlns="" id="{D5406DDB-F606-42E0-B163-C37839DD2786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5245136" y="3544462"/>
              <a:ext cx="219493" cy="243222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56" name="Freeform 20">
              <a:extLst>
                <a:ext uri="{FF2B5EF4-FFF2-40B4-BE49-F238E27FC236}">
                  <a16:creationId xmlns:a16="http://schemas.microsoft.com/office/drawing/2014/main" xmlns="" id="{FDC51883-995A-40EE-A15E-02010277F3D9}"/>
                </a:ext>
              </a:extLst>
            </p:cNvPr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5144288" y="3669039"/>
              <a:ext cx="29661" cy="106781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57" name="Freeform 21">
              <a:extLst>
                <a:ext uri="{FF2B5EF4-FFF2-40B4-BE49-F238E27FC236}">
                  <a16:creationId xmlns:a16="http://schemas.microsoft.com/office/drawing/2014/main" xmlns="" id="{87FE0194-E121-4D43-B92E-378E25601D95}"/>
                </a:ext>
              </a:extLst>
            </p:cNvPr>
            <p:cNvSpPr>
              <a:spLocks noEditPoints="1"/>
            </p:cNvSpPr>
            <p:nvPr>
              <p:custDataLst>
                <p:tags r:id="rId21"/>
              </p:custDataLst>
            </p:nvPr>
          </p:nvSpPr>
          <p:spPr bwMode="gray">
            <a:xfrm>
              <a:off x="7149390" y="3290858"/>
              <a:ext cx="496826" cy="639200"/>
            </a:xfrm>
            <a:custGeom>
              <a:avLst/>
              <a:gdLst/>
              <a:ahLst/>
              <a:cxnLst>
                <a:cxn ang="0">
                  <a:pos x="104" y="271"/>
                </a:cxn>
                <a:cxn ang="0">
                  <a:pos x="288" y="71"/>
                </a:cxn>
                <a:cxn ang="0">
                  <a:pos x="256" y="67"/>
                </a:cxn>
                <a:cxn ang="0">
                  <a:pos x="264" y="83"/>
                </a:cxn>
                <a:cxn ang="0">
                  <a:pos x="248" y="71"/>
                </a:cxn>
                <a:cxn ang="0">
                  <a:pos x="256" y="48"/>
                </a:cxn>
                <a:cxn ang="0">
                  <a:pos x="272" y="36"/>
                </a:cxn>
                <a:cxn ang="0">
                  <a:pos x="280" y="0"/>
                </a:cxn>
                <a:cxn ang="0">
                  <a:pos x="300" y="28"/>
                </a:cxn>
                <a:cxn ang="0">
                  <a:pos x="327" y="28"/>
                </a:cxn>
                <a:cxn ang="0">
                  <a:pos x="335" y="48"/>
                </a:cxn>
                <a:cxn ang="0">
                  <a:pos x="308" y="60"/>
                </a:cxn>
                <a:cxn ang="0">
                  <a:pos x="240" y="75"/>
                </a:cxn>
                <a:cxn ang="0">
                  <a:pos x="148" y="231"/>
                </a:cxn>
                <a:cxn ang="0">
                  <a:pos x="128" y="239"/>
                </a:cxn>
                <a:cxn ang="0">
                  <a:pos x="120" y="231"/>
                </a:cxn>
                <a:cxn ang="0">
                  <a:pos x="140" y="211"/>
                </a:cxn>
                <a:cxn ang="0">
                  <a:pos x="152" y="211"/>
                </a:cxn>
                <a:cxn ang="0">
                  <a:pos x="180" y="211"/>
                </a:cxn>
                <a:cxn ang="0">
                  <a:pos x="188" y="195"/>
                </a:cxn>
                <a:cxn ang="0">
                  <a:pos x="204" y="171"/>
                </a:cxn>
                <a:cxn ang="0">
                  <a:pos x="208" y="183"/>
                </a:cxn>
                <a:cxn ang="0">
                  <a:pos x="232" y="159"/>
                </a:cxn>
                <a:cxn ang="0">
                  <a:pos x="248" y="127"/>
                </a:cxn>
                <a:cxn ang="0">
                  <a:pos x="248" y="111"/>
                </a:cxn>
                <a:cxn ang="0">
                  <a:pos x="260" y="95"/>
                </a:cxn>
                <a:cxn ang="0">
                  <a:pos x="260" y="91"/>
                </a:cxn>
                <a:cxn ang="0">
                  <a:pos x="276" y="107"/>
                </a:cxn>
                <a:cxn ang="0">
                  <a:pos x="276" y="139"/>
                </a:cxn>
                <a:cxn ang="0">
                  <a:pos x="264" y="159"/>
                </a:cxn>
                <a:cxn ang="0">
                  <a:pos x="256" y="195"/>
                </a:cxn>
                <a:cxn ang="0">
                  <a:pos x="248" y="219"/>
                </a:cxn>
                <a:cxn ang="0">
                  <a:pos x="244" y="215"/>
                </a:cxn>
                <a:cxn ang="0">
                  <a:pos x="228" y="215"/>
                </a:cxn>
                <a:cxn ang="0">
                  <a:pos x="208" y="227"/>
                </a:cxn>
                <a:cxn ang="0">
                  <a:pos x="200" y="223"/>
                </a:cxn>
                <a:cxn ang="0">
                  <a:pos x="192" y="239"/>
                </a:cxn>
                <a:cxn ang="0">
                  <a:pos x="176" y="231"/>
                </a:cxn>
                <a:cxn ang="0">
                  <a:pos x="228" y="151"/>
                </a:cxn>
                <a:cxn ang="0">
                  <a:pos x="224" y="155"/>
                </a:cxn>
                <a:cxn ang="0">
                  <a:pos x="88" y="231"/>
                </a:cxn>
                <a:cxn ang="0">
                  <a:pos x="164" y="227"/>
                </a:cxn>
                <a:cxn ang="0">
                  <a:pos x="156" y="251"/>
                </a:cxn>
                <a:cxn ang="0">
                  <a:pos x="140" y="263"/>
                </a:cxn>
                <a:cxn ang="0">
                  <a:pos x="136" y="247"/>
                </a:cxn>
                <a:cxn ang="0">
                  <a:pos x="156" y="235"/>
                </a:cxn>
                <a:cxn ang="0">
                  <a:pos x="84" y="235"/>
                </a:cxn>
                <a:cxn ang="0">
                  <a:pos x="92" y="263"/>
                </a:cxn>
                <a:cxn ang="0">
                  <a:pos x="96" y="251"/>
                </a:cxn>
                <a:cxn ang="0">
                  <a:pos x="120" y="247"/>
                </a:cxn>
                <a:cxn ang="0">
                  <a:pos x="124" y="263"/>
                </a:cxn>
                <a:cxn ang="0">
                  <a:pos x="112" y="291"/>
                </a:cxn>
                <a:cxn ang="0">
                  <a:pos x="104" y="287"/>
                </a:cxn>
                <a:cxn ang="0">
                  <a:pos x="100" y="275"/>
                </a:cxn>
                <a:cxn ang="0">
                  <a:pos x="100" y="255"/>
                </a:cxn>
                <a:cxn ang="0">
                  <a:pos x="92" y="247"/>
                </a:cxn>
                <a:cxn ang="0">
                  <a:pos x="84" y="259"/>
                </a:cxn>
                <a:cxn ang="0">
                  <a:pos x="96" y="275"/>
                </a:cxn>
                <a:cxn ang="0">
                  <a:pos x="112" y="303"/>
                </a:cxn>
                <a:cxn ang="0">
                  <a:pos x="84" y="351"/>
                </a:cxn>
                <a:cxn ang="0">
                  <a:pos x="64" y="387"/>
                </a:cxn>
                <a:cxn ang="0">
                  <a:pos x="68" y="383"/>
                </a:cxn>
                <a:cxn ang="0">
                  <a:pos x="4" y="427"/>
                </a:cxn>
              </a:cxnLst>
              <a:rect l="0" t="0" r="r" b="b"/>
              <a:pathLst>
                <a:path w="335" h="431">
                  <a:moveTo>
                    <a:pt x="136" y="243"/>
                  </a:moveTo>
                  <a:lnTo>
                    <a:pt x="132" y="243"/>
                  </a:lnTo>
                  <a:lnTo>
                    <a:pt x="132" y="239"/>
                  </a:lnTo>
                  <a:lnTo>
                    <a:pt x="132" y="243"/>
                  </a:lnTo>
                  <a:lnTo>
                    <a:pt x="132" y="239"/>
                  </a:lnTo>
                  <a:lnTo>
                    <a:pt x="136" y="239"/>
                  </a:lnTo>
                  <a:lnTo>
                    <a:pt x="136" y="243"/>
                  </a:lnTo>
                  <a:close/>
                  <a:moveTo>
                    <a:pt x="100" y="271"/>
                  </a:moveTo>
                  <a:lnTo>
                    <a:pt x="104" y="267"/>
                  </a:lnTo>
                  <a:lnTo>
                    <a:pt x="104" y="271"/>
                  </a:lnTo>
                  <a:lnTo>
                    <a:pt x="100" y="271"/>
                  </a:lnTo>
                  <a:close/>
                  <a:moveTo>
                    <a:pt x="308" y="60"/>
                  </a:moveTo>
                  <a:lnTo>
                    <a:pt x="304" y="64"/>
                  </a:lnTo>
                  <a:lnTo>
                    <a:pt x="300" y="64"/>
                  </a:lnTo>
                  <a:lnTo>
                    <a:pt x="300" y="67"/>
                  </a:lnTo>
                  <a:lnTo>
                    <a:pt x="300" y="71"/>
                  </a:lnTo>
                  <a:lnTo>
                    <a:pt x="300" y="75"/>
                  </a:lnTo>
                  <a:lnTo>
                    <a:pt x="296" y="75"/>
                  </a:lnTo>
                  <a:lnTo>
                    <a:pt x="292" y="71"/>
                  </a:lnTo>
                  <a:lnTo>
                    <a:pt x="288" y="71"/>
                  </a:lnTo>
                  <a:lnTo>
                    <a:pt x="284" y="67"/>
                  </a:lnTo>
                  <a:lnTo>
                    <a:pt x="280" y="67"/>
                  </a:lnTo>
                  <a:lnTo>
                    <a:pt x="280" y="64"/>
                  </a:lnTo>
                  <a:lnTo>
                    <a:pt x="276" y="64"/>
                  </a:lnTo>
                  <a:lnTo>
                    <a:pt x="272" y="64"/>
                  </a:lnTo>
                  <a:lnTo>
                    <a:pt x="268" y="67"/>
                  </a:lnTo>
                  <a:lnTo>
                    <a:pt x="264" y="67"/>
                  </a:lnTo>
                  <a:lnTo>
                    <a:pt x="260" y="64"/>
                  </a:lnTo>
                  <a:lnTo>
                    <a:pt x="256" y="64"/>
                  </a:lnTo>
                  <a:lnTo>
                    <a:pt x="256" y="67"/>
                  </a:lnTo>
                  <a:lnTo>
                    <a:pt x="252" y="67"/>
                  </a:lnTo>
                  <a:lnTo>
                    <a:pt x="252" y="71"/>
                  </a:lnTo>
                  <a:lnTo>
                    <a:pt x="256" y="71"/>
                  </a:lnTo>
                  <a:lnTo>
                    <a:pt x="260" y="71"/>
                  </a:lnTo>
                  <a:lnTo>
                    <a:pt x="260" y="75"/>
                  </a:lnTo>
                  <a:lnTo>
                    <a:pt x="264" y="75"/>
                  </a:lnTo>
                  <a:lnTo>
                    <a:pt x="264" y="79"/>
                  </a:lnTo>
                  <a:lnTo>
                    <a:pt x="268" y="79"/>
                  </a:lnTo>
                  <a:lnTo>
                    <a:pt x="264" y="79"/>
                  </a:lnTo>
                  <a:lnTo>
                    <a:pt x="264" y="83"/>
                  </a:lnTo>
                  <a:lnTo>
                    <a:pt x="260" y="79"/>
                  </a:lnTo>
                  <a:lnTo>
                    <a:pt x="256" y="83"/>
                  </a:lnTo>
                  <a:lnTo>
                    <a:pt x="256" y="87"/>
                  </a:lnTo>
                  <a:lnTo>
                    <a:pt x="252" y="87"/>
                  </a:lnTo>
                  <a:lnTo>
                    <a:pt x="248" y="87"/>
                  </a:lnTo>
                  <a:lnTo>
                    <a:pt x="248" y="83"/>
                  </a:lnTo>
                  <a:lnTo>
                    <a:pt x="252" y="79"/>
                  </a:lnTo>
                  <a:lnTo>
                    <a:pt x="252" y="75"/>
                  </a:lnTo>
                  <a:lnTo>
                    <a:pt x="248" y="75"/>
                  </a:lnTo>
                  <a:lnTo>
                    <a:pt x="248" y="71"/>
                  </a:lnTo>
                  <a:lnTo>
                    <a:pt x="244" y="71"/>
                  </a:lnTo>
                  <a:lnTo>
                    <a:pt x="244" y="67"/>
                  </a:lnTo>
                  <a:lnTo>
                    <a:pt x="248" y="67"/>
                  </a:lnTo>
                  <a:lnTo>
                    <a:pt x="248" y="64"/>
                  </a:lnTo>
                  <a:lnTo>
                    <a:pt x="248" y="60"/>
                  </a:lnTo>
                  <a:lnTo>
                    <a:pt x="252" y="60"/>
                  </a:lnTo>
                  <a:lnTo>
                    <a:pt x="256" y="60"/>
                  </a:lnTo>
                  <a:lnTo>
                    <a:pt x="256" y="56"/>
                  </a:lnTo>
                  <a:lnTo>
                    <a:pt x="256" y="52"/>
                  </a:lnTo>
                  <a:lnTo>
                    <a:pt x="256" y="48"/>
                  </a:lnTo>
                  <a:lnTo>
                    <a:pt x="260" y="48"/>
                  </a:lnTo>
                  <a:lnTo>
                    <a:pt x="260" y="52"/>
                  </a:lnTo>
                  <a:lnTo>
                    <a:pt x="264" y="52"/>
                  </a:lnTo>
                  <a:lnTo>
                    <a:pt x="268" y="52"/>
                  </a:lnTo>
                  <a:lnTo>
                    <a:pt x="268" y="48"/>
                  </a:lnTo>
                  <a:lnTo>
                    <a:pt x="272" y="48"/>
                  </a:lnTo>
                  <a:lnTo>
                    <a:pt x="272" y="44"/>
                  </a:lnTo>
                  <a:lnTo>
                    <a:pt x="268" y="40"/>
                  </a:lnTo>
                  <a:lnTo>
                    <a:pt x="272" y="40"/>
                  </a:lnTo>
                  <a:lnTo>
                    <a:pt x="272" y="36"/>
                  </a:lnTo>
                  <a:lnTo>
                    <a:pt x="276" y="36"/>
                  </a:lnTo>
                  <a:lnTo>
                    <a:pt x="276" y="32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76" y="20"/>
                  </a:lnTo>
                  <a:lnTo>
                    <a:pt x="276" y="16"/>
                  </a:lnTo>
                  <a:lnTo>
                    <a:pt x="276" y="12"/>
                  </a:lnTo>
                  <a:lnTo>
                    <a:pt x="272" y="8"/>
                  </a:lnTo>
                  <a:lnTo>
                    <a:pt x="276" y="4"/>
                  </a:lnTo>
                  <a:lnTo>
                    <a:pt x="280" y="0"/>
                  </a:lnTo>
                  <a:lnTo>
                    <a:pt x="280" y="4"/>
                  </a:lnTo>
                  <a:lnTo>
                    <a:pt x="284" y="4"/>
                  </a:lnTo>
                  <a:lnTo>
                    <a:pt x="284" y="8"/>
                  </a:lnTo>
                  <a:lnTo>
                    <a:pt x="288" y="12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8"/>
                  </a:lnTo>
                  <a:lnTo>
                    <a:pt x="304" y="28"/>
                  </a:lnTo>
                  <a:lnTo>
                    <a:pt x="304" y="32"/>
                  </a:lnTo>
                  <a:lnTo>
                    <a:pt x="308" y="32"/>
                  </a:lnTo>
                  <a:lnTo>
                    <a:pt x="312" y="32"/>
                  </a:lnTo>
                  <a:lnTo>
                    <a:pt x="316" y="36"/>
                  </a:lnTo>
                  <a:lnTo>
                    <a:pt x="320" y="36"/>
                  </a:lnTo>
                  <a:lnTo>
                    <a:pt x="323" y="36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27" y="28"/>
                  </a:lnTo>
                  <a:lnTo>
                    <a:pt x="331" y="28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7" y="40"/>
                  </a:lnTo>
                  <a:lnTo>
                    <a:pt x="327" y="44"/>
                  </a:lnTo>
                  <a:lnTo>
                    <a:pt x="331" y="44"/>
                  </a:lnTo>
                  <a:lnTo>
                    <a:pt x="327" y="44"/>
                  </a:lnTo>
                  <a:lnTo>
                    <a:pt x="327" y="48"/>
                  </a:lnTo>
                  <a:lnTo>
                    <a:pt x="331" y="48"/>
                  </a:lnTo>
                  <a:lnTo>
                    <a:pt x="335" y="48"/>
                  </a:lnTo>
                  <a:lnTo>
                    <a:pt x="331" y="48"/>
                  </a:lnTo>
                  <a:lnTo>
                    <a:pt x="331" y="52"/>
                  </a:lnTo>
                  <a:lnTo>
                    <a:pt x="327" y="52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0" y="56"/>
                  </a:lnTo>
                  <a:lnTo>
                    <a:pt x="316" y="56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close/>
                  <a:moveTo>
                    <a:pt x="264" y="4"/>
                  </a:moveTo>
                  <a:lnTo>
                    <a:pt x="264" y="8"/>
                  </a:lnTo>
                  <a:lnTo>
                    <a:pt x="264" y="4"/>
                  </a:lnTo>
                  <a:close/>
                  <a:moveTo>
                    <a:pt x="268" y="8"/>
                  </a:moveTo>
                  <a:lnTo>
                    <a:pt x="268" y="12"/>
                  </a:lnTo>
                  <a:lnTo>
                    <a:pt x="268" y="8"/>
                  </a:lnTo>
                  <a:close/>
                  <a:moveTo>
                    <a:pt x="240" y="71"/>
                  </a:moveTo>
                  <a:lnTo>
                    <a:pt x="244" y="71"/>
                  </a:lnTo>
                  <a:lnTo>
                    <a:pt x="240" y="71"/>
                  </a:lnTo>
                  <a:lnTo>
                    <a:pt x="240" y="75"/>
                  </a:lnTo>
                  <a:lnTo>
                    <a:pt x="240" y="71"/>
                  </a:lnTo>
                  <a:close/>
                  <a:moveTo>
                    <a:pt x="164" y="223"/>
                  </a:moveTo>
                  <a:lnTo>
                    <a:pt x="160" y="223"/>
                  </a:lnTo>
                  <a:lnTo>
                    <a:pt x="160" y="227"/>
                  </a:lnTo>
                  <a:lnTo>
                    <a:pt x="156" y="227"/>
                  </a:lnTo>
                  <a:lnTo>
                    <a:pt x="160" y="227"/>
                  </a:lnTo>
                  <a:lnTo>
                    <a:pt x="156" y="231"/>
                  </a:lnTo>
                  <a:lnTo>
                    <a:pt x="152" y="227"/>
                  </a:lnTo>
                  <a:lnTo>
                    <a:pt x="152" y="231"/>
                  </a:lnTo>
                  <a:lnTo>
                    <a:pt x="148" y="231"/>
                  </a:lnTo>
                  <a:lnTo>
                    <a:pt x="144" y="235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40" y="235"/>
                  </a:lnTo>
                  <a:lnTo>
                    <a:pt x="136" y="235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32" y="239"/>
                  </a:lnTo>
                  <a:lnTo>
                    <a:pt x="128" y="239"/>
                  </a:lnTo>
                  <a:lnTo>
                    <a:pt x="132" y="243"/>
                  </a:lnTo>
                  <a:lnTo>
                    <a:pt x="128" y="243"/>
                  </a:lnTo>
                  <a:lnTo>
                    <a:pt x="124" y="239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2" y="239"/>
                  </a:lnTo>
                  <a:lnTo>
                    <a:pt x="112" y="235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1"/>
                  </a:lnTo>
                  <a:lnTo>
                    <a:pt x="120" y="227"/>
                  </a:lnTo>
                  <a:lnTo>
                    <a:pt x="124" y="227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32" y="219"/>
                  </a:lnTo>
                  <a:lnTo>
                    <a:pt x="132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07"/>
                  </a:lnTo>
                  <a:lnTo>
                    <a:pt x="144" y="211"/>
                  </a:lnTo>
                  <a:lnTo>
                    <a:pt x="144" y="207"/>
                  </a:lnTo>
                  <a:lnTo>
                    <a:pt x="148" y="207"/>
                  </a:lnTo>
                  <a:lnTo>
                    <a:pt x="148" y="211"/>
                  </a:lnTo>
                  <a:lnTo>
                    <a:pt x="152" y="211"/>
                  </a:lnTo>
                  <a:lnTo>
                    <a:pt x="152" y="207"/>
                  </a:lnTo>
                  <a:lnTo>
                    <a:pt x="152" y="211"/>
                  </a:lnTo>
                  <a:lnTo>
                    <a:pt x="156" y="211"/>
                  </a:lnTo>
                  <a:lnTo>
                    <a:pt x="160" y="207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72" y="207"/>
                  </a:lnTo>
                  <a:lnTo>
                    <a:pt x="176" y="203"/>
                  </a:lnTo>
                  <a:lnTo>
                    <a:pt x="176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4" y="211"/>
                  </a:lnTo>
                  <a:lnTo>
                    <a:pt x="184" y="207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199"/>
                  </a:lnTo>
                  <a:lnTo>
                    <a:pt x="188" y="195"/>
                  </a:lnTo>
                  <a:lnTo>
                    <a:pt x="192" y="195"/>
                  </a:lnTo>
                  <a:lnTo>
                    <a:pt x="192" y="191"/>
                  </a:lnTo>
                  <a:lnTo>
                    <a:pt x="196" y="191"/>
                  </a:lnTo>
                  <a:lnTo>
                    <a:pt x="196" y="187"/>
                  </a:lnTo>
                  <a:lnTo>
                    <a:pt x="200" y="187"/>
                  </a:lnTo>
                  <a:lnTo>
                    <a:pt x="200" y="183"/>
                  </a:lnTo>
                  <a:lnTo>
                    <a:pt x="200" y="179"/>
                  </a:lnTo>
                  <a:lnTo>
                    <a:pt x="200" y="175"/>
                  </a:lnTo>
                  <a:lnTo>
                    <a:pt x="200" y="171"/>
                  </a:lnTo>
                  <a:lnTo>
                    <a:pt x="204" y="171"/>
                  </a:lnTo>
                  <a:lnTo>
                    <a:pt x="204" y="167"/>
                  </a:lnTo>
                  <a:lnTo>
                    <a:pt x="208" y="167"/>
                  </a:lnTo>
                  <a:lnTo>
                    <a:pt x="208" y="171"/>
                  </a:lnTo>
                  <a:lnTo>
                    <a:pt x="204" y="171"/>
                  </a:lnTo>
                  <a:lnTo>
                    <a:pt x="204" y="175"/>
                  </a:lnTo>
                  <a:lnTo>
                    <a:pt x="200" y="175"/>
                  </a:lnTo>
                  <a:lnTo>
                    <a:pt x="200" y="179"/>
                  </a:lnTo>
                  <a:lnTo>
                    <a:pt x="204" y="179"/>
                  </a:lnTo>
                  <a:lnTo>
                    <a:pt x="204" y="183"/>
                  </a:lnTo>
                  <a:lnTo>
                    <a:pt x="208" y="183"/>
                  </a:lnTo>
                  <a:lnTo>
                    <a:pt x="208" y="179"/>
                  </a:lnTo>
                  <a:lnTo>
                    <a:pt x="212" y="179"/>
                  </a:lnTo>
                  <a:lnTo>
                    <a:pt x="216" y="179"/>
                  </a:lnTo>
                  <a:lnTo>
                    <a:pt x="220" y="175"/>
                  </a:lnTo>
                  <a:lnTo>
                    <a:pt x="224" y="175"/>
                  </a:lnTo>
                  <a:lnTo>
                    <a:pt x="228" y="171"/>
                  </a:lnTo>
                  <a:lnTo>
                    <a:pt x="228" y="167"/>
                  </a:lnTo>
                  <a:lnTo>
                    <a:pt x="232" y="167"/>
                  </a:lnTo>
                  <a:lnTo>
                    <a:pt x="232" y="163"/>
                  </a:lnTo>
                  <a:lnTo>
                    <a:pt x="232" y="159"/>
                  </a:lnTo>
                  <a:lnTo>
                    <a:pt x="236" y="159"/>
                  </a:lnTo>
                  <a:lnTo>
                    <a:pt x="240" y="159"/>
                  </a:lnTo>
                  <a:lnTo>
                    <a:pt x="240" y="155"/>
                  </a:lnTo>
                  <a:lnTo>
                    <a:pt x="240" y="151"/>
                  </a:lnTo>
                  <a:lnTo>
                    <a:pt x="244" y="147"/>
                  </a:lnTo>
                  <a:lnTo>
                    <a:pt x="244" y="143"/>
                  </a:lnTo>
                  <a:lnTo>
                    <a:pt x="244" y="139"/>
                  </a:lnTo>
                  <a:lnTo>
                    <a:pt x="248" y="135"/>
                  </a:lnTo>
                  <a:lnTo>
                    <a:pt x="248" y="131"/>
                  </a:lnTo>
                  <a:lnTo>
                    <a:pt x="248" y="127"/>
                  </a:lnTo>
                  <a:lnTo>
                    <a:pt x="252" y="127"/>
                  </a:lnTo>
                  <a:lnTo>
                    <a:pt x="252" y="123"/>
                  </a:lnTo>
                  <a:lnTo>
                    <a:pt x="248" y="123"/>
                  </a:lnTo>
                  <a:lnTo>
                    <a:pt x="248" y="119"/>
                  </a:lnTo>
                  <a:lnTo>
                    <a:pt x="244" y="119"/>
                  </a:lnTo>
                  <a:lnTo>
                    <a:pt x="244" y="115"/>
                  </a:lnTo>
                  <a:lnTo>
                    <a:pt x="244" y="119"/>
                  </a:lnTo>
                  <a:lnTo>
                    <a:pt x="248" y="119"/>
                  </a:lnTo>
                  <a:lnTo>
                    <a:pt x="248" y="115"/>
                  </a:lnTo>
                  <a:lnTo>
                    <a:pt x="248" y="111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52" y="103"/>
                  </a:lnTo>
                  <a:lnTo>
                    <a:pt x="252" y="99"/>
                  </a:lnTo>
                  <a:lnTo>
                    <a:pt x="256" y="95"/>
                  </a:lnTo>
                  <a:lnTo>
                    <a:pt x="252" y="95"/>
                  </a:lnTo>
                  <a:lnTo>
                    <a:pt x="256" y="95"/>
                  </a:lnTo>
                  <a:lnTo>
                    <a:pt x="256" y="91"/>
                  </a:lnTo>
                  <a:lnTo>
                    <a:pt x="260" y="91"/>
                  </a:lnTo>
                  <a:lnTo>
                    <a:pt x="260" y="95"/>
                  </a:lnTo>
                  <a:lnTo>
                    <a:pt x="260" y="99"/>
                  </a:lnTo>
                  <a:lnTo>
                    <a:pt x="264" y="99"/>
                  </a:lnTo>
                  <a:lnTo>
                    <a:pt x="264" y="95"/>
                  </a:lnTo>
                  <a:lnTo>
                    <a:pt x="264" y="99"/>
                  </a:lnTo>
                  <a:lnTo>
                    <a:pt x="268" y="99"/>
                  </a:lnTo>
                  <a:lnTo>
                    <a:pt x="268" y="95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60" y="95"/>
                  </a:lnTo>
                  <a:lnTo>
                    <a:pt x="260" y="91"/>
                  </a:lnTo>
                  <a:lnTo>
                    <a:pt x="260" y="87"/>
                  </a:lnTo>
                  <a:lnTo>
                    <a:pt x="264" y="83"/>
                  </a:lnTo>
                  <a:lnTo>
                    <a:pt x="264" y="87"/>
                  </a:lnTo>
                  <a:lnTo>
                    <a:pt x="268" y="87"/>
                  </a:lnTo>
                  <a:lnTo>
                    <a:pt x="272" y="87"/>
                  </a:lnTo>
                  <a:lnTo>
                    <a:pt x="272" y="91"/>
                  </a:lnTo>
                  <a:lnTo>
                    <a:pt x="272" y="99"/>
                  </a:lnTo>
                  <a:lnTo>
                    <a:pt x="272" y="103"/>
                  </a:lnTo>
                  <a:lnTo>
                    <a:pt x="272" y="107"/>
                  </a:lnTo>
                  <a:lnTo>
                    <a:pt x="276" y="107"/>
                  </a:lnTo>
                  <a:lnTo>
                    <a:pt x="276" y="111"/>
                  </a:lnTo>
                  <a:lnTo>
                    <a:pt x="276" y="115"/>
                  </a:lnTo>
                  <a:lnTo>
                    <a:pt x="280" y="115"/>
                  </a:lnTo>
                  <a:lnTo>
                    <a:pt x="280" y="119"/>
                  </a:lnTo>
                  <a:lnTo>
                    <a:pt x="280" y="123"/>
                  </a:lnTo>
                  <a:lnTo>
                    <a:pt x="280" y="127"/>
                  </a:lnTo>
                  <a:lnTo>
                    <a:pt x="280" y="131"/>
                  </a:lnTo>
                  <a:lnTo>
                    <a:pt x="276" y="131"/>
                  </a:lnTo>
                  <a:lnTo>
                    <a:pt x="276" y="135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2" y="143"/>
                  </a:lnTo>
                  <a:lnTo>
                    <a:pt x="272" y="147"/>
                  </a:lnTo>
                  <a:lnTo>
                    <a:pt x="272" y="151"/>
                  </a:lnTo>
                  <a:lnTo>
                    <a:pt x="268" y="151"/>
                  </a:lnTo>
                  <a:lnTo>
                    <a:pt x="264" y="151"/>
                  </a:lnTo>
                  <a:lnTo>
                    <a:pt x="264" y="155"/>
                  </a:lnTo>
                  <a:lnTo>
                    <a:pt x="264" y="159"/>
                  </a:lnTo>
                  <a:lnTo>
                    <a:pt x="264" y="163"/>
                  </a:lnTo>
                  <a:lnTo>
                    <a:pt x="264" y="167"/>
                  </a:lnTo>
                  <a:lnTo>
                    <a:pt x="264" y="171"/>
                  </a:lnTo>
                  <a:lnTo>
                    <a:pt x="264" y="175"/>
                  </a:lnTo>
                  <a:lnTo>
                    <a:pt x="264" y="179"/>
                  </a:lnTo>
                  <a:lnTo>
                    <a:pt x="260" y="179"/>
                  </a:lnTo>
                  <a:lnTo>
                    <a:pt x="260" y="183"/>
                  </a:lnTo>
                  <a:lnTo>
                    <a:pt x="260" y="187"/>
                  </a:lnTo>
                  <a:lnTo>
                    <a:pt x="260" y="191"/>
                  </a:lnTo>
                  <a:lnTo>
                    <a:pt x="256" y="195"/>
                  </a:lnTo>
                  <a:lnTo>
                    <a:pt x="260" y="195"/>
                  </a:lnTo>
                  <a:lnTo>
                    <a:pt x="260" y="199"/>
                  </a:lnTo>
                  <a:lnTo>
                    <a:pt x="260" y="203"/>
                  </a:lnTo>
                  <a:lnTo>
                    <a:pt x="260" y="207"/>
                  </a:lnTo>
                  <a:lnTo>
                    <a:pt x="256" y="207"/>
                  </a:lnTo>
                  <a:lnTo>
                    <a:pt x="256" y="211"/>
                  </a:lnTo>
                  <a:lnTo>
                    <a:pt x="256" y="215"/>
                  </a:lnTo>
                  <a:lnTo>
                    <a:pt x="252" y="215"/>
                  </a:lnTo>
                  <a:lnTo>
                    <a:pt x="252" y="219"/>
                  </a:lnTo>
                  <a:lnTo>
                    <a:pt x="248" y="219"/>
                  </a:lnTo>
                  <a:lnTo>
                    <a:pt x="248" y="223"/>
                  </a:lnTo>
                  <a:lnTo>
                    <a:pt x="244" y="219"/>
                  </a:lnTo>
                  <a:lnTo>
                    <a:pt x="248" y="219"/>
                  </a:lnTo>
                  <a:lnTo>
                    <a:pt x="248" y="215"/>
                  </a:lnTo>
                  <a:lnTo>
                    <a:pt x="248" y="211"/>
                  </a:lnTo>
                  <a:lnTo>
                    <a:pt x="252" y="207"/>
                  </a:lnTo>
                  <a:lnTo>
                    <a:pt x="248" y="207"/>
                  </a:lnTo>
                  <a:lnTo>
                    <a:pt x="244" y="207"/>
                  </a:lnTo>
                  <a:lnTo>
                    <a:pt x="244" y="211"/>
                  </a:lnTo>
                  <a:lnTo>
                    <a:pt x="244" y="215"/>
                  </a:lnTo>
                  <a:lnTo>
                    <a:pt x="240" y="211"/>
                  </a:lnTo>
                  <a:lnTo>
                    <a:pt x="240" y="215"/>
                  </a:lnTo>
                  <a:lnTo>
                    <a:pt x="236" y="215"/>
                  </a:lnTo>
                  <a:lnTo>
                    <a:pt x="236" y="219"/>
                  </a:lnTo>
                  <a:lnTo>
                    <a:pt x="236" y="223"/>
                  </a:lnTo>
                  <a:lnTo>
                    <a:pt x="232" y="227"/>
                  </a:lnTo>
                  <a:lnTo>
                    <a:pt x="232" y="223"/>
                  </a:lnTo>
                  <a:lnTo>
                    <a:pt x="232" y="219"/>
                  </a:lnTo>
                  <a:lnTo>
                    <a:pt x="232" y="215"/>
                  </a:lnTo>
                  <a:lnTo>
                    <a:pt x="228" y="215"/>
                  </a:lnTo>
                  <a:lnTo>
                    <a:pt x="228" y="219"/>
                  </a:lnTo>
                  <a:lnTo>
                    <a:pt x="224" y="223"/>
                  </a:lnTo>
                  <a:lnTo>
                    <a:pt x="220" y="227"/>
                  </a:lnTo>
                  <a:lnTo>
                    <a:pt x="224" y="227"/>
                  </a:lnTo>
                  <a:lnTo>
                    <a:pt x="220" y="227"/>
                  </a:lnTo>
                  <a:lnTo>
                    <a:pt x="216" y="227"/>
                  </a:lnTo>
                  <a:lnTo>
                    <a:pt x="212" y="227"/>
                  </a:lnTo>
                  <a:lnTo>
                    <a:pt x="208" y="227"/>
                  </a:lnTo>
                  <a:lnTo>
                    <a:pt x="204" y="227"/>
                  </a:lnTo>
                  <a:lnTo>
                    <a:pt x="208" y="227"/>
                  </a:lnTo>
                  <a:lnTo>
                    <a:pt x="208" y="223"/>
                  </a:lnTo>
                  <a:lnTo>
                    <a:pt x="204" y="223"/>
                  </a:lnTo>
                  <a:lnTo>
                    <a:pt x="204" y="219"/>
                  </a:lnTo>
                  <a:lnTo>
                    <a:pt x="204" y="223"/>
                  </a:lnTo>
                  <a:lnTo>
                    <a:pt x="204" y="227"/>
                  </a:lnTo>
                  <a:lnTo>
                    <a:pt x="200" y="223"/>
                  </a:lnTo>
                  <a:lnTo>
                    <a:pt x="200" y="219"/>
                  </a:lnTo>
                  <a:lnTo>
                    <a:pt x="204" y="219"/>
                  </a:lnTo>
                  <a:lnTo>
                    <a:pt x="200" y="219"/>
                  </a:lnTo>
                  <a:lnTo>
                    <a:pt x="200" y="223"/>
                  </a:lnTo>
                  <a:lnTo>
                    <a:pt x="196" y="223"/>
                  </a:lnTo>
                  <a:lnTo>
                    <a:pt x="196" y="227"/>
                  </a:lnTo>
                  <a:lnTo>
                    <a:pt x="200" y="227"/>
                  </a:lnTo>
                  <a:lnTo>
                    <a:pt x="200" y="231"/>
                  </a:lnTo>
                  <a:lnTo>
                    <a:pt x="204" y="231"/>
                  </a:lnTo>
                  <a:lnTo>
                    <a:pt x="204" y="235"/>
                  </a:lnTo>
                  <a:lnTo>
                    <a:pt x="200" y="235"/>
                  </a:lnTo>
                  <a:lnTo>
                    <a:pt x="196" y="235"/>
                  </a:lnTo>
                  <a:lnTo>
                    <a:pt x="192" y="235"/>
                  </a:lnTo>
                  <a:lnTo>
                    <a:pt x="192" y="239"/>
                  </a:lnTo>
                  <a:lnTo>
                    <a:pt x="192" y="243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4" y="251"/>
                  </a:lnTo>
                  <a:lnTo>
                    <a:pt x="180" y="247"/>
                  </a:lnTo>
                  <a:lnTo>
                    <a:pt x="180" y="243"/>
                  </a:lnTo>
                  <a:lnTo>
                    <a:pt x="176" y="243"/>
                  </a:lnTo>
                  <a:lnTo>
                    <a:pt x="176" y="239"/>
                  </a:lnTo>
                  <a:lnTo>
                    <a:pt x="176" y="235"/>
                  </a:lnTo>
                  <a:lnTo>
                    <a:pt x="176" y="231"/>
                  </a:lnTo>
                  <a:lnTo>
                    <a:pt x="180" y="231"/>
                  </a:lnTo>
                  <a:lnTo>
                    <a:pt x="180" y="227"/>
                  </a:lnTo>
                  <a:lnTo>
                    <a:pt x="180" y="223"/>
                  </a:lnTo>
                  <a:lnTo>
                    <a:pt x="176" y="227"/>
                  </a:lnTo>
                  <a:lnTo>
                    <a:pt x="172" y="227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7"/>
                  </a:lnTo>
                  <a:lnTo>
                    <a:pt x="164" y="223"/>
                  </a:lnTo>
                  <a:close/>
                  <a:moveTo>
                    <a:pt x="228" y="151"/>
                  </a:moveTo>
                  <a:lnTo>
                    <a:pt x="228" y="155"/>
                  </a:lnTo>
                  <a:lnTo>
                    <a:pt x="224" y="155"/>
                  </a:lnTo>
                  <a:lnTo>
                    <a:pt x="224" y="159"/>
                  </a:lnTo>
                  <a:lnTo>
                    <a:pt x="228" y="155"/>
                  </a:lnTo>
                  <a:lnTo>
                    <a:pt x="228" y="159"/>
                  </a:lnTo>
                  <a:lnTo>
                    <a:pt x="224" y="163"/>
                  </a:lnTo>
                  <a:lnTo>
                    <a:pt x="220" y="163"/>
                  </a:lnTo>
                  <a:lnTo>
                    <a:pt x="224" y="163"/>
                  </a:lnTo>
                  <a:lnTo>
                    <a:pt x="224" y="159"/>
                  </a:lnTo>
                  <a:lnTo>
                    <a:pt x="224" y="155"/>
                  </a:lnTo>
                  <a:lnTo>
                    <a:pt x="224" y="151"/>
                  </a:lnTo>
                  <a:lnTo>
                    <a:pt x="228" y="151"/>
                  </a:lnTo>
                  <a:close/>
                  <a:moveTo>
                    <a:pt x="148" y="191"/>
                  </a:moveTo>
                  <a:lnTo>
                    <a:pt x="148" y="195"/>
                  </a:lnTo>
                  <a:lnTo>
                    <a:pt x="144" y="195"/>
                  </a:lnTo>
                  <a:lnTo>
                    <a:pt x="148" y="191"/>
                  </a:lnTo>
                  <a:close/>
                  <a:moveTo>
                    <a:pt x="88" y="227"/>
                  </a:moveTo>
                  <a:lnTo>
                    <a:pt x="88" y="231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8" y="227"/>
                  </a:lnTo>
                  <a:close/>
                  <a:moveTo>
                    <a:pt x="168" y="235"/>
                  </a:moveTo>
                  <a:lnTo>
                    <a:pt x="168" y="231"/>
                  </a:lnTo>
                  <a:lnTo>
                    <a:pt x="172" y="231"/>
                  </a:lnTo>
                  <a:lnTo>
                    <a:pt x="172" y="227"/>
                  </a:lnTo>
                  <a:lnTo>
                    <a:pt x="172" y="231"/>
                  </a:lnTo>
                  <a:lnTo>
                    <a:pt x="172" y="235"/>
                  </a:lnTo>
                  <a:lnTo>
                    <a:pt x="168" y="235"/>
                  </a:lnTo>
                  <a:close/>
                  <a:moveTo>
                    <a:pt x="164" y="227"/>
                  </a:moveTo>
                  <a:lnTo>
                    <a:pt x="164" y="231"/>
                  </a:lnTo>
                  <a:lnTo>
                    <a:pt x="160" y="231"/>
                  </a:lnTo>
                  <a:lnTo>
                    <a:pt x="160" y="227"/>
                  </a:lnTo>
                  <a:lnTo>
                    <a:pt x="164" y="227"/>
                  </a:lnTo>
                  <a:close/>
                  <a:moveTo>
                    <a:pt x="164" y="247"/>
                  </a:moveTo>
                  <a:lnTo>
                    <a:pt x="164" y="251"/>
                  </a:lnTo>
                  <a:lnTo>
                    <a:pt x="160" y="251"/>
                  </a:lnTo>
                  <a:lnTo>
                    <a:pt x="160" y="255"/>
                  </a:lnTo>
                  <a:lnTo>
                    <a:pt x="160" y="251"/>
                  </a:lnTo>
                  <a:lnTo>
                    <a:pt x="156" y="251"/>
                  </a:lnTo>
                  <a:lnTo>
                    <a:pt x="156" y="247"/>
                  </a:lnTo>
                  <a:lnTo>
                    <a:pt x="152" y="247"/>
                  </a:lnTo>
                  <a:lnTo>
                    <a:pt x="152" y="251"/>
                  </a:lnTo>
                  <a:lnTo>
                    <a:pt x="148" y="251"/>
                  </a:lnTo>
                  <a:lnTo>
                    <a:pt x="148" y="255"/>
                  </a:lnTo>
                  <a:lnTo>
                    <a:pt x="144" y="259"/>
                  </a:lnTo>
                  <a:lnTo>
                    <a:pt x="144" y="263"/>
                  </a:lnTo>
                  <a:lnTo>
                    <a:pt x="140" y="263"/>
                  </a:lnTo>
                  <a:lnTo>
                    <a:pt x="136" y="263"/>
                  </a:lnTo>
                  <a:lnTo>
                    <a:pt x="140" y="263"/>
                  </a:lnTo>
                  <a:lnTo>
                    <a:pt x="140" y="259"/>
                  </a:lnTo>
                  <a:lnTo>
                    <a:pt x="136" y="259"/>
                  </a:lnTo>
                  <a:lnTo>
                    <a:pt x="136" y="263"/>
                  </a:lnTo>
                  <a:lnTo>
                    <a:pt x="136" y="259"/>
                  </a:lnTo>
                  <a:lnTo>
                    <a:pt x="136" y="255"/>
                  </a:lnTo>
                  <a:lnTo>
                    <a:pt x="132" y="255"/>
                  </a:lnTo>
                  <a:lnTo>
                    <a:pt x="132" y="251"/>
                  </a:lnTo>
                  <a:lnTo>
                    <a:pt x="128" y="251"/>
                  </a:lnTo>
                  <a:lnTo>
                    <a:pt x="132" y="251"/>
                  </a:lnTo>
                  <a:lnTo>
                    <a:pt x="136" y="247"/>
                  </a:lnTo>
                  <a:lnTo>
                    <a:pt x="136" y="243"/>
                  </a:lnTo>
                  <a:lnTo>
                    <a:pt x="140" y="243"/>
                  </a:lnTo>
                  <a:lnTo>
                    <a:pt x="140" y="239"/>
                  </a:lnTo>
                  <a:lnTo>
                    <a:pt x="140" y="235"/>
                  </a:lnTo>
                  <a:lnTo>
                    <a:pt x="144" y="235"/>
                  </a:lnTo>
                  <a:lnTo>
                    <a:pt x="144" y="239"/>
                  </a:lnTo>
                  <a:lnTo>
                    <a:pt x="148" y="239"/>
                  </a:lnTo>
                  <a:lnTo>
                    <a:pt x="152" y="239"/>
                  </a:lnTo>
                  <a:lnTo>
                    <a:pt x="152" y="235"/>
                  </a:lnTo>
                  <a:lnTo>
                    <a:pt x="156" y="235"/>
                  </a:lnTo>
                  <a:lnTo>
                    <a:pt x="156" y="231"/>
                  </a:lnTo>
                  <a:lnTo>
                    <a:pt x="160" y="231"/>
                  </a:lnTo>
                  <a:lnTo>
                    <a:pt x="164" y="235"/>
                  </a:lnTo>
                  <a:lnTo>
                    <a:pt x="168" y="235"/>
                  </a:lnTo>
                  <a:lnTo>
                    <a:pt x="168" y="239"/>
                  </a:lnTo>
                  <a:lnTo>
                    <a:pt x="168" y="243"/>
                  </a:lnTo>
                  <a:lnTo>
                    <a:pt x="164" y="247"/>
                  </a:lnTo>
                  <a:close/>
                  <a:moveTo>
                    <a:pt x="88" y="235"/>
                  </a:moveTo>
                  <a:lnTo>
                    <a:pt x="84" y="239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8" y="231"/>
                  </a:lnTo>
                  <a:lnTo>
                    <a:pt x="88" y="235"/>
                  </a:lnTo>
                  <a:close/>
                  <a:moveTo>
                    <a:pt x="136" y="235"/>
                  </a:moveTo>
                  <a:lnTo>
                    <a:pt x="132" y="235"/>
                  </a:lnTo>
                  <a:lnTo>
                    <a:pt x="136" y="235"/>
                  </a:lnTo>
                  <a:close/>
                  <a:moveTo>
                    <a:pt x="92" y="267"/>
                  </a:moveTo>
                  <a:lnTo>
                    <a:pt x="96" y="267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96" y="259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6" y="255"/>
                  </a:lnTo>
                  <a:lnTo>
                    <a:pt x="96" y="251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100" y="251"/>
                  </a:lnTo>
                  <a:lnTo>
                    <a:pt x="100" y="247"/>
                  </a:lnTo>
                  <a:lnTo>
                    <a:pt x="104" y="247"/>
                  </a:lnTo>
                  <a:lnTo>
                    <a:pt x="104" y="243"/>
                  </a:lnTo>
                  <a:lnTo>
                    <a:pt x="108" y="239"/>
                  </a:lnTo>
                  <a:lnTo>
                    <a:pt x="112" y="239"/>
                  </a:lnTo>
                  <a:lnTo>
                    <a:pt x="112" y="243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20" y="247"/>
                  </a:lnTo>
                  <a:lnTo>
                    <a:pt x="124" y="247"/>
                  </a:lnTo>
                  <a:lnTo>
                    <a:pt x="124" y="251"/>
                  </a:lnTo>
                  <a:lnTo>
                    <a:pt x="120" y="251"/>
                  </a:lnTo>
                  <a:lnTo>
                    <a:pt x="120" y="255"/>
                  </a:lnTo>
                  <a:lnTo>
                    <a:pt x="124" y="255"/>
                  </a:lnTo>
                  <a:lnTo>
                    <a:pt x="128" y="255"/>
                  </a:lnTo>
                  <a:lnTo>
                    <a:pt x="124" y="255"/>
                  </a:lnTo>
                  <a:lnTo>
                    <a:pt x="128" y="259"/>
                  </a:lnTo>
                  <a:lnTo>
                    <a:pt x="128" y="263"/>
                  </a:lnTo>
                  <a:lnTo>
                    <a:pt x="124" y="263"/>
                  </a:lnTo>
                  <a:lnTo>
                    <a:pt x="124" y="267"/>
                  </a:lnTo>
                  <a:lnTo>
                    <a:pt x="124" y="271"/>
                  </a:lnTo>
                  <a:lnTo>
                    <a:pt x="120" y="271"/>
                  </a:lnTo>
                  <a:lnTo>
                    <a:pt x="120" y="275"/>
                  </a:lnTo>
                  <a:lnTo>
                    <a:pt x="120" y="279"/>
                  </a:lnTo>
                  <a:lnTo>
                    <a:pt x="120" y="283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16" y="291"/>
                  </a:lnTo>
                  <a:lnTo>
                    <a:pt x="112" y="291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4" y="291"/>
                  </a:lnTo>
                  <a:lnTo>
                    <a:pt x="108" y="291"/>
                  </a:lnTo>
                  <a:lnTo>
                    <a:pt x="108" y="295"/>
                  </a:lnTo>
                  <a:lnTo>
                    <a:pt x="104" y="295"/>
                  </a:lnTo>
                  <a:lnTo>
                    <a:pt x="100" y="295"/>
                  </a:lnTo>
                  <a:lnTo>
                    <a:pt x="100" y="291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100" y="279"/>
                  </a:lnTo>
                  <a:lnTo>
                    <a:pt x="100" y="275"/>
                  </a:lnTo>
                  <a:lnTo>
                    <a:pt x="100" y="279"/>
                  </a:lnTo>
                  <a:lnTo>
                    <a:pt x="104" y="275"/>
                  </a:lnTo>
                  <a:lnTo>
                    <a:pt x="104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8" y="263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4" y="263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6" y="267"/>
                  </a:lnTo>
                  <a:lnTo>
                    <a:pt x="92" y="267"/>
                  </a:lnTo>
                  <a:close/>
                  <a:moveTo>
                    <a:pt x="92" y="247"/>
                  </a:moveTo>
                  <a:lnTo>
                    <a:pt x="92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close/>
                  <a:moveTo>
                    <a:pt x="92" y="251"/>
                  </a:moveTo>
                  <a:lnTo>
                    <a:pt x="92" y="255"/>
                  </a:lnTo>
                  <a:lnTo>
                    <a:pt x="88" y="255"/>
                  </a:lnTo>
                  <a:lnTo>
                    <a:pt x="88" y="251"/>
                  </a:lnTo>
                  <a:lnTo>
                    <a:pt x="92" y="251"/>
                  </a:lnTo>
                  <a:close/>
                  <a:moveTo>
                    <a:pt x="84" y="259"/>
                  </a:move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9"/>
                  </a:lnTo>
                  <a:close/>
                  <a:moveTo>
                    <a:pt x="76" y="267"/>
                  </a:moveTo>
                  <a:lnTo>
                    <a:pt x="76" y="263"/>
                  </a:lnTo>
                  <a:lnTo>
                    <a:pt x="80" y="263"/>
                  </a:lnTo>
                  <a:lnTo>
                    <a:pt x="80" y="267"/>
                  </a:lnTo>
                  <a:lnTo>
                    <a:pt x="76" y="267"/>
                  </a:lnTo>
                  <a:close/>
                  <a:moveTo>
                    <a:pt x="96" y="275"/>
                  </a:moveTo>
                  <a:lnTo>
                    <a:pt x="96" y="271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96" y="275"/>
                  </a:lnTo>
                  <a:close/>
                  <a:moveTo>
                    <a:pt x="112" y="303"/>
                  </a:moveTo>
                  <a:lnTo>
                    <a:pt x="112" y="307"/>
                  </a:lnTo>
                  <a:lnTo>
                    <a:pt x="112" y="311"/>
                  </a:lnTo>
                  <a:lnTo>
                    <a:pt x="112" y="307"/>
                  </a:lnTo>
                  <a:lnTo>
                    <a:pt x="112" y="303"/>
                  </a:lnTo>
                  <a:close/>
                  <a:moveTo>
                    <a:pt x="104" y="311"/>
                  </a:moveTo>
                  <a:lnTo>
                    <a:pt x="108" y="311"/>
                  </a:lnTo>
                  <a:lnTo>
                    <a:pt x="108" y="315"/>
                  </a:lnTo>
                  <a:lnTo>
                    <a:pt x="104" y="315"/>
                  </a:lnTo>
                  <a:lnTo>
                    <a:pt x="104" y="311"/>
                  </a:lnTo>
                  <a:close/>
                  <a:moveTo>
                    <a:pt x="92" y="347"/>
                  </a:moveTo>
                  <a:lnTo>
                    <a:pt x="92" y="351"/>
                  </a:lnTo>
                  <a:lnTo>
                    <a:pt x="88" y="351"/>
                  </a:lnTo>
                  <a:lnTo>
                    <a:pt x="88" y="355"/>
                  </a:lnTo>
                  <a:lnTo>
                    <a:pt x="84" y="351"/>
                  </a:lnTo>
                  <a:lnTo>
                    <a:pt x="88" y="351"/>
                  </a:lnTo>
                  <a:lnTo>
                    <a:pt x="92" y="347"/>
                  </a:lnTo>
                  <a:close/>
                  <a:moveTo>
                    <a:pt x="80" y="359"/>
                  </a:moveTo>
                  <a:lnTo>
                    <a:pt x="84" y="363"/>
                  </a:lnTo>
                  <a:lnTo>
                    <a:pt x="80" y="363"/>
                  </a:lnTo>
                  <a:lnTo>
                    <a:pt x="80" y="359"/>
                  </a:lnTo>
                  <a:close/>
                  <a:moveTo>
                    <a:pt x="72" y="379"/>
                  </a:moveTo>
                  <a:lnTo>
                    <a:pt x="72" y="383"/>
                  </a:lnTo>
                  <a:lnTo>
                    <a:pt x="68" y="387"/>
                  </a:lnTo>
                  <a:lnTo>
                    <a:pt x="64" y="387"/>
                  </a:lnTo>
                  <a:lnTo>
                    <a:pt x="64" y="391"/>
                  </a:lnTo>
                  <a:lnTo>
                    <a:pt x="64" y="395"/>
                  </a:lnTo>
                  <a:lnTo>
                    <a:pt x="60" y="395"/>
                  </a:lnTo>
                  <a:lnTo>
                    <a:pt x="60" y="391"/>
                  </a:lnTo>
                  <a:lnTo>
                    <a:pt x="64" y="391"/>
                  </a:lnTo>
                  <a:lnTo>
                    <a:pt x="64" y="387"/>
                  </a:lnTo>
                  <a:lnTo>
                    <a:pt x="68" y="387"/>
                  </a:lnTo>
                  <a:lnTo>
                    <a:pt x="68" y="383"/>
                  </a:lnTo>
                  <a:lnTo>
                    <a:pt x="64" y="383"/>
                  </a:lnTo>
                  <a:lnTo>
                    <a:pt x="68" y="383"/>
                  </a:lnTo>
                  <a:lnTo>
                    <a:pt x="72" y="379"/>
                  </a:lnTo>
                  <a:close/>
                  <a:moveTo>
                    <a:pt x="24" y="419"/>
                  </a:moveTo>
                  <a:lnTo>
                    <a:pt x="28" y="419"/>
                  </a:lnTo>
                  <a:lnTo>
                    <a:pt x="24" y="419"/>
                  </a:lnTo>
                  <a:close/>
                  <a:moveTo>
                    <a:pt x="8" y="427"/>
                  </a:moveTo>
                  <a:lnTo>
                    <a:pt x="12" y="427"/>
                  </a:lnTo>
                  <a:lnTo>
                    <a:pt x="12" y="423"/>
                  </a:lnTo>
                  <a:lnTo>
                    <a:pt x="12" y="427"/>
                  </a:lnTo>
                  <a:lnTo>
                    <a:pt x="8" y="427"/>
                  </a:lnTo>
                  <a:close/>
                  <a:moveTo>
                    <a:pt x="4" y="427"/>
                  </a:moveTo>
                  <a:lnTo>
                    <a:pt x="4" y="431"/>
                  </a:lnTo>
                  <a:lnTo>
                    <a:pt x="0" y="431"/>
                  </a:lnTo>
                  <a:lnTo>
                    <a:pt x="0" y="427"/>
                  </a:lnTo>
                  <a:lnTo>
                    <a:pt x="4" y="4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58" name="Freeform 22">
              <a:extLst>
                <a:ext uri="{FF2B5EF4-FFF2-40B4-BE49-F238E27FC236}">
                  <a16:creationId xmlns:a16="http://schemas.microsoft.com/office/drawing/2014/main" xmlns="" id="{DF5EC9EE-A57D-4E26-9EF1-C319737B72CB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5162085" y="3663107"/>
              <a:ext cx="94916" cy="124577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59" name="Freeform 23">
              <a:extLst>
                <a:ext uri="{FF2B5EF4-FFF2-40B4-BE49-F238E27FC236}">
                  <a16:creationId xmlns:a16="http://schemas.microsoft.com/office/drawing/2014/main" xmlns="" id="{0D91D29F-A8B1-4780-9CFA-B9539659516C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5417172" y="2964584"/>
              <a:ext cx="916533" cy="479029"/>
            </a:xfrm>
            <a:custGeom>
              <a:avLst/>
              <a:gdLst/>
              <a:ahLst/>
              <a:cxnLst>
                <a:cxn ang="0">
                  <a:pos x="415" y="272"/>
                </a:cxn>
                <a:cxn ang="0">
                  <a:pos x="399" y="280"/>
                </a:cxn>
                <a:cxn ang="0">
                  <a:pos x="367" y="291"/>
                </a:cxn>
                <a:cxn ang="0">
                  <a:pos x="339" y="315"/>
                </a:cxn>
                <a:cxn ang="0">
                  <a:pos x="327" y="311"/>
                </a:cxn>
                <a:cxn ang="0">
                  <a:pos x="299" y="291"/>
                </a:cxn>
                <a:cxn ang="0">
                  <a:pos x="283" y="264"/>
                </a:cxn>
                <a:cxn ang="0">
                  <a:pos x="235" y="264"/>
                </a:cxn>
                <a:cxn ang="0">
                  <a:pos x="167" y="224"/>
                </a:cxn>
                <a:cxn ang="0">
                  <a:pos x="147" y="272"/>
                </a:cxn>
                <a:cxn ang="0">
                  <a:pos x="143" y="311"/>
                </a:cxn>
                <a:cxn ang="0">
                  <a:pos x="119" y="287"/>
                </a:cxn>
                <a:cxn ang="0">
                  <a:pos x="83" y="307"/>
                </a:cxn>
                <a:cxn ang="0">
                  <a:pos x="48" y="276"/>
                </a:cxn>
                <a:cxn ang="0">
                  <a:pos x="40" y="228"/>
                </a:cxn>
                <a:cxn ang="0">
                  <a:pos x="40" y="200"/>
                </a:cxn>
                <a:cxn ang="0">
                  <a:pos x="32" y="180"/>
                </a:cxn>
                <a:cxn ang="0">
                  <a:pos x="8" y="160"/>
                </a:cxn>
                <a:cxn ang="0">
                  <a:pos x="8" y="136"/>
                </a:cxn>
                <a:cxn ang="0">
                  <a:pos x="20" y="116"/>
                </a:cxn>
                <a:cxn ang="0">
                  <a:pos x="36" y="120"/>
                </a:cxn>
                <a:cxn ang="0">
                  <a:pos x="48" y="96"/>
                </a:cxn>
                <a:cxn ang="0">
                  <a:pos x="68" y="88"/>
                </a:cxn>
                <a:cxn ang="0">
                  <a:pos x="83" y="84"/>
                </a:cxn>
                <a:cxn ang="0">
                  <a:pos x="107" y="88"/>
                </a:cxn>
                <a:cxn ang="0">
                  <a:pos x="123" y="108"/>
                </a:cxn>
                <a:cxn ang="0">
                  <a:pos x="139" y="112"/>
                </a:cxn>
                <a:cxn ang="0">
                  <a:pos x="171" y="104"/>
                </a:cxn>
                <a:cxn ang="0">
                  <a:pos x="191" y="108"/>
                </a:cxn>
                <a:cxn ang="0">
                  <a:pos x="219" y="108"/>
                </a:cxn>
                <a:cxn ang="0">
                  <a:pos x="219" y="88"/>
                </a:cxn>
                <a:cxn ang="0">
                  <a:pos x="219" y="72"/>
                </a:cxn>
                <a:cxn ang="0">
                  <a:pos x="231" y="56"/>
                </a:cxn>
                <a:cxn ang="0">
                  <a:pos x="223" y="48"/>
                </a:cxn>
                <a:cxn ang="0">
                  <a:pos x="223" y="40"/>
                </a:cxn>
                <a:cxn ang="0">
                  <a:pos x="243" y="32"/>
                </a:cxn>
                <a:cxn ang="0">
                  <a:pos x="275" y="24"/>
                </a:cxn>
                <a:cxn ang="0">
                  <a:pos x="295" y="20"/>
                </a:cxn>
                <a:cxn ang="0">
                  <a:pos x="327" y="8"/>
                </a:cxn>
                <a:cxn ang="0">
                  <a:pos x="355" y="4"/>
                </a:cxn>
                <a:cxn ang="0">
                  <a:pos x="379" y="16"/>
                </a:cxn>
                <a:cxn ang="0">
                  <a:pos x="391" y="28"/>
                </a:cxn>
                <a:cxn ang="0">
                  <a:pos x="395" y="32"/>
                </a:cxn>
                <a:cxn ang="0">
                  <a:pos x="407" y="36"/>
                </a:cxn>
                <a:cxn ang="0">
                  <a:pos x="427" y="40"/>
                </a:cxn>
                <a:cxn ang="0">
                  <a:pos x="450" y="24"/>
                </a:cxn>
                <a:cxn ang="0">
                  <a:pos x="466" y="40"/>
                </a:cxn>
                <a:cxn ang="0">
                  <a:pos x="494" y="72"/>
                </a:cxn>
                <a:cxn ang="0">
                  <a:pos x="514" y="96"/>
                </a:cxn>
                <a:cxn ang="0">
                  <a:pos x="534" y="104"/>
                </a:cxn>
                <a:cxn ang="0">
                  <a:pos x="562" y="100"/>
                </a:cxn>
                <a:cxn ang="0">
                  <a:pos x="586" y="124"/>
                </a:cxn>
                <a:cxn ang="0">
                  <a:pos x="606" y="132"/>
                </a:cxn>
                <a:cxn ang="0">
                  <a:pos x="610" y="144"/>
                </a:cxn>
                <a:cxn ang="0">
                  <a:pos x="594" y="168"/>
                </a:cxn>
                <a:cxn ang="0">
                  <a:pos x="578" y="188"/>
                </a:cxn>
                <a:cxn ang="0">
                  <a:pos x="550" y="200"/>
                </a:cxn>
                <a:cxn ang="0">
                  <a:pos x="550" y="228"/>
                </a:cxn>
                <a:cxn ang="0">
                  <a:pos x="518" y="228"/>
                </a:cxn>
                <a:cxn ang="0">
                  <a:pos x="514" y="248"/>
                </a:cxn>
                <a:cxn ang="0">
                  <a:pos x="518" y="276"/>
                </a:cxn>
                <a:cxn ang="0">
                  <a:pos x="498" y="287"/>
                </a:cxn>
                <a:cxn ang="0">
                  <a:pos x="466" y="276"/>
                </a:cxn>
              </a:cxnLst>
              <a:rect l="0" t="0" r="r" b="b"/>
              <a:pathLst>
                <a:path w="618" h="323">
                  <a:moveTo>
                    <a:pt x="446" y="276"/>
                  </a:moveTo>
                  <a:lnTo>
                    <a:pt x="442" y="280"/>
                  </a:lnTo>
                  <a:lnTo>
                    <a:pt x="438" y="280"/>
                  </a:lnTo>
                  <a:lnTo>
                    <a:pt x="438" y="276"/>
                  </a:lnTo>
                  <a:lnTo>
                    <a:pt x="434" y="276"/>
                  </a:lnTo>
                  <a:lnTo>
                    <a:pt x="430" y="276"/>
                  </a:lnTo>
                  <a:lnTo>
                    <a:pt x="427" y="272"/>
                  </a:lnTo>
                  <a:lnTo>
                    <a:pt x="423" y="272"/>
                  </a:lnTo>
                  <a:lnTo>
                    <a:pt x="419" y="272"/>
                  </a:lnTo>
                  <a:lnTo>
                    <a:pt x="415" y="272"/>
                  </a:lnTo>
                  <a:lnTo>
                    <a:pt x="411" y="272"/>
                  </a:lnTo>
                  <a:lnTo>
                    <a:pt x="411" y="276"/>
                  </a:lnTo>
                  <a:lnTo>
                    <a:pt x="411" y="280"/>
                  </a:lnTo>
                  <a:lnTo>
                    <a:pt x="411" y="284"/>
                  </a:lnTo>
                  <a:lnTo>
                    <a:pt x="411" y="287"/>
                  </a:lnTo>
                  <a:lnTo>
                    <a:pt x="407" y="287"/>
                  </a:lnTo>
                  <a:lnTo>
                    <a:pt x="407" y="284"/>
                  </a:lnTo>
                  <a:lnTo>
                    <a:pt x="403" y="284"/>
                  </a:lnTo>
                  <a:lnTo>
                    <a:pt x="399" y="284"/>
                  </a:lnTo>
                  <a:lnTo>
                    <a:pt x="399" y="280"/>
                  </a:lnTo>
                  <a:lnTo>
                    <a:pt x="395" y="280"/>
                  </a:lnTo>
                  <a:lnTo>
                    <a:pt x="391" y="280"/>
                  </a:lnTo>
                  <a:lnTo>
                    <a:pt x="387" y="280"/>
                  </a:lnTo>
                  <a:lnTo>
                    <a:pt x="383" y="280"/>
                  </a:lnTo>
                  <a:lnTo>
                    <a:pt x="379" y="280"/>
                  </a:lnTo>
                  <a:lnTo>
                    <a:pt x="375" y="280"/>
                  </a:lnTo>
                  <a:lnTo>
                    <a:pt x="375" y="284"/>
                  </a:lnTo>
                  <a:lnTo>
                    <a:pt x="371" y="287"/>
                  </a:lnTo>
                  <a:lnTo>
                    <a:pt x="371" y="291"/>
                  </a:lnTo>
                  <a:lnTo>
                    <a:pt x="367" y="291"/>
                  </a:lnTo>
                  <a:lnTo>
                    <a:pt x="367" y="295"/>
                  </a:lnTo>
                  <a:lnTo>
                    <a:pt x="363" y="291"/>
                  </a:lnTo>
                  <a:lnTo>
                    <a:pt x="363" y="295"/>
                  </a:lnTo>
                  <a:lnTo>
                    <a:pt x="359" y="299"/>
                  </a:lnTo>
                  <a:lnTo>
                    <a:pt x="355" y="303"/>
                  </a:lnTo>
                  <a:lnTo>
                    <a:pt x="351" y="303"/>
                  </a:lnTo>
                  <a:lnTo>
                    <a:pt x="347" y="307"/>
                  </a:lnTo>
                  <a:lnTo>
                    <a:pt x="343" y="307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9" y="319"/>
                  </a:lnTo>
                  <a:lnTo>
                    <a:pt x="335" y="319"/>
                  </a:lnTo>
                  <a:lnTo>
                    <a:pt x="335" y="323"/>
                  </a:lnTo>
                  <a:lnTo>
                    <a:pt x="339" y="323"/>
                  </a:lnTo>
                  <a:lnTo>
                    <a:pt x="335" y="323"/>
                  </a:lnTo>
                  <a:lnTo>
                    <a:pt x="331" y="323"/>
                  </a:lnTo>
                  <a:lnTo>
                    <a:pt x="327" y="319"/>
                  </a:lnTo>
                  <a:lnTo>
                    <a:pt x="331" y="315"/>
                  </a:lnTo>
                  <a:lnTo>
                    <a:pt x="327" y="315"/>
                  </a:lnTo>
                  <a:lnTo>
                    <a:pt x="327" y="311"/>
                  </a:lnTo>
                  <a:lnTo>
                    <a:pt x="323" y="311"/>
                  </a:lnTo>
                  <a:lnTo>
                    <a:pt x="319" y="311"/>
                  </a:lnTo>
                  <a:lnTo>
                    <a:pt x="315" y="311"/>
                  </a:lnTo>
                  <a:lnTo>
                    <a:pt x="311" y="311"/>
                  </a:lnTo>
                  <a:lnTo>
                    <a:pt x="307" y="311"/>
                  </a:lnTo>
                  <a:lnTo>
                    <a:pt x="307" y="307"/>
                  </a:lnTo>
                  <a:lnTo>
                    <a:pt x="307" y="299"/>
                  </a:lnTo>
                  <a:lnTo>
                    <a:pt x="303" y="295"/>
                  </a:lnTo>
                  <a:lnTo>
                    <a:pt x="299" y="295"/>
                  </a:lnTo>
                  <a:lnTo>
                    <a:pt x="299" y="291"/>
                  </a:lnTo>
                  <a:lnTo>
                    <a:pt x="299" y="287"/>
                  </a:lnTo>
                  <a:lnTo>
                    <a:pt x="299" y="284"/>
                  </a:lnTo>
                  <a:lnTo>
                    <a:pt x="299" y="280"/>
                  </a:lnTo>
                  <a:lnTo>
                    <a:pt x="299" y="276"/>
                  </a:lnTo>
                  <a:lnTo>
                    <a:pt x="295" y="276"/>
                  </a:lnTo>
                  <a:lnTo>
                    <a:pt x="291" y="272"/>
                  </a:lnTo>
                  <a:lnTo>
                    <a:pt x="291" y="268"/>
                  </a:lnTo>
                  <a:lnTo>
                    <a:pt x="287" y="268"/>
                  </a:lnTo>
                  <a:lnTo>
                    <a:pt x="287" y="264"/>
                  </a:lnTo>
                  <a:lnTo>
                    <a:pt x="283" y="264"/>
                  </a:lnTo>
                  <a:lnTo>
                    <a:pt x="283" y="260"/>
                  </a:lnTo>
                  <a:lnTo>
                    <a:pt x="279" y="260"/>
                  </a:lnTo>
                  <a:lnTo>
                    <a:pt x="275" y="264"/>
                  </a:lnTo>
                  <a:lnTo>
                    <a:pt x="267" y="264"/>
                  </a:lnTo>
                  <a:lnTo>
                    <a:pt x="263" y="264"/>
                  </a:lnTo>
                  <a:lnTo>
                    <a:pt x="259" y="260"/>
                  </a:lnTo>
                  <a:lnTo>
                    <a:pt x="255" y="260"/>
                  </a:lnTo>
                  <a:lnTo>
                    <a:pt x="247" y="264"/>
                  </a:lnTo>
                  <a:lnTo>
                    <a:pt x="243" y="264"/>
                  </a:lnTo>
                  <a:lnTo>
                    <a:pt x="235" y="264"/>
                  </a:lnTo>
                  <a:lnTo>
                    <a:pt x="235" y="260"/>
                  </a:lnTo>
                  <a:lnTo>
                    <a:pt x="231" y="256"/>
                  </a:lnTo>
                  <a:lnTo>
                    <a:pt x="227" y="252"/>
                  </a:lnTo>
                  <a:lnTo>
                    <a:pt x="223" y="248"/>
                  </a:lnTo>
                  <a:lnTo>
                    <a:pt x="199" y="232"/>
                  </a:lnTo>
                  <a:lnTo>
                    <a:pt x="183" y="220"/>
                  </a:lnTo>
                  <a:lnTo>
                    <a:pt x="179" y="220"/>
                  </a:lnTo>
                  <a:lnTo>
                    <a:pt x="175" y="224"/>
                  </a:lnTo>
                  <a:lnTo>
                    <a:pt x="171" y="224"/>
                  </a:lnTo>
                  <a:lnTo>
                    <a:pt x="167" y="224"/>
                  </a:lnTo>
                  <a:lnTo>
                    <a:pt x="163" y="228"/>
                  </a:lnTo>
                  <a:lnTo>
                    <a:pt x="155" y="228"/>
                  </a:lnTo>
                  <a:lnTo>
                    <a:pt x="151" y="232"/>
                  </a:lnTo>
                  <a:lnTo>
                    <a:pt x="147" y="232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47" y="256"/>
                  </a:lnTo>
                  <a:lnTo>
                    <a:pt x="147" y="260"/>
                  </a:lnTo>
                  <a:lnTo>
                    <a:pt x="147" y="268"/>
                  </a:lnTo>
                  <a:lnTo>
                    <a:pt x="147" y="272"/>
                  </a:lnTo>
                  <a:lnTo>
                    <a:pt x="147" y="276"/>
                  </a:lnTo>
                  <a:lnTo>
                    <a:pt x="147" y="280"/>
                  </a:lnTo>
                  <a:lnTo>
                    <a:pt x="147" y="284"/>
                  </a:lnTo>
                  <a:lnTo>
                    <a:pt x="147" y="291"/>
                  </a:lnTo>
                  <a:lnTo>
                    <a:pt x="147" y="299"/>
                  </a:lnTo>
                  <a:lnTo>
                    <a:pt x="147" y="303"/>
                  </a:lnTo>
                  <a:lnTo>
                    <a:pt x="147" y="307"/>
                  </a:lnTo>
                  <a:lnTo>
                    <a:pt x="147" y="311"/>
                  </a:lnTo>
                  <a:lnTo>
                    <a:pt x="143" y="307"/>
                  </a:lnTo>
                  <a:lnTo>
                    <a:pt x="143" y="311"/>
                  </a:lnTo>
                  <a:lnTo>
                    <a:pt x="139" y="311"/>
                  </a:lnTo>
                  <a:lnTo>
                    <a:pt x="135" y="311"/>
                  </a:lnTo>
                  <a:lnTo>
                    <a:pt x="135" y="307"/>
                  </a:lnTo>
                  <a:lnTo>
                    <a:pt x="135" y="303"/>
                  </a:lnTo>
                  <a:lnTo>
                    <a:pt x="131" y="303"/>
                  </a:lnTo>
                  <a:lnTo>
                    <a:pt x="131" y="299"/>
                  </a:lnTo>
                  <a:lnTo>
                    <a:pt x="127" y="295"/>
                  </a:lnTo>
                  <a:lnTo>
                    <a:pt x="123" y="291"/>
                  </a:lnTo>
                  <a:lnTo>
                    <a:pt x="119" y="291"/>
                  </a:lnTo>
                  <a:lnTo>
                    <a:pt x="119" y="287"/>
                  </a:lnTo>
                  <a:lnTo>
                    <a:pt x="115" y="287"/>
                  </a:lnTo>
                  <a:lnTo>
                    <a:pt x="111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99" y="291"/>
                  </a:lnTo>
                  <a:lnTo>
                    <a:pt x="99" y="295"/>
                  </a:lnTo>
                  <a:lnTo>
                    <a:pt x="95" y="295"/>
                  </a:lnTo>
                  <a:lnTo>
                    <a:pt x="91" y="299"/>
                  </a:lnTo>
                  <a:lnTo>
                    <a:pt x="87" y="303"/>
                  </a:lnTo>
                  <a:lnTo>
                    <a:pt x="83" y="307"/>
                  </a:lnTo>
                  <a:lnTo>
                    <a:pt x="79" y="307"/>
                  </a:lnTo>
                  <a:lnTo>
                    <a:pt x="72" y="311"/>
                  </a:lnTo>
                  <a:lnTo>
                    <a:pt x="72" y="307"/>
                  </a:lnTo>
                  <a:lnTo>
                    <a:pt x="68" y="303"/>
                  </a:lnTo>
                  <a:lnTo>
                    <a:pt x="64" y="299"/>
                  </a:lnTo>
                  <a:lnTo>
                    <a:pt x="64" y="295"/>
                  </a:lnTo>
                  <a:lnTo>
                    <a:pt x="60" y="291"/>
                  </a:lnTo>
                  <a:lnTo>
                    <a:pt x="56" y="287"/>
                  </a:lnTo>
                  <a:lnTo>
                    <a:pt x="52" y="280"/>
                  </a:lnTo>
                  <a:lnTo>
                    <a:pt x="48" y="276"/>
                  </a:lnTo>
                  <a:lnTo>
                    <a:pt x="48" y="272"/>
                  </a:lnTo>
                  <a:lnTo>
                    <a:pt x="44" y="268"/>
                  </a:lnTo>
                  <a:lnTo>
                    <a:pt x="44" y="264"/>
                  </a:lnTo>
                  <a:lnTo>
                    <a:pt x="40" y="256"/>
                  </a:lnTo>
                  <a:lnTo>
                    <a:pt x="40" y="252"/>
                  </a:lnTo>
                  <a:lnTo>
                    <a:pt x="40" y="248"/>
                  </a:lnTo>
                  <a:lnTo>
                    <a:pt x="36" y="240"/>
                  </a:lnTo>
                  <a:lnTo>
                    <a:pt x="36" y="236"/>
                  </a:lnTo>
                  <a:lnTo>
                    <a:pt x="36" y="232"/>
                  </a:lnTo>
                  <a:lnTo>
                    <a:pt x="40" y="228"/>
                  </a:lnTo>
                  <a:lnTo>
                    <a:pt x="44" y="224"/>
                  </a:lnTo>
                  <a:lnTo>
                    <a:pt x="48" y="220"/>
                  </a:lnTo>
                  <a:lnTo>
                    <a:pt x="52" y="216"/>
                  </a:lnTo>
                  <a:lnTo>
                    <a:pt x="56" y="216"/>
                  </a:lnTo>
                  <a:lnTo>
                    <a:pt x="56" y="212"/>
                  </a:lnTo>
                  <a:lnTo>
                    <a:pt x="52" y="212"/>
                  </a:lnTo>
                  <a:lnTo>
                    <a:pt x="48" y="208"/>
                  </a:lnTo>
                  <a:lnTo>
                    <a:pt x="44" y="208"/>
                  </a:lnTo>
                  <a:lnTo>
                    <a:pt x="44" y="204"/>
                  </a:lnTo>
                  <a:lnTo>
                    <a:pt x="40" y="200"/>
                  </a:lnTo>
                  <a:lnTo>
                    <a:pt x="36" y="200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6" y="192"/>
                  </a:lnTo>
                  <a:lnTo>
                    <a:pt x="36" y="196"/>
                  </a:lnTo>
                  <a:lnTo>
                    <a:pt x="40" y="196"/>
                  </a:lnTo>
                  <a:lnTo>
                    <a:pt x="40" y="192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32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8" y="148"/>
                  </a:lnTo>
                  <a:lnTo>
                    <a:pt x="8" y="144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2" y="120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20"/>
                  </a:lnTo>
                  <a:lnTo>
                    <a:pt x="28" y="120"/>
                  </a:lnTo>
                  <a:lnTo>
                    <a:pt x="28" y="124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8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8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8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83" y="88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7" y="84"/>
                  </a:lnTo>
                  <a:lnTo>
                    <a:pt x="91" y="84"/>
                  </a:lnTo>
                  <a:lnTo>
                    <a:pt x="91" y="88"/>
                  </a:lnTo>
                  <a:lnTo>
                    <a:pt x="95" y="92"/>
                  </a:lnTo>
                  <a:lnTo>
                    <a:pt x="95" y="88"/>
                  </a:lnTo>
                  <a:lnTo>
                    <a:pt x="99" y="88"/>
                  </a:lnTo>
                  <a:lnTo>
                    <a:pt x="99" y="92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88"/>
                  </a:lnTo>
                  <a:lnTo>
                    <a:pt x="111" y="92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19" y="108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27" y="108"/>
                  </a:lnTo>
                  <a:lnTo>
                    <a:pt x="123" y="108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5" y="108"/>
                  </a:lnTo>
                  <a:lnTo>
                    <a:pt x="139" y="108"/>
                  </a:lnTo>
                  <a:lnTo>
                    <a:pt x="139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47" y="104"/>
                  </a:lnTo>
                  <a:lnTo>
                    <a:pt x="151" y="104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71" y="104"/>
                  </a:lnTo>
                  <a:lnTo>
                    <a:pt x="171" y="100"/>
                  </a:lnTo>
                  <a:lnTo>
                    <a:pt x="171" y="96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3" y="104"/>
                  </a:lnTo>
                  <a:lnTo>
                    <a:pt x="187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9" y="108"/>
                  </a:lnTo>
                  <a:lnTo>
                    <a:pt x="199" y="112"/>
                  </a:lnTo>
                  <a:lnTo>
                    <a:pt x="203" y="112"/>
                  </a:lnTo>
                  <a:lnTo>
                    <a:pt x="203" y="108"/>
                  </a:lnTo>
                  <a:lnTo>
                    <a:pt x="203" y="104"/>
                  </a:lnTo>
                  <a:lnTo>
                    <a:pt x="207" y="104"/>
                  </a:lnTo>
                  <a:lnTo>
                    <a:pt x="211" y="108"/>
                  </a:lnTo>
                  <a:lnTo>
                    <a:pt x="215" y="108"/>
                  </a:lnTo>
                  <a:lnTo>
                    <a:pt x="219" y="108"/>
                  </a:lnTo>
                  <a:lnTo>
                    <a:pt x="223" y="108"/>
                  </a:lnTo>
                  <a:lnTo>
                    <a:pt x="227" y="104"/>
                  </a:lnTo>
                  <a:lnTo>
                    <a:pt x="227" y="100"/>
                  </a:lnTo>
                  <a:lnTo>
                    <a:pt x="231" y="96"/>
                  </a:lnTo>
                  <a:lnTo>
                    <a:pt x="231" y="92"/>
                  </a:lnTo>
                  <a:lnTo>
                    <a:pt x="227" y="92"/>
                  </a:lnTo>
                  <a:lnTo>
                    <a:pt x="223" y="88"/>
                  </a:lnTo>
                  <a:lnTo>
                    <a:pt x="223" y="92"/>
                  </a:lnTo>
                  <a:lnTo>
                    <a:pt x="223" y="88"/>
                  </a:lnTo>
                  <a:lnTo>
                    <a:pt x="219" y="88"/>
                  </a:lnTo>
                  <a:lnTo>
                    <a:pt x="215" y="88"/>
                  </a:lnTo>
                  <a:lnTo>
                    <a:pt x="211" y="84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5" y="76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68"/>
                  </a:lnTo>
                  <a:lnTo>
                    <a:pt x="219" y="68"/>
                  </a:lnTo>
                  <a:lnTo>
                    <a:pt x="219" y="64"/>
                  </a:lnTo>
                  <a:lnTo>
                    <a:pt x="215" y="64"/>
                  </a:lnTo>
                  <a:lnTo>
                    <a:pt x="215" y="60"/>
                  </a:lnTo>
                  <a:lnTo>
                    <a:pt x="219" y="60"/>
                  </a:lnTo>
                  <a:lnTo>
                    <a:pt x="223" y="56"/>
                  </a:lnTo>
                  <a:lnTo>
                    <a:pt x="227" y="56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35" y="52"/>
                  </a:lnTo>
                  <a:lnTo>
                    <a:pt x="231" y="52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27" y="52"/>
                  </a:lnTo>
                  <a:lnTo>
                    <a:pt x="227" y="48"/>
                  </a:lnTo>
                  <a:lnTo>
                    <a:pt x="223" y="48"/>
                  </a:lnTo>
                  <a:lnTo>
                    <a:pt x="223" y="44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19" y="40"/>
                  </a:lnTo>
                  <a:lnTo>
                    <a:pt x="223" y="40"/>
                  </a:lnTo>
                  <a:lnTo>
                    <a:pt x="223" y="36"/>
                  </a:lnTo>
                  <a:lnTo>
                    <a:pt x="219" y="36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9" y="32"/>
                  </a:lnTo>
                  <a:lnTo>
                    <a:pt x="243" y="32"/>
                  </a:lnTo>
                  <a:lnTo>
                    <a:pt x="243" y="36"/>
                  </a:lnTo>
                  <a:lnTo>
                    <a:pt x="243" y="32"/>
                  </a:lnTo>
                  <a:lnTo>
                    <a:pt x="247" y="32"/>
                  </a:lnTo>
                  <a:lnTo>
                    <a:pt x="251" y="32"/>
                  </a:lnTo>
                  <a:lnTo>
                    <a:pt x="251" y="28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63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9" y="24"/>
                  </a:lnTo>
                  <a:lnTo>
                    <a:pt x="283" y="24"/>
                  </a:lnTo>
                  <a:lnTo>
                    <a:pt x="287" y="24"/>
                  </a:lnTo>
                  <a:lnTo>
                    <a:pt x="283" y="24"/>
                  </a:lnTo>
                  <a:lnTo>
                    <a:pt x="283" y="20"/>
                  </a:lnTo>
                  <a:lnTo>
                    <a:pt x="287" y="20"/>
                  </a:lnTo>
                  <a:lnTo>
                    <a:pt x="287" y="16"/>
                  </a:lnTo>
                  <a:lnTo>
                    <a:pt x="291" y="16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5" y="12"/>
                  </a:lnTo>
                  <a:lnTo>
                    <a:pt x="319" y="12"/>
                  </a:lnTo>
                  <a:lnTo>
                    <a:pt x="323" y="12"/>
                  </a:lnTo>
                  <a:lnTo>
                    <a:pt x="323" y="8"/>
                  </a:lnTo>
                  <a:lnTo>
                    <a:pt x="327" y="8"/>
                  </a:lnTo>
                  <a:lnTo>
                    <a:pt x="327" y="12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5" y="4"/>
                  </a:lnTo>
                  <a:lnTo>
                    <a:pt x="339" y="0"/>
                  </a:lnTo>
                  <a:lnTo>
                    <a:pt x="343" y="4"/>
                  </a:lnTo>
                  <a:lnTo>
                    <a:pt x="343" y="0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5" y="4"/>
                  </a:lnTo>
                  <a:lnTo>
                    <a:pt x="359" y="4"/>
                  </a:lnTo>
                  <a:lnTo>
                    <a:pt x="363" y="4"/>
                  </a:lnTo>
                  <a:lnTo>
                    <a:pt x="367" y="4"/>
                  </a:lnTo>
                  <a:lnTo>
                    <a:pt x="367" y="0"/>
                  </a:lnTo>
                  <a:lnTo>
                    <a:pt x="371" y="0"/>
                  </a:lnTo>
                  <a:lnTo>
                    <a:pt x="371" y="4"/>
                  </a:lnTo>
                  <a:lnTo>
                    <a:pt x="371" y="8"/>
                  </a:lnTo>
                  <a:lnTo>
                    <a:pt x="371" y="12"/>
                  </a:lnTo>
                  <a:lnTo>
                    <a:pt x="375" y="16"/>
                  </a:lnTo>
                  <a:lnTo>
                    <a:pt x="379" y="16"/>
                  </a:lnTo>
                  <a:lnTo>
                    <a:pt x="375" y="16"/>
                  </a:lnTo>
                  <a:lnTo>
                    <a:pt x="375" y="20"/>
                  </a:lnTo>
                  <a:lnTo>
                    <a:pt x="375" y="24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5" y="28"/>
                  </a:lnTo>
                  <a:lnTo>
                    <a:pt x="379" y="28"/>
                  </a:lnTo>
                  <a:lnTo>
                    <a:pt x="383" y="28"/>
                  </a:lnTo>
                  <a:lnTo>
                    <a:pt x="387" y="28"/>
                  </a:lnTo>
                  <a:lnTo>
                    <a:pt x="391" y="28"/>
                  </a:lnTo>
                  <a:lnTo>
                    <a:pt x="387" y="24"/>
                  </a:lnTo>
                  <a:lnTo>
                    <a:pt x="391" y="24"/>
                  </a:lnTo>
                  <a:lnTo>
                    <a:pt x="395" y="28"/>
                  </a:lnTo>
                  <a:lnTo>
                    <a:pt x="391" y="28"/>
                  </a:lnTo>
                  <a:lnTo>
                    <a:pt x="395" y="28"/>
                  </a:lnTo>
                  <a:lnTo>
                    <a:pt x="395" y="32"/>
                  </a:lnTo>
                  <a:lnTo>
                    <a:pt x="395" y="36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395" y="32"/>
                  </a:lnTo>
                  <a:lnTo>
                    <a:pt x="395" y="28"/>
                  </a:lnTo>
                  <a:lnTo>
                    <a:pt x="399" y="28"/>
                  </a:lnTo>
                  <a:lnTo>
                    <a:pt x="403" y="28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5" y="32"/>
                  </a:lnTo>
                  <a:lnTo>
                    <a:pt x="415" y="36"/>
                  </a:lnTo>
                  <a:lnTo>
                    <a:pt x="411" y="36"/>
                  </a:lnTo>
                  <a:lnTo>
                    <a:pt x="407" y="36"/>
                  </a:lnTo>
                  <a:lnTo>
                    <a:pt x="407" y="40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15" y="40"/>
                  </a:lnTo>
                  <a:lnTo>
                    <a:pt x="419" y="40"/>
                  </a:lnTo>
                  <a:lnTo>
                    <a:pt x="423" y="40"/>
                  </a:lnTo>
                  <a:lnTo>
                    <a:pt x="423" y="44"/>
                  </a:lnTo>
                  <a:lnTo>
                    <a:pt x="427" y="40"/>
                  </a:lnTo>
                  <a:lnTo>
                    <a:pt x="423" y="40"/>
                  </a:lnTo>
                  <a:lnTo>
                    <a:pt x="427" y="40"/>
                  </a:lnTo>
                  <a:lnTo>
                    <a:pt x="427" y="36"/>
                  </a:lnTo>
                  <a:lnTo>
                    <a:pt x="430" y="36"/>
                  </a:lnTo>
                  <a:lnTo>
                    <a:pt x="434" y="36"/>
                  </a:lnTo>
                  <a:lnTo>
                    <a:pt x="438" y="32"/>
                  </a:lnTo>
                  <a:lnTo>
                    <a:pt x="442" y="28"/>
                  </a:lnTo>
                  <a:lnTo>
                    <a:pt x="446" y="28"/>
                  </a:lnTo>
                  <a:lnTo>
                    <a:pt x="450" y="28"/>
                  </a:lnTo>
                  <a:lnTo>
                    <a:pt x="450" y="24"/>
                  </a:lnTo>
                  <a:lnTo>
                    <a:pt x="454" y="24"/>
                  </a:lnTo>
                  <a:lnTo>
                    <a:pt x="458" y="24"/>
                  </a:lnTo>
                  <a:lnTo>
                    <a:pt x="458" y="20"/>
                  </a:lnTo>
                  <a:lnTo>
                    <a:pt x="462" y="24"/>
                  </a:lnTo>
                  <a:lnTo>
                    <a:pt x="458" y="28"/>
                  </a:lnTo>
                  <a:lnTo>
                    <a:pt x="454" y="28"/>
                  </a:lnTo>
                  <a:lnTo>
                    <a:pt x="454" y="32"/>
                  </a:lnTo>
                  <a:lnTo>
                    <a:pt x="458" y="36"/>
                  </a:lnTo>
                  <a:lnTo>
                    <a:pt x="462" y="36"/>
                  </a:lnTo>
                  <a:lnTo>
                    <a:pt x="466" y="40"/>
                  </a:lnTo>
                  <a:lnTo>
                    <a:pt x="470" y="44"/>
                  </a:lnTo>
                  <a:lnTo>
                    <a:pt x="474" y="48"/>
                  </a:lnTo>
                  <a:lnTo>
                    <a:pt x="478" y="48"/>
                  </a:lnTo>
                  <a:lnTo>
                    <a:pt x="478" y="52"/>
                  </a:lnTo>
                  <a:lnTo>
                    <a:pt x="482" y="60"/>
                  </a:lnTo>
                  <a:lnTo>
                    <a:pt x="486" y="60"/>
                  </a:lnTo>
                  <a:lnTo>
                    <a:pt x="486" y="64"/>
                  </a:lnTo>
                  <a:lnTo>
                    <a:pt x="486" y="68"/>
                  </a:lnTo>
                  <a:lnTo>
                    <a:pt x="490" y="68"/>
                  </a:lnTo>
                  <a:lnTo>
                    <a:pt x="494" y="72"/>
                  </a:lnTo>
                  <a:lnTo>
                    <a:pt x="498" y="84"/>
                  </a:lnTo>
                  <a:lnTo>
                    <a:pt x="502" y="88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6" y="96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4" y="104"/>
                  </a:lnTo>
                  <a:lnTo>
                    <a:pt x="514" y="100"/>
                  </a:lnTo>
                  <a:lnTo>
                    <a:pt x="514" y="96"/>
                  </a:lnTo>
                  <a:lnTo>
                    <a:pt x="518" y="96"/>
                  </a:lnTo>
                  <a:lnTo>
                    <a:pt x="518" y="92"/>
                  </a:lnTo>
                  <a:lnTo>
                    <a:pt x="522" y="96"/>
                  </a:lnTo>
                  <a:lnTo>
                    <a:pt x="526" y="96"/>
                  </a:lnTo>
                  <a:lnTo>
                    <a:pt x="526" y="100"/>
                  </a:lnTo>
                  <a:lnTo>
                    <a:pt x="530" y="100"/>
                  </a:lnTo>
                  <a:lnTo>
                    <a:pt x="530" y="104"/>
                  </a:lnTo>
                  <a:lnTo>
                    <a:pt x="530" y="108"/>
                  </a:lnTo>
                  <a:lnTo>
                    <a:pt x="534" y="108"/>
                  </a:lnTo>
                  <a:lnTo>
                    <a:pt x="534" y="104"/>
                  </a:lnTo>
                  <a:lnTo>
                    <a:pt x="538" y="104"/>
                  </a:lnTo>
                  <a:lnTo>
                    <a:pt x="538" y="108"/>
                  </a:lnTo>
                  <a:lnTo>
                    <a:pt x="542" y="108"/>
                  </a:lnTo>
                  <a:lnTo>
                    <a:pt x="546" y="104"/>
                  </a:lnTo>
                  <a:lnTo>
                    <a:pt x="546" y="108"/>
                  </a:lnTo>
                  <a:lnTo>
                    <a:pt x="550" y="104"/>
                  </a:lnTo>
                  <a:lnTo>
                    <a:pt x="554" y="104"/>
                  </a:lnTo>
                  <a:lnTo>
                    <a:pt x="554" y="100"/>
                  </a:lnTo>
                  <a:lnTo>
                    <a:pt x="558" y="100"/>
                  </a:lnTo>
                  <a:lnTo>
                    <a:pt x="562" y="100"/>
                  </a:lnTo>
                  <a:lnTo>
                    <a:pt x="566" y="104"/>
                  </a:lnTo>
                  <a:lnTo>
                    <a:pt x="570" y="104"/>
                  </a:lnTo>
                  <a:lnTo>
                    <a:pt x="570" y="108"/>
                  </a:lnTo>
                  <a:lnTo>
                    <a:pt x="574" y="112"/>
                  </a:lnTo>
                  <a:lnTo>
                    <a:pt x="574" y="116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82" y="120"/>
                  </a:lnTo>
                  <a:lnTo>
                    <a:pt x="586" y="120"/>
                  </a:lnTo>
                  <a:lnTo>
                    <a:pt x="586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86" y="128"/>
                  </a:lnTo>
                  <a:lnTo>
                    <a:pt x="586" y="132"/>
                  </a:lnTo>
                  <a:lnTo>
                    <a:pt x="590" y="132"/>
                  </a:lnTo>
                  <a:lnTo>
                    <a:pt x="594" y="132"/>
                  </a:lnTo>
                  <a:lnTo>
                    <a:pt x="598" y="132"/>
                  </a:lnTo>
                  <a:lnTo>
                    <a:pt x="602" y="136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6" y="128"/>
                  </a:lnTo>
                  <a:lnTo>
                    <a:pt x="610" y="128"/>
                  </a:lnTo>
                  <a:lnTo>
                    <a:pt x="610" y="132"/>
                  </a:lnTo>
                  <a:lnTo>
                    <a:pt x="614" y="132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18" y="144"/>
                  </a:lnTo>
                  <a:lnTo>
                    <a:pt x="614" y="144"/>
                  </a:lnTo>
                  <a:lnTo>
                    <a:pt x="610" y="144"/>
                  </a:lnTo>
                  <a:lnTo>
                    <a:pt x="610" y="148"/>
                  </a:lnTo>
                  <a:lnTo>
                    <a:pt x="610" y="152"/>
                  </a:lnTo>
                  <a:lnTo>
                    <a:pt x="610" y="156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4" y="168"/>
                  </a:lnTo>
                  <a:lnTo>
                    <a:pt x="594" y="172"/>
                  </a:lnTo>
                  <a:lnTo>
                    <a:pt x="594" y="176"/>
                  </a:lnTo>
                  <a:lnTo>
                    <a:pt x="594" y="180"/>
                  </a:lnTo>
                  <a:lnTo>
                    <a:pt x="594" y="184"/>
                  </a:lnTo>
                  <a:lnTo>
                    <a:pt x="594" y="188"/>
                  </a:lnTo>
                  <a:lnTo>
                    <a:pt x="590" y="188"/>
                  </a:lnTo>
                  <a:lnTo>
                    <a:pt x="586" y="188"/>
                  </a:lnTo>
                  <a:lnTo>
                    <a:pt x="586" y="192"/>
                  </a:lnTo>
                  <a:lnTo>
                    <a:pt x="582" y="192"/>
                  </a:lnTo>
                  <a:lnTo>
                    <a:pt x="578" y="188"/>
                  </a:lnTo>
                  <a:lnTo>
                    <a:pt x="574" y="188"/>
                  </a:lnTo>
                  <a:lnTo>
                    <a:pt x="570" y="188"/>
                  </a:lnTo>
                  <a:lnTo>
                    <a:pt x="566" y="188"/>
                  </a:lnTo>
                  <a:lnTo>
                    <a:pt x="562" y="188"/>
                  </a:lnTo>
                  <a:lnTo>
                    <a:pt x="558" y="184"/>
                  </a:lnTo>
                  <a:lnTo>
                    <a:pt x="554" y="184"/>
                  </a:lnTo>
                  <a:lnTo>
                    <a:pt x="554" y="188"/>
                  </a:lnTo>
                  <a:lnTo>
                    <a:pt x="554" y="192"/>
                  </a:lnTo>
                  <a:lnTo>
                    <a:pt x="550" y="196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46" y="204"/>
                  </a:lnTo>
                  <a:lnTo>
                    <a:pt x="546" y="208"/>
                  </a:lnTo>
                  <a:lnTo>
                    <a:pt x="546" y="212"/>
                  </a:lnTo>
                  <a:lnTo>
                    <a:pt x="546" y="216"/>
                  </a:lnTo>
                  <a:lnTo>
                    <a:pt x="542" y="220"/>
                  </a:lnTo>
                  <a:lnTo>
                    <a:pt x="546" y="220"/>
                  </a:lnTo>
                  <a:lnTo>
                    <a:pt x="546" y="224"/>
                  </a:lnTo>
                  <a:lnTo>
                    <a:pt x="550" y="224"/>
                  </a:lnTo>
                  <a:lnTo>
                    <a:pt x="550" y="228"/>
                  </a:lnTo>
                  <a:lnTo>
                    <a:pt x="546" y="228"/>
                  </a:lnTo>
                  <a:lnTo>
                    <a:pt x="542" y="228"/>
                  </a:lnTo>
                  <a:lnTo>
                    <a:pt x="538" y="228"/>
                  </a:lnTo>
                  <a:lnTo>
                    <a:pt x="534" y="228"/>
                  </a:lnTo>
                  <a:lnTo>
                    <a:pt x="534" y="224"/>
                  </a:lnTo>
                  <a:lnTo>
                    <a:pt x="530" y="224"/>
                  </a:lnTo>
                  <a:lnTo>
                    <a:pt x="530" y="228"/>
                  </a:lnTo>
                  <a:lnTo>
                    <a:pt x="526" y="228"/>
                  </a:lnTo>
                  <a:lnTo>
                    <a:pt x="522" y="228"/>
                  </a:lnTo>
                  <a:lnTo>
                    <a:pt x="518" y="228"/>
                  </a:lnTo>
                  <a:lnTo>
                    <a:pt x="514" y="232"/>
                  </a:lnTo>
                  <a:lnTo>
                    <a:pt x="510" y="232"/>
                  </a:lnTo>
                  <a:lnTo>
                    <a:pt x="506" y="236"/>
                  </a:lnTo>
                  <a:lnTo>
                    <a:pt x="510" y="236"/>
                  </a:lnTo>
                  <a:lnTo>
                    <a:pt x="514" y="236"/>
                  </a:lnTo>
                  <a:lnTo>
                    <a:pt x="518" y="236"/>
                  </a:lnTo>
                  <a:lnTo>
                    <a:pt x="518" y="240"/>
                  </a:lnTo>
                  <a:lnTo>
                    <a:pt x="514" y="240"/>
                  </a:lnTo>
                  <a:lnTo>
                    <a:pt x="514" y="244"/>
                  </a:lnTo>
                  <a:lnTo>
                    <a:pt x="514" y="248"/>
                  </a:lnTo>
                  <a:lnTo>
                    <a:pt x="514" y="252"/>
                  </a:lnTo>
                  <a:lnTo>
                    <a:pt x="514" y="256"/>
                  </a:lnTo>
                  <a:lnTo>
                    <a:pt x="518" y="256"/>
                  </a:lnTo>
                  <a:lnTo>
                    <a:pt x="518" y="260"/>
                  </a:lnTo>
                  <a:lnTo>
                    <a:pt x="518" y="264"/>
                  </a:lnTo>
                  <a:lnTo>
                    <a:pt x="522" y="268"/>
                  </a:lnTo>
                  <a:lnTo>
                    <a:pt x="522" y="272"/>
                  </a:lnTo>
                  <a:lnTo>
                    <a:pt x="518" y="272"/>
                  </a:lnTo>
                  <a:lnTo>
                    <a:pt x="514" y="276"/>
                  </a:lnTo>
                  <a:lnTo>
                    <a:pt x="518" y="276"/>
                  </a:lnTo>
                  <a:lnTo>
                    <a:pt x="514" y="280"/>
                  </a:lnTo>
                  <a:lnTo>
                    <a:pt x="510" y="284"/>
                  </a:lnTo>
                  <a:lnTo>
                    <a:pt x="510" y="287"/>
                  </a:lnTo>
                  <a:lnTo>
                    <a:pt x="514" y="287"/>
                  </a:lnTo>
                  <a:lnTo>
                    <a:pt x="514" y="291"/>
                  </a:lnTo>
                  <a:lnTo>
                    <a:pt x="510" y="291"/>
                  </a:lnTo>
                  <a:lnTo>
                    <a:pt x="510" y="287"/>
                  </a:lnTo>
                  <a:lnTo>
                    <a:pt x="506" y="287"/>
                  </a:lnTo>
                  <a:lnTo>
                    <a:pt x="502" y="287"/>
                  </a:lnTo>
                  <a:lnTo>
                    <a:pt x="498" y="287"/>
                  </a:lnTo>
                  <a:lnTo>
                    <a:pt x="498" y="284"/>
                  </a:lnTo>
                  <a:lnTo>
                    <a:pt x="498" y="280"/>
                  </a:lnTo>
                  <a:lnTo>
                    <a:pt x="494" y="280"/>
                  </a:lnTo>
                  <a:lnTo>
                    <a:pt x="490" y="280"/>
                  </a:lnTo>
                  <a:lnTo>
                    <a:pt x="486" y="276"/>
                  </a:lnTo>
                  <a:lnTo>
                    <a:pt x="482" y="276"/>
                  </a:lnTo>
                  <a:lnTo>
                    <a:pt x="478" y="276"/>
                  </a:lnTo>
                  <a:lnTo>
                    <a:pt x="474" y="276"/>
                  </a:lnTo>
                  <a:lnTo>
                    <a:pt x="470" y="276"/>
                  </a:lnTo>
                  <a:lnTo>
                    <a:pt x="466" y="276"/>
                  </a:lnTo>
                  <a:lnTo>
                    <a:pt x="462" y="276"/>
                  </a:lnTo>
                  <a:lnTo>
                    <a:pt x="458" y="276"/>
                  </a:lnTo>
                  <a:lnTo>
                    <a:pt x="454" y="276"/>
                  </a:lnTo>
                  <a:lnTo>
                    <a:pt x="450" y="276"/>
                  </a:lnTo>
                  <a:lnTo>
                    <a:pt x="446" y="2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60" name="Freeform 24">
              <a:extLst>
                <a:ext uri="{FF2B5EF4-FFF2-40B4-BE49-F238E27FC236}">
                  <a16:creationId xmlns:a16="http://schemas.microsoft.com/office/drawing/2014/main" xmlns="" id="{86F06F24-5378-46A7-BA60-871396566665}"/>
                </a:ext>
              </a:extLst>
            </p:cNvPr>
            <p:cNvSpPr>
              <a:spLocks noEditPoints="1"/>
            </p:cNvSpPr>
            <p:nvPr>
              <p:custDataLst>
                <p:tags r:id="rId24"/>
              </p:custDataLst>
            </p:nvPr>
          </p:nvSpPr>
          <p:spPr bwMode="gray">
            <a:xfrm>
              <a:off x="5423104" y="3758023"/>
              <a:ext cx="41526" cy="47458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61" name="Freeform 25">
              <a:extLst>
                <a:ext uri="{FF2B5EF4-FFF2-40B4-BE49-F238E27FC236}">
                  <a16:creationId xmlns:a16="http://schemas.microsoft.com/office/drawing/2014/main" xmlns="" id="{26975535-06E7-4B7C-A803-1EEFD7245C78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5931795" y="3367978"/>
              <a:ext cx="247671" cy="123094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62" name="Freeform 26">
              <a:extLst>
                <a:ext uri="{FF2B5EF4-FFF2-40B4-BE49-F238E27FC236}">
                  <a16:creationId xmlns:a16="http://schemas.microsoft.com/office/drawing/2014/main" xmlns="" id="{E01F5624-3841-4990-8A35-36BCEA87E411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6622903" y="3977517"/>
              <a:ext cx="172035" cy="235807"/>
            </a:xfrm>
            <a:custGeom>
              <a:avLst/>
              <a:gdLst/>
              <a:ahLst/>
              <a:cxnLst>
                <a:cxn ang="0">
                  <a:pos x="56" y="79"/>
                </a:cxn>
                <a:cxn ang="0">
                  <a:pos x="48" y="79"/>
                </a:cxn>
                <a:cxn ang="0">
                  <a:pos x="36" y="87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16" y="83"/>
                </a:cxn>
                <a:cxn ang="0">
                  <a:pos x="16" y="67"/>
                </a:cxn>
                <a:cxn ang="0">
                  <a:pos x="16" y="59"/>
                </a:cxn>
                <a:cxn ang="0">
                  <a:pos x="4" y="55"/>
                </a:cxn>
                <a:cxn ang="0">
                  <a:pos x="4" y="43"/>
                </a:cxn>
                <a:cxn ang="0">
                  <a:pos x="0" y="3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6" y="16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4"/>
                </a:cxn>
                <a:cxn ang="0">
                  <a:pos x="32" y="0"/>
                </a:cxn>
                <a:cxn ang="0">
                  <a:pos x="40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52" y="36"/>
                </a:cxn>
                <a:cxn ang="0">
                  <a:pos x="64" y="32"/>
                </a:cxn>
                <a:cxn ang="0">
                  <a:pos x="72" y="43"/>
                </a:cxn>
                <a:cxn ang="0">
                  <a:pos x="68" y="55"/>
                </a:cxn>
                <a:cxn ang="0">
                  <a:pos x="60" y="55"/>
                </a:cxn>
                <a:cxn ang="0">
                  <a:pos x="56" y="59"/>
                </a:cxn>
                <a:cxn ang="0">
                  <a:pos x="68" y="71"/>
                </a:cxn>
                <a:cxn ang="0">
                  <a:pos x="76" y="79"/>
                </a:cxn>
                <a:cxn ang="0">
                  <a:pos x="84" y="87"/>
                </a:cxn>
                <a:cxn ang="0">
                  <a:pos x="92" y="95"/>
                </a:cxn>
                <a:cxn ang="0">
                  <a:pos x="96" y="107"/>
                </a:cxn>
                <a:cxn ang="0">
                  <a:pos x="104" y="111"/>
                </a:cxn>
                <a:cxn ang="0">
                  <a:pos x="112" y="119"/>
                </a:cxn>
                <a:cxn ang="0">
                  <a:pos x="108" y="131"/>
                </a:cxn>
                <a:cxn ang="0">
                  <a:pos x="112" y="139"/>
                </a:cxn>
                <a:cxn ang="0">
                  <a:pos x="108" y="151"/>
                </a:cxn>
                <a:cxn ang="0">
                  <a:pos x="96" y="151"/>
                </a:cxn>
                <a:cxn ang="0">
                  <a:pos x="92" y="155"/>
                </a:cxn>
                <a:cxn ang="0">
                  <a:pos x="84" y="155"/>
                </a:cxn>
                <a:cxn ang="0">
                  <a:pos x="76" y="155"/>
                </a:cxn>
                <a:cxn ang="0">
                  <a:pos x="80" y="143"/>
                </a:cxn>
                <a:cxn ang="0">
                  <a:pos x="84" y="135"/>
                </a:cxn>
                <a:cxn ang="0">
                  <a:pos x="80" y="123"/>
                </a:cxn>
                <a:cxn ang="0">
                  <a:pos x="72" y="111"/>
                </a:cxn>
                <a:cxn ang="0">
                  <a:pos x="68" y="103"/>
                </a:cxn>
                <a:cxn ang="0">
                  <a:pos x="68" y="95"/>
                </a:cxn>
              </a:cxnLst>
              <a:rect l="0" t="0" r="r" b="b"/>
              <a:pathLst>
                <a:path w="116" h="159">
                  <a:moveTo>
                    <a:pt x="64" y="87"/>
                  </a:moveTo>
                  <a:lnTo>
                    <a:pt x="60" y="83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48" y="75"/>
                  </a:lnTo>
                  <a:lnTo>
                    <a:pt x="48" y="79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3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2" y="55"/>
                  </a:lnTo>
                  <a:lnTo>
                    <a:pt x="8" y="55"/>
                  </a:lnTo>
                  <a:lnTo>
                    <a:pt x="4" y="55"/>
                  </a:lnTo>
                  <a:lnTo>
                    <a:pt x="4" y="51"/>
                  </a:lnTo>
                  <a:lnTo>
                    <a:pt x="8" y="47"/>
                  </a:lnTo>
                  <a:lnTo>
                    <a:pt x="8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64" y="39"/>
                  </a:lnTo>
                  <a:lnTo>
                    <a:pt x="68" y="39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60" y="63"/>
                  </a:lnTo>
                  <a:lnTo>
                    <a:pt x="64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6" y="71"/>
                  </a:lnTo>
                  <a:lnTo>
                    <a:pt x="76" y="75"/>
                  </a:lnTo>
                  <a:lnTo>
                    <a:pt x="76" y="79"/>
                  </a:lnTo>
                  <a:lnTo>
                    <a:pt x="80" y="79"/>
                  </a:lnTo>
                  <a:lnTo>
                    <a:pt x="80" y="83"/>
                  </a:lnTo>
                  <a:lnTo>
                    <a:pt x="84" y="83"/>
                  </a:lnTo>
                  <a:lnTo>
                    <a:pt x="84" y="87"/>
                  </a:lnTo>
                  <a:lnTo>
                    <a:pt x="84" y="91"/>
                  </a:lnTo>
                  <a:lnTo>
                    <a:pt x="88" y="91"/>
                  </a:lnTo>
                  <a:lnTo>
                    <a:pt x="88" y="95"/>
                  </a:lnTo>
                  <a:lnTo>
                    <a:pt x="92" y="95"/>
                  </a:lnTo>
                  <a:lnTo>
                    <a:pt x="92" y="99"/>
                  </a:lnTo>
                  <a:lnTo>
                    <a:pt x="96" y="99"/>
                  </a:lnTo>
                  <a:lnTo>
                    <a:pt x="96" y="103"/>
                  </a:lnTo>
                  <a:lnTo>
                    <a:pt x="96" y="107"/>
                  </a:lnTo>
                  <a:lnTo>
                    <a:pt x="96" y="111"/>
                  </a:lnTo>
                  <a:lnTo>
                    <a:pt x="100" y="115"/>
                  </a:lnTo>
                  <a:lnTo>
                    <a:pt x="100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8" y="115"/>
                  </a:lnTo>
                  <a:lnTo>
                    <a:pt x="108" y="119"/>
                  </a:lnTo>
                  <a:lnTo>
                    <a:pt x="112" y="119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8" y="127"/>
                  </a:lnTo>
                  <a:lnTo>
                    <a:pt x="108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5"/>
                  </a:lnTo>
                  <a:lnTo>
                    <a:pt x="112" y="139"/>
                  </a:lnTo>
                  <a:lnTo>
                    <a:pt x="112" y="143"/>
                  </a:lnTo>
                  <a:lnTo>
                    <a:pt x="112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0" y="155"/>
                  </a:lnTo>
                  <a:lnTo>
                    <a:pt x="100" y="151"/>
                  </a:lnTo>
                  <a:lnTo>
                    <a:pt x="96" y="147"/>
                  </a:lnTo>
                  <a:lnTo>
                    <a:pt x="96" y="151"/>
                  </a:lnTo>
                  <a:lnTo>
                    <a:pt x="92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92" y="155"/>
                  </a:lnTo>
                  <a:lnTo>
                    <a:pt x="92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76" y="155"/>
                  </a:lnTo>
                  <a:lnTo>
                    <a:pt x="76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80" y="143"/>
                  </a:lnTo>
                  <a:lnTo>
                    <a:pt x="84" y="143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4" y="135"/>
                  </a:lnTo>
                  <a:lnTo>
                    <a:pt x="84" y="131"/>
                  </a:lnTo>
                  <a:lnTo>
                    <a:pt x="84" y="127"/>
                  </a:lnTo>
                  <a:lnTo>
                    <a:pt x="80" y="127"/>
                  </a:lnTo>
                  <a:lnTo>
                    <a:pt x="80" y="123"/>
                  </a:lnTo>
                  <a:lnTo>
                    <a:pt x="76" y="123"/>
                  </a:lnTo>
                  <a:lnTo>
                    <a:pt x="76" y="119"/>
                  </a:lnTo>
                  <a:lnTo>
                    <a:pt x="72" y="115"/>
                  </a:lnTo>
                  <a:lnTo>
                    <a:pt x="72" y="111"/>
                  </a:lnTo>
                  <a:lnTo>
                    <a:pt x="68" y="111"/>
                  </a:lnTo>
                  <a:lnTo>
                    <a:pt x="72" y="111"/>
                  </a:lnTo>
                  <a:lnTo>
                    <a:pt x="72" y="107"/>
                  </a:lnTo>
                  <a:lnTo>
                    <a:pt x="68" y="103"/>
                  </a:lnTo>
                  <a:lnTo>
                    <a:pt x="72" y="103"/>
                  </a:lnTo>
                  <a:lnTo>
                    <a:pt x="72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63" name="Freeform 27">
              <a:extLst>
                <a:ext uri="{FF2B5EF4-FFF2-40B4-BE49-F238E27FC236}">
                  <a16:creationId xmlns:a16="http://schemas.microsoft.com/office/drawing/2014/main" xmlns="" id="{9D393666-7EB1-494C-829F-352FD414EC66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5162085" y="3627513"/>
              <a:ext cx="35594" cy="47458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64" name="Freeform 28">
              <a:extLst>
                <a:ext uri="{FF2B5EF4-FFF2-40B4-BE49-F238E27FC236}">
                  <a16:creationId xmlns:a16="http://schemas.microsoft.com/office/drawing/2014/main" xmlns="" id="{225030F1-3FD1-4023-A9D6-7FF725FD2D92}"/>
                </a:ext>
              </a:extLst>
            </p:cNvPr>
            <p:cNvSpPr>
              <a:spLocks noEditPoints="1"/>
            </p:cNvSpPr>
            <p:nvPr>
              <p:custDataLst>
                <p:tags r:id="rId28"/>
              </p:custDataLst>
            </p:nvPr>
          </p:nvSpPr>
          <p:spPr bwMode="gray">
            <a:xfrm>
              <a:off x="6611038" y="4397224"/>
              <a:ext cx="444919" cy="177968"/>
            </a:xfrm>
            <a:custGeom>
              <a:avLst/>
              <a:gdLst/>
              <a:ahLst/>
              <a:cxnLst>
                <a:cxn ang="0">
                  <a:pos x="8" y="20"/>
                </a:cxn>
                <a:cxn ang="0">
                  <a:pos x="16" y="16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6" y="24"/>
                </a:cxn>
                <a:cxn ang="0">
                  <a:pos x="44" y="28"/>
                </a:cxn>
                <a:cxn ang="0">
                  <a:pos x="56" y="36"/>
                </a:cxn>
                <a:cxn ang="0">
                  <a:pos x="60" y="56"/>
                </a:cxn>
                <a:cxn ang="0">
                  <a:pos x="60" y="68"/>
                </a:cxn>
                <a:cxn ang="0">
                  <a:pos x="60" y="80"/>
                </a:cxn>
                <a:cxn ang="0">
                  <a:pos x="68" y="92"/>
                </a:cxn>
                <a:cxn ang="0">
                  <a:pos x="68" y="108"/>
                </a:cxn>
                <a:cxn ang="0">
                  <a:pos x="60" y="112"/>
                </a:cxn>
                <a:cxn ang="0">
                  <a:pos x="48" y="100"/>
                </a:cxn>
                <a:cxn ang="0">
                  <a:pos x="36" y="88"/>
                </a:cxn>
                <a:cxn ang="0">
                  <a:pos x="28" y="80"/>
                </a:cxn>
                <a:cxn ang="0">
                  <a:pos x="20" y="68"/>
                </a:cxn>
                <a:cxn ang="0">
                  <a:pos x="16" y="56"/>
                </a:cxn>
                <a:cxn ang="0">
                  <a:pos x="12" y="36"/>
                </a:cxn>
                <a:cxn ang="0">
                  <a:pos x="264" y="0"/>
                </a:cxn>
                <a:cxn ang="0">
                  <a:pos x="268" y="12"/>
                </a:cxn>
                <a:cxn ang="0">
                  <a:pos x="284" y="48"/>
                </a:cxn>
                <a:cxn ang="0">
                  <a:pos x="276" y="56"/>
                </a:cxn>
                <a:cxn ang="0">
                  <a:pos x="180" y="92"/>
                </a:cxn>
                <a:cxn ang="0">
                  <a:pos x="224" y="56"/>
                </a:cxn>
                <a:cxn ang="0">
                  <a:pos x="232" y="48"/>
                </a:cxn>
                <a:cxn ang="0">
                  <a:pos x="236" y="52"/>
                </a:cxn>
                <a:cxn ang="0">
                  <a:pos x="236" y="44"/>
                </a:cxn>
                <a:cxn ang="0">
                  <a:pos x="240" y="36"/>
                </a:cxn>
                <a:cxn ang="0">
                  <a:pos x="248" y="24"/>
                </a:cxn>
                <a:cxn ang="0">
                  <a:pos x="256" y="12"/>
                </a:cxn>
                <a:cxn ang="0">
                  <a:pos x="260" y="12"/>
                </a:cxn>
                <a:cxn ang="0">
                  <a:pos x="268" y="8"/>
                </a:cxn>
                <a:cxn ang="0">
                  <a:pos x="272" y="16"/>
                </a:cxn>
                <a:cxn ang="0">
                  <a:pos x="272" y="24"/>
                </a:cxn>
                <a:cxn ang="0">
                  <a:pos x="280" y="28"/>
                </a:cxn>
                <a:cxn ang="0">
                  <a:pos x="292" y="36"/>
                </a:cxn>
                <a:cxn ang="0">
                  <a:pos x="292" y="40"/>
                </a:cxn>
                <a:cxn ang="0">
                  <a:pos x="284" y="44"/>
                </a:cxn>
                <a:cxn ang="0">
                  <a:pos x="288" y="56"/>
                </a:cxn>
                <a:cxn ang="0">
                  <a:pos x="272" y="56"/>
                </a:cxn>
                <a:cxn ang="0">
                  <a:pos x="252" y="56"/>
                </a:cxn>
                <a:cxn ang="0">
                  <a:pos x="244" y="60"/>
                </a:cxn>
                <a:cxn ang="0">
                  <a:pos x="240" y="76"/>
                </a:cxn>
                <a:cxn ang="0">
                  <a:pos x="232" y="96"/>
                </a:cxn>
                <a:cxn ang="0">
                  <a:pos x="224" y="108"/>
                </a:cxn>
                <a:cxn ang="0">
                  <a:pos x="208" y="108"/>
                </a:cxn>
                <a:cxn ang="0">
                  <a:pos x="192" y="108"/>
                </a:cxn>
                <a:cxn ang="0">
                  <a:pos x="180" y="116"/>
                </a:cxn>
                <a:cxn ang="0">
                  <a:pos x="164" y="120"/>
                </a:cxn>
                <a:cxn ang="0">
                  <a:pos x="152" y="104"/>
                </a:cxn>
                <a:cxn ang="0">
                  <a:pos x="156" y="104"/>
                </a:cxn>
                <a:cxn ang="0">
                  <a:pos x="168" y="108"/>
                </a:cxn>
                <a:cxn ang="0">
                  <a:pos x="180" y="108"/>
                </a:cxn>
                <a:cxn ang="0">
                  <a:pos x="176" y="96"/>
                </a:cxn>
                <a:cxn ang="0">
                  <a:pos x="176" y="92"/>
                </a:cxn>
                <a:cxn ang="0">
                  <a:pos x="184" y="80"/>
                </a:cxn>
                <a:cxn ang="0">
                  <a:pos x="200" y="76"/>
                </a:cxn>
                <a:cxn ang="0">
                  <a:pos x="212" y="60"/>
                </a:cxn>
                <a:cxn ang="0">
                  <a:pos x="216" y="48"/>
                </a:cxn>
                <a:cxn ang="0">
                  <a:pos x="4" y="16"/>
                </a:cxn>
                <a:cxn ang="0">
                  <a:pos x="12" y="36"/>
                </a:cxn>
                <a:cxn ang="0">
                  <a:pos x="68" y="80"/>
                </a:cxn>
              </a:cxnLst>
              <a:rect l="0" t="0" r="r" b="b"/>
              <a:pathLst>
                <a:path w="300" h="120">
                  <a:moveTo>
                    <a:pt x="12" y="32"/>
                  </a:move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60" y="4"/>
                  </a:moveTo>
                  <a:lnTo>
                    <a:pt x="264" y="0"/>
                  </a:lnTo>
                  <a:lnTo>
                    <a:pt x="260" y="4"/>
                  </a:lnTo>
                  <a:close/>
                  <a:moveTo>
                    <a:pt x="264" y="0"/>
                  </a:moveTo>
                  <a:lnTo>
                    <a:pt x="268" y="0"/>
                  </a:lnTo>
                  <a:lnTo>
                    <a:pt x="268" y="4"/>
                  </a:lnTo>
                  <a:lnTo>
                    <a:pt x="264" y="4"/>
                  </a:lnTo>
                  <a:lnTo>
                    <a:pt x="264" y="0"/>
                  </a:lnTo>
                  <a:close/>
                  <a:moveTo>
                    <a:pt x="268" y="12"/>
                  </a:moveTo>
                  <a:lnTo>
                    <a:pt x="272" y="12"/>
                  </a:lnTo>
                  <a:lnTo>
                    <a:pt x="272" y="8"/>
                  </a:lnTo>
                  <a:lnTo>
                    <a:pt x="272" y="12"/>
                  </a:lnTo>
                  <a:lnTo>
                    <a:pt x="268" y="12"/>
                  </a:lnTo>
                  <a:close/>
                  <a:moveTo>
                    <a:pt x="284" y="48"/>
                  </a:moveTo>
                  <a:lnTo>
                    <a:pt x="288" y="48"/>
                  </a:lnTo>
                  <a:lnTo>
                    <a:pt x="284" y="48"/>
                  </a:lnTo>
                  <a:close/>
                  <a:moveTo>
                    <a:pt x="276" y="56"/>
                  </a:moveTo>
                  <a:lnTo>
                    <a:pt x="272" y="56"/>
                  </a:lnTo>
                  <a:lnTo>
                    <a:pt x="276" y="56"/>
                  </a:lnTo>
                  <a:close/>
                  <a:moveTo>
                    <a:pt x="176" y="88"/>
                  </a:moveTo>
                  <a:lnTo>
                    <a:pt x="176" y="84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76" y="88"/>
                  </a:lnTo>
                  <a:close/>
                  <a:moveTo>
                    <a:pt x="220" y="48"/>
                  </a:moveTo>
                  <a:lnTo>
                    <a:pt x="220" y="52"/>
                  </a:lnTo>
                  <a:lnTo>
                    <a:pt x="224" y="52"/>
                  </a:lnTo>
                  <a:lnTo>
                    <a:pt x="224" y="56"/>
                  </a:lnTo>
                  <a:lnTo>
                    <a:pt x="228" y="60"/>
                  </a:lnTo>
                  <a:lnTo>
                    <a:pt x="232" y="60"/>
                  </a:lnTo>
                  <a:lnTo>
                    <a:pt x="232" y="56"/>
                  </a:lnTo>
                  <a:lnTo>
                    <a:pt x="232" y="52"/>
                  </a:lnTo>
                  <a:lnTo>
                    <a:pt x="232" y="48"/>
                  </a:lnTo>
                  <a:lnTo>
                    <a:pt x="232" y="44"/>
                  </a:lnTo>
                  <a:lnTo>
                    <a:pt x="236" y="44"/>
                  </a:lnTo>
                  <a:lnTo>
                    <a:pt x="232" y="48"/>
                  </a:lnTo>
                  <a:lnTo>
                    <a:pt x="236" y="48"/>
                  </a:lnTo>
                  <a:lnTo>
                    <a:pt x="236" y="52"/>
                  </a:lnTo>
                  <a:lnTo>
                    <a:pt x="240" y="56"/>
                  </a:lnTo>
                  <a:lnTo>
                    <a:pt x="240" y="52"/>
                  </a:lnTo>
                  <a:lnTo>
                    <a:pt x="236" y="52"/>
                  </a:lnTo>
                  <a:lnTo>
                    <a:pt x="236" y="48"/>
                  </a:lnTo>
                  <a:lnTo>
                    <a:pt x="236" y="44"/>
                  </a:lnTo>
                  <a:lnTo>
                    <a:pt x="240" y="44"/>
                  </a:lnTo>
                  <a:lnTo>
                    <a:pt x="240" y="40"/>
                  </a:lnTo>
                  <a:lnTo>
                    <a:pt x="244" y="40"/>
                  </a:lnTo>
                  <a:lnTo>
                    <a:pt x="240" y="40"/>
                  </a:lnTo>
                  <a:lnTo>
                    <a:pt x="240" y="36"/>
                  </a:lnTo>
                  <a:lnTo>
                    <a:pt x="240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48" y="24"/>
                  </a:lnTo>
                  <a:lnTo>
                    <a:pt x="252" y="24"/>
                  </a:lnTo>
                  <a:lnTo>
                    <a:pt x="252" y="20"/>
                  </a:lnTo>
                  <a:lnTo>
                    <a:pt x="252" y="16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2"/>
                  </a:lnTo>
                  <a:lnTo>
                    <a:pt x="260" y="8"/>
                  </a:lnTo>
                  <a:lnTo>
                    <a:pt x="260" y="4"/>
                  </a:lnTo>
                  <a:lnTo>
                    <a:pt x="260" y="8"/>
                  </a:lnTo>
                  <a:lnTo>
                    <a:pt x="260" y="12"/>
                  </a:lnTo>
                  <a:lnTo>
                    <a:pt x="264" y="12"/>
                  </a:lnTo>
                  <a:lnTo>
                    <a:pt x="264" y="8"/>
                  </a:lnTo>
                  <a:lnTo>
                    <a:pt x="264" y="4"/>
                  </a:lnTo>
                  <a:lnTo>
                    <a:pt x="268" y="4"/>
                  </a:lnTo>
                  <a:lnTo>
                    <a:pt x="268" y="8"/>
                  </a:lnTo>
                  <a:lnTo>
                    <a:pt x="268" y="12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6" y="16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0" y="28"/>
                  </a:lnTo>
                  <a:lnTo>
                    <a:pt x="276" y="28"/>
                  </a:lnTo>
                  <a:lnTo>
                    <a:pt x="280" y="28"/>
                  </a:lnTo>
                  <a:lnTo>
                    <a:pt x="284" y="28"/>
                  </a:lnTo>
                  <a:lnTo>
                    <a:pt x="288" y="28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292" y="36"/>
                  </a:lnTo>
                  <a:lnTo>
                    <a:pt x="296" y="36"/>
                  </a:lnTo>
                  <a:lnTo>
                    <a:pt x="300" y="36"/>
                  </a:lnTo>
                  <a:lnTo>
                    <a:pt x="300" y="40"/>
                  </a:lnTo>
                  <a:lnTo>
                    <a:pt x="296" y="40"/>
                  </a:lnTo>
                  <a:lnTo>
                    <a:pt x="292" y="40"/>
                  </a:lnTo>
                  <a:lnTo>
                    <a:pt x="292" y="44"/>
                  </a:lnTo>
                  <a:lnTo>
                    <a:pt x="288" y="44"/>
                  </a:lnTo>
                  <a:lnTo>
                    <a:pt x="284" y="44"/>
                  </a:lnTo>
                  <a:lnTo>
                    <a:pt x="284" y="40"/>
                  </a:lnTo>
                  <a:lnTo>
                    <a:pt x="284" y="44"/>
                  </a:lnTo>
                  <a:lnTo>
                    <a:pt x="280" y="44"/>
                  </a:lnTo>
                  <a:lnTo>
                    <a:pt x="284" y="48"/>
                  </a:lnTo>
                  <a:lnTo>
                    <a:pt x="288" y="48"/>
                  </a:lnTo>
                  <a:lnTo>
                    <a:pt x="288" y="52"/>
                  </a:lnTo>
                  <a:lnTo>
                    <a:pt x="288" y="56"/>
                  </a:lnTo>
                  <a:lnTo>
                    <a:pt x="284" y="56"/>
                  </a:lnTo>
                  <a:lnTo>
                    <a:pt x="280" y="56"/>
                  </a:lnTo>
                  <a:lnTo>
                    <a:pt x="276" y="56"/>
                  </a:lnTo>
                  <a:lnTo>
                    <a:pt x="276" y="52"/>
                  </a:lnTo>
                  <a:lnTo>
                    <a:pt x="272" y="56"/>
                  </a:lnTo>
                  <a:lnTo>
                    <a:pt x="268" y="56"/>
                  </a:lnTo>
                  <a:lnTo>
                    <a:pt x="264" y="56"/>
                  </a:lnTo>
                  <a:lnTo>
                    <a:pt x="260" y="56"/>
                  </a:lnTo>
                  <a:lnTo>
                    <a:pt x="256" y="56"/>
                  </a:lnTo>
                  <a:lnTo>
                    <a:pt x="252" y="56"/>
                  </a:lnTo>
                  <a:lnTo>
                    <a:pt x="248" y="56"/>
                  </a:lnTo>
                  <a:lnTo>
                    <a:pt x="248" y="52"/>
                  </a:lnTo>
                  <a:lnTo>
                    <a:pt x="248" y="56"/>
                  </a:lnTo>
                  <a:lnTo>
                    <a:pt x="244" y="56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4" y="68"/>
                  </a:lnTo>
                  <a:lnTo>
                    <a:pt x="244" y="72"/>
                  </a:lnTo>
                  <a:lnTo>
                    <a:pt x="240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36" y="80"/>
                  </a:lnTo>
                  <a:lnTo>
                    <a:pt x="236" y="88"/>
                  </a:lnTo>
                  <a:lnTo>
                    <a:pt x="232" y="92"/>
                  </a:lnTo>
                  <a:lnTo>
                    <a:pt x="232" y="96"/>
                  </a:lnTo>
                  <a:lnTo>
                    <a:pt x="232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28" y="108"/>
                  </a:lnTo>
                  <a:lnTo>
                    <a:pt x="224" y="108"/>
                  </a:lnTo>
                  <a:lnTo>
                    <a:pt x="220" y="108"/>
                  </a:lnTo>
                  <a:lnTo>
                    <a:pt x="216" y="108"/>
                  </a:lnTo>
                  <a:lnTo>
                    <a:pt x="216" y="112"/>
                  </a:lnTo>
                  <a:lnTo>
                    <a:pt x="212" y="112"/>
                  </a:lnTo>
                  <a:lnTo>
                    <a:pt x="208" y="108"/>
                  </a:lnTo>
                  <a:lnTo>
                    <a:pt x="204" y="108"/>
                  </a:lnTo>
                  <a:lnTo>
                    <a:pt x="204" y="104"/>
                  </a:lnTo>
                  <a:lnTo>
                    <a:pt x="200" y="104"/>
                  </a:lnTo>
                  <a:lnTo>
                    <a:pt x="196" y="104"/>
                  </a:lnTo>
                  <a:lnTo>
                    <a:pt x="192" y="108"/>
                  </a:lnTo>
                  <a:lnTo>
                    <a:pt x="192" y="112"/>
                  </a:lnTo>
                  <a:lnTo>
                    <a:pt x="188" y="112"/>
                  </a:lnTo>
                  <a:lnTo>
                    <a:pt x="188" y="116"/>
                  </a:lnTo>
                  <a:lnTo>
                    <a:pt x="184" y="116"/>
                  </a:lnTo>
                  <a:lnTo>
                    <a:pt x="180" y="116"/>
                  </a:lnTo>
                  <a:lnTo>
                    <a:pt x="176" y="116"/>
                  </a:lnTo>
                  <a:lnTo>
                    <a:pt x="172" y="116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4" y="120"/>
                  </a:lnTo>
                  <a:lnTo>
                    <a:pt x="164" y="116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6" y="108"/>
                  </a:lnTo>
                  <a:lnTo>
                    <a:pt x="152" y="104"/>
                  </a:lnTo>
                  <a:lnTo>
                    <a:pt x="152" y="100"/>
                  </a:lnTo>
                  <a:lnTo>
                    <a:pt x="152" y="96"/>
                  </a:lnTo>
                  <a:lnTo>
                    <a:pt x="152" y="100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4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4"/>
                  </a:lnTo>
                  <a:lnTo>
                    <a:pt x="168" y="108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2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76" y="100"/>
                  </a:lnTo>
                  <a:lnTo>
                    <a:pt x="176" y="96"/>
                  </a:lnTo>
                  <a:lnTo>
                    <a:pt x="180" y="96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76" y="88"/>
                  </a:lnTo>
                  <a:lnTo>
                    <a:pt x="176" y="92"/>
                  </a:lnTo>
                  <a:lnTo>
                    <a:pt x="180" y="92"/>
                  </a:lnTo>
                  <a:lnTo>
                    <a:pt x="180" y="88"/>
                  </a:lnTo>
                  <a:lnTo>
                    <a:pt x="180" y="84"/>
                  </a:lnTo>
                  <a:lnTo>
                    <a:pt x="184" y="84"/>
                  </a:lnTo>
                  <a:lnTo>
                    <a:pt x="184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0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8" y="72"/>
                  </a:lnTo>
                  <a:lnTo>
                    <a:pt x="208" y="68"/>
                  </a:lnTo>
                  <a:lnTo>
                    <a:pt x="212" y="64"/>
                  </a:lnTo>
                  <a:lnTo>
                    <a:pt x="212" y="60"/>
                  </a:lnTo>
                  <a:lnTo>
                    <a:pt x="216" y="60"/>
                  </a:lnTo>
                  <a:lnTo>
                    <a:pt x="216" y="56"/>
                  </a:lnTo>
                  <a:lnTo>
                    <a:pt x="220" y="52"/>
                  </a:lnTo>
                  <a:lnTo>
                    <a:pt x="216" y="52"/>
                  </a:lnTo>
                  <a:lnTo>
                    <a:pt x="216" y="48"/>
                  </a:lnTo>
                  <a:lnTo>
                    <a:pt x="220" y="48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0" y="16"/>
                  </a:lnTo>
                  <a:lnTo>
                    <a:pt x="4" y="16"/>
                  </a:lnTo>
                  <a:close/>
                  <a:moveTo>
                    <a:pt x="12" y="36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close/>
                  <a:moveTo>
                    <a:pt x="68" y="80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xmlns="" id="{92FCF964-B6BD-4917-B017-D7E6030926B6}"/>
                </a:ext>
              </a:extLst>
            </p:cNvPr>
            <p:cNvSpPr>
              <a:spLocks noEditPoints="1"/>
            </p:cNvSpPr>
            <p:nvPr>
              <p:custDataLst>
                <p:tags r:id="rId29"/>
              </p:custDataLst>
            </p:nvPr>
          </p:nvSpPr>
          <p:spPr bwMode="gray">
            <a:xfrm>
              <a:off x="6014847" y="4403156"/>
              <a:ext cx="11865" cy="2076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xmlns="" id="{2116BEA5-703B-4036-AE9D-A0E04BF321BB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6345570" y="3077297"/>
              <a:ext cx="722252" cy="336655"/>
            </a:xfrm>
            <a:custGeom>
              <a:avLst/>
              <a:gdLst/>
              <a:ahLst/>
              <a:cxnLst>
                <a:cxn ang="0">
                  <a:pos x="427" y="144"/>
                </a:cxn>
                <a:cxn ang="0">
                  <a:pos x="403" y="152"/>
                </a:cxn>
                <a:cxn ang="0">
                  <a:pos x="383" y="160"/>
                </a:cxn>
                <a:cxn ang="0">
                  <a:pos x="359" y="164"/>
                </a:cxn>
                <a:cxn ang="0">
                  <a:pos x="363" y="188"/>
                </a:cxn>
                <a:cxn ang="0">
                  <a:pos x="347" y="200"/>
                </a:cxn>
                <a:cxn ang="0">
                  <a:pos x="331" y="211"/>
                </a:cxn>
                <a:cxn ang="0">
                  <a:pos x="299" y="211"/>
                </a:cxn>
                <a:cxn ang="0">
                  <a:pos x="271" y="223"/>
                </a:cxn>
                <a:cxn ang="0">
                  <a:pos x="243" y="223"/>
                </a:cxn>
                <a:cxn ang="0">
                  <a:pos x="215" y="211"/>
                </a:cxn>
                <a:cxn ang="0">
                  <a:pos x="191" y="204"/>
                </a:cxn>
                <a:cxn ang="0">
                  <a:pos x="163" y="208"/>
                </a:cxn>
                <a:cxn ang="0">
                  <a:pos x="136" y="204"/>
                </a:cxn>
                <a:cxn ang="0">
                  <a:pos x="120" y="188"/>
                </a:cxn>
                <a:cxn ang="0">
                  <a:pos x="104" y="172"/>
                </a:cxn>
                <a:cxn ang="0">
                  <a:pos x="88" y="160"/>
                </a:cxn>
                <a:cxn ang="0">
                  <a:pos x="64" y="156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04"/>
                </a:cxn>
                <a:cxn ang="0">
                  <a:pos x="28" y="92"/>
                </a:cxn>
                <a:cxn ang="0">
                  <a:pos x="8" y="80"/>
                </a:cxn>
                <a:cxn ang="0">
                  <a:pos x="4" y="64"/>
                </a:cxn>
                <a:cxn ang="0">
                  <a:pos x="20" y="56"/>
                </a:cxn>
                <a:cxn ang="0">
                  <a:pos x="28" y="52"/>
                </a:cxn>
                <a:cxn ang="0">
                  <a:pos x="44" y="40"/>
                </a:cxn>
                <a:cxn ang="0">
                  <a:pos x="60" y="32"/>
                </a:cxn>
                <a:cxn ang="0">
                  <a:pos x="80" y="28"/>
                </a:cxn>
                <a:cxn ang="0">
                  <a:pos x="100" y="36"/>
                </a:cxn>
                <a:cxn ang="0">
                  <a:pos x="116" y="48"/>
                </a:cxn>
                <a:cxn ang="0">
                  <a:pos x="144" y="52"/>
                </a:cxn>
                <a:cxn ang="0">
                  <a:pos x="159" y="40"/>
                </a:cxn>
                <a:cxn ang="0">
                  <a:pos x="156" y="12"/>
                </a:cxn>
                <a:cxn ang="0">
                  <a:pos x="167" y="4"/>
                </a:cxn>
                <a:cxn ang="0">
                  <a:pos x="187" y="8"/>
                </a:cxn>
                <a:cxn ang="0">
                  <a:pos x="211" y="12"/>
                </a:cxn>
                <a:cxn ang="0">
                  <a:pos x="219" y="32"/>
                </a:cxn>
                <a:cxn ang="0">
                  <a:pos x="235" y="44"/>
                </a:cxn>
                <a:cxn ang="0">
                  <a:pos x="259" y="36"/>
                </a:cxn>
                <a:cxn ang="0">
                  <a:pos x="279" y="40"/>
                </a:cxn>
                <a:cxn ang="0">
                  <a:pos x="307" y="48"/>
                </a:cxn>
                <a:cxn ang="0">
                  <a:pos x="327" y="60"/>
                </a:cxn>
                <a:cxn ang="0">
                  <a:pos x="355" y="64"/>
                </a:cxn>
                <a:cxn ang="0">
                  <a:pos x="379" y="56"/>
                </a:cxn>
                <a:cxn ang="0">
                  <a:pos x="395" y="44"/>
                </a:cxn>
                <a:cxn ang="0">
                  <a:pos x="415" y="44"/>
                </a:cxn>
                <a:cxn ang="0">
                  <a:pos x="439" y="48"/>
                </a:cxn>
                <a:cxn ang="0">
                  <a:pos x="427" y="72"/>
                </a:cxn>
                <a:cxn ang="0">
                  <a:pos x="423" y="92"/>
                </a:cxn>
                <a:cxn ang="0">
                  <a:pos x="443" y="96"/>
                </a:cxn>
                <a:cxn ang="0">
                  <a:pos x="467" y="92"/>
                </a:cxn>
                <a:cxn ang="0">
                  <a:pos x="487" y="112"/>
                </a:cxn>
                <a:cxn ang="0">
                  <a:pos x="471" y="116"/>
                </a:cxn>
                <a:cxn ang="0">
                  <a:pos x="451" y="124"/>
                </a:cxn>
              </a:cxnLst>
              <a:rect l="0" t="0" r="r" b="b"/>
              <a:pathLst>
                <a:path w="487" h="227">
                  <a:moveTo>
                    <a:pt x="439" y="128"/>
                  </a:moveTo>
                  <a:lnTo>
                    <a:pt x="435" y="128"/>
                  </a:lnTo>
                  <a:lnTo>
                    <a:pt x="435" y="132"/>
                  </a:lnTo>
                  <a:lnTo>
                    <a:pt x="431" y="136"/>
                  </a:lnTo>
                  <a:lnTo>
                    <a:pt x="431" y="140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23" y="144"/>
                  </a:lnTo>
                  <a:lnTo>
                    <a:pt x="423" y="148"/>
                  </a:lnTo>
                  <a:lnTo>
                    <a:pt x="419" y="148"/>
                  </a:lnTo>
                  <a:lnTo>
                    <a:pt x="415" y="148"/>
                  </a:lnTo>
                  <a:lnTo>
                    <a:pt x="411" y="148"/>
                  </a:lnTo>
                  <a:lnTo>
                    <a:pt x="407" y="148"/>
                  </a:lnTo>
                  <a:lnTo>
                    <a:pt x="403" y="152"/>
                  </a:lnTo>
                  <a:lnTo>
                    <a:pt x="403" y="156"/>
                  </a:lnTo>
                  <a:lnTo>
                    <a:pt x="399" y="156"/>
                  </a:lnTo>
                  <a:lnTo>
                    <a:pt x="395" y="156"/>
                  </a:lnTo>
                  <a:lnTo>
                    <a:pt x="395" y="160"/>
                  </a:lnTo>
                  <a:lnTo>
                    <a:pt x="391" y="160"/>
                  </a:lnTo>
                  <a:lnTo>
                    <a:pt x="387" y="160"/>
                  </a:lnTo>
                  <a:lnTo>
                    <a:pt x="383" y="160"/>
                  </a:lnTo>
                  <a:lnTo>
                    <a:pt x="379" y="160"/>
                  </a:lnTo>
                  <a:lnTo>
                    <a:pt x="375" y="156"/>
                  </a:lnTo>
                  <a:lnTo>
                    <a:pt x="371" y="156"/>
                  </a:lnTo>
                  <a:lnTo>
                    <a:pt x="367" y="156"/>
                  </a:lnTo>
                  <a:lnTo>
                    <a:pt x="363" y="156"/>
                  </a:lnTo>
                  <a:lnTo>
                    <a:pt x="363" y="160"/>
                  </a:lnTo>
                  <a:lnTo>
                    <a:pt x="359" y="164"/>
                  </a:lnTo>
                  <a:lnTo>
                    <a:pt x="359" y="168"/>
                  </a:lnTo>
                  <a:lnTo>
                    <a:pt x="359" y="172"/>
                  </a:lnTo>
                  <a:lnTo>
                    <a:pt x="363" y="176"/>
                  </a:lnTo>
                  <a:lnTo>
                    <a:pt x="367" y="180"/>
                  </a:lnTo>
                  <a:lnTo>
                    <a:pt x="367" y="184"/>
                  </a:lnTo>
                  <a:lnTo>
                    <a:pt x="363" y="184"/>
                  </a:lnTo>
                  <a:lnTo>
                    <a:pt x="363" y="188"/>
                  </a:lnTo>
                  <a:lnTo>
                    <a:pt x="359" y="188"/>
                  </a:lnTo>
                  <a:lnTo>
                    <a:pt x="355" y="188"/>
                  </a:lnTo>
                  <a:lnTo>
                    <a:pt x="355" y="192"/>
                  </a:lnTo>
                  <a:lnTo>
                    <a:pt x="351" y="192"/>
                  </a:lnTo>
                  <a:lnTo>
                    <a:pt x="351" y="196"/>
                  </a:lnTo>
                  <a:lnTo>
                    <a:pt x="347" y="196"/>
                  </a:lnTo>
                  <a:lnTo>
                    <a:pt x="347" y="200"/>
                  </a:lnTo>
                  <a:lnTo>
                    <a:pt x="343" y="200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9" y="208"/>
                  </a:lnTo>
                  <a:lnTo>
                    <a:pt x="335" y="208"/>
                  </a:lnTo>
                  <a:lnTo>
                    <a:pt x="331" y="208"/>
                  </a:lnTo>
                  <a:lnTo>
                    <a:pt x="331" y="211"/>
                  </a:lnTo>
                  <a:lnTo>
                    <a:pt x="327" y="211"/>
                  </a:lnTo>
                  <a:lnTo>
                    <a:pt x="323" y="211"/>
                  </a:lnTo>
                  <a:lnTo>
                    <a:pt x="319" y="211"/>
                  </a:lnTo>
                  <a:lnTo>
                    <a:pt x="315" y="211"/>
                  </a:lnTo>
                  <a:lnTo>
                    <a:pt x="311" y="211"/>
                  </a:lnTo>
                  <a:lnTo>
                    <a:pt x="303" y="211"/>
                  </a:lnTo>
                  <a:lnTo>
                    <a:pt x="299" y="211"/>
                  </a:lnTo>
                  <a:lnTo>
                    <a:pt x="295" y="211"/>
                  </a:lnTo>
                  <a:lnTo>
                    <a:pt x="291" y="211"/>
                  </a:lnTo>
                  <a:lnTo>
                    <a:pt x="287" y="211"/>
                  </a:lnTo>
                  <a:lnTo>
                    <a:pt x="283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1" y="223"/>
                  </a:lnTo>
                  <a:lnTo>
                    <a:pt x="267" y="223"/>
                  </a:lnTo>
                  <a:lnTo>
                    <a:pt x="263" y="223"/>
                  </a:lnTo>
                  <a:lnTo>
                    <a:pt x="259" y="227"/>
                  </a:lnTo>
                  <a:lnTo>
                    <a:pt x="255" y="227"/>
                  </a:lnTo>
                  <a:lnTo>
                    <a:pt x="255" y="223"/>
                  </a:lnTo>
                  <a:lnTo>
                    <a:pt x="247" y="223"/>
                  </a:lnTo>
                  <a:lnTo>
                    <a:pt x="243" y="223"/>
                  </a:lnTo>
                  <a:lnTo>
                    <a:pt x="235" y="223"/>
                  </a:lnTo>
                  <a:lnTo>
                    <a:pt x="235" y="219"/>
                  </a:lnTo>
                  <a:lnTo>
                    <a:pt x="231" y="219"/>
                  </a:lnTo>
                  <a:lnTo>
                    <a:pt x="227" y="215"/>
                  </a:lnTo>
                  <a:lnTo>
                    <a:pt x="223" y="215"/>
                  </a:lnTo>
                  <a:lnTo>
                    <a:pt x="215" y="215"/>
                  </a:lnTo>
                  <a:lnTo>
                    <a:pt x="215" y="211"/>
                  </a:lnTo>
                  <a:lnTo>
                    <a:pt x="211" y="208"/>
                  </a:lnTo>
                  <a:lnTo>
                    <a:pt x="207" y="208"/>
                  </a:lnTo>
                  <a:lnTo>
                    <a:pt x="203" y="208"/>
                  </a:lnTo>
                  <a:lnTo>
                    <a:pt x="199" y="208"/>
                  </a:lnTo>
                  <a:lnTo>
                    <a:pt x="199" y="204"/>
                  </a:lnTo>
                  <a:lnTo>
                    <a:pt x="195" y="204"/>
                  </a:lnTo>
                  <a:lnTo>
                    <a:pt x="191" y="204"/>
                  </a:lnTo>
                  <a:lnTo>
                    <a:pt x="187" y="208"/>
                  </a:lnTo>
                  <a:lnTo>
                    <a:pt x="183" y="208"/>
                  </a:lnTo>
                  <a:lnTo>
                    <a:pt x="179" y="208"/>
                  </a:lnTo>
                  <a:lnTo>
                    <a:pt x="175" y="208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08"/>
                  </a:lnTo>
                  <a:lnTo>
                    <a:pt x="159" y="208"/>
                  </a:lnTo>
                  <a:lnTo>
                    <a:pt x="156" y="204"/>
                  </a:lnTo>
                  <a:lnTo>
                    <a:pt x="152" y="204"/>
                  </a:lnTo>
                  <a:lnTo>
                    <a:pt x="148" y="204"/>
                  </a:lnTo>
                  <a:lnTo>
                    <a:pt x="144" y="204"/>
                  </a:lnTo>
                  <a:lnTo>
                    <a:pt x="140" y="204"/>
                  </a:lnTo>
                  <a:lnTo>
                    <a:pt x="136" y="204"/>
                  </a:lnTo>
                  <a:lnTo>
                    <a:pt x="132" y="204"/>
                  </a:lnTo>
                  <a:lnTo>
                    <a:pt x="132" y="200"/>
                  </a:lnTo>
                  <a:lnTo>
                    <a:pt x="128" y="196"/>
                  </a:lnTo>
                  <a:lnTo>
                    <a:pt x="124" y="196"/>
                  </a:lnTo>
                  <a:lnTo>
                    <a:pt x="124" y="192"/>
                  </a:lnTo>
                  <a:lnTo>
                    <a:pt x="124" y="188"/>
                  </a:lnTo>
                  <a:lnTo>
                    <a:pt x="120" y="188"/>
                  </a:lnTo>
                  <a:lnTo>
                    <a:pt x="120" y="184"/>
                  </a:lnTo>
                  <a:lnTo>
                    <a:pt x="120" y="180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04" y="172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100" y="164"/>
                  </a:lnTo>
                  <a:lnTo>
                    <a:pt x="96" y="164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0" y="156"/>
                  </a:lnTo>
                  <a:lnTo>
                    <a:pt x="76" y="156"/>
                  </a:lnTo>
                  <a:lnTo>
                    <a:pt x="72" y="156"/>
                  </a:lnTo>
                  <a:lnTo>
                    <a:pt x="68" y="156"/>
                  </a:lnTo>
                  <a:lnTo>
                    <a:pt x="64" y="156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36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6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4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59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52" y="24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56" y="12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7" y="8"/>
                  </a:lnTo>
                  <a:lnTo>
                    <a:pt x="167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5" y="4"/>
                  </a:lnTo>
                  <a:lnTo>
                    <a:pt x="179" y="4"/>
                  </a:lnTo>
                  <a:lnTo>
                    <a:pt x="183" y="4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8"/>
                  </a:lnTo>
                  <a:lnTo>
                    <a:pt x="195" y="8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7" y="16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9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19" y="36"/>
                  </a:lnTo>
                  <a:lnTo>
                    <a:pt x="223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31" y="40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0"/>
                  </a:lnTo>
                  <a:lnTo>
                    <a:pt x="255" y="40"/>
                  </a:lnTo>
                  <a:lnTo>
                    <a:pt x="259" y="36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67" y="36"/>
                  </a:lnTo>
                  <a:lnTo>
                    <a:pt x="271" y="36"/>
                  </a:lnTo>
                  <a:lnTo>
                    <a:pt x="275" y="36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9" y="48"/>
                  </a:lnTo>
                  <a:lnTo>
                    <a:pt x="303" y="48"/>
                  </a:lnTo>
                  <a:lnTo>
                    <a:pt x="307" y="48"/>
                  </a:lnTo>
                  <a:lnTo>
                    <a:pt x="307" y="52"/>
                  </a:lnTo>
                  <a:lnTo>
                    <a:pt x="307" y="56"/>
                  </a:lnTo>
                  <a:lnTo>
                    <a:pt x="311" y="60"/>
                  </a:lnTo>
                  <a:lnTo>
                    <a:pt x="315" y="60"/>
                  </a:lnTo>
                  <a:lnTo>
                    <a:pt x="319" y="60"/>
                  </a:lnTo>
                  <a:lnTo>
                    <a:pt x="323" y="60"/>
                  </a:lnTo>
                  <a:lnTo>
                    <a:pt x="327" y="60"/>
                  </a:lnTo>
                  <a:lnTo>
                    <a:pt x="331" y="64"/>
                  </a:lnTo>
                  <a:lnTo>
                    <a:pt x="335" y="64"/>
                  </a:lnTo>
                  <a:lnTo>
                    <a:pt x="339" y="64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5" y="60"/>
                  </a:lnTo>
                  <a:lnTo>
                    <a:pt x="359" y="60"/>
                  </a:lnTo>
                  <a:lnTo>
                    <a:pt x="363" y="60"/>
                  </a:lnTo>
                  <a:lnTo>
                    <a:pt x="367" y="60"/>
                  </a:lnTo>
                  <a:lnTo>
                    <a:pt x="371" y="60"/>
                  </a:lnTo>
                  <a:lnTo>
                    <a:pt x="375" y="56"/>
                  </a:lnTo>
                  <a:lnTo>
                    <a:pt x="379" y="56"/>
                  </a:lnTo>
                  <a:lnTo>
                    <a:pt x="379" y="60"/>
                  </a:lnTo>
                  <a:lnTo>
                    <a:pt x="379" y="56"/>
                  </a:lnTo>
                  <a:lnTo>
                    <a:pt x="383" y="56"/>
                  </a:lnTo>
                  <a:lnTo>
                    <a:pt x="387" y="52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4"/>
                  </a:lnTo>
                  <a:lnTo>
                    <a:pt x="399" y="44"/>
                  </a:lnTo>
                  <a:lnTo>
                    <a:pt x="399" y="40"/>
                  </a:lnTo>
                  <a:lnTo>
                    <a:pt x="403" y="40"/>
                  </a:lnTo>
                  <a:lnTo>
                    <a:pt x="407" y="40"/>
                  </a:lnTo>
                  <a:lnTo>
                    <a:pt x="411" y="40"/>
                  </a:lnTo>
                  <a:lnTo>
                    <a:pt x="411" y="44"/>
                  </a:lnTo>
                  <a:lnTo>
                    <a:pt x="415" y="44"/>
                  </a:lnTo>
                  <a:lnTo>
                    <a:pt x="415" y="48"/>
                  </a:lnTo>
                  <a:lnTo>
                    <a:pt x="419" y="48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31" y="48"/>
                  </a:lnTo>
                  <a:lnTo>
                    <a:pt x="435" y="48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35" y="56"/>
                  </a:lnTo>
                  <a:lnTo>
                    <a:pt x="435" y="60"/>
                  </a:lnTo>
                  <a:lnTo>
                    <a:pt x="435" y="64"/>
                  </a:lnTo>
                  <a:lnTo>
                    <a:pt x="431" y="64"/>
                  </a:lnTo>
                  <a:lnTo>
                    <a:pt x="431" y="68"/>
                  </a:lnTo>
                  <a:lnTo>
                    <a:pt x="427" y="72"/>
                  </a:lnTo>
                  <a:lnTo>
                    <a:pt x="431" y="72"/>
                  </a:lnTo>
                  <a:lnTo>
                    <a:pt x="427" y="76"/>
                  </a:lnTo>
                  <a:lnTo>
                    <a:pt x="423" y="80"/>
                  </a:lnTo>
                  <a:lnTo>
                    <a:pt x="427" y="84"/>
                  </a:lnTo>
                  <a:lnTo>
                    <a:pt x="423" y="88"/>
                  </a:lnTo>
                  <a:lnTo>
                    <a:pt x="419" y="88"/>
                  </a:lnTo>
                  <a:lnTo>
                    <a:pt x="423" y="92"/>
                  </a:lnTo>
                  <a:lnTo>
                    <a:pt x="427" y="96"/>
                  </a:lnTo>
                  <a:lnTo>
                    <a:pt x="431" y="96"/>
                  </a:lnTo>
                  <a:lnTo>
                    <a:pt x="431" y="92"/>
                  </a:lnTo>
                  <a:lnTo>
                    <a:pt x="435" y="96"/>
                  </a:lnTo>
                  <a:lnTo>
                    <a:pt x="439" y="92"/>
                  </a:lnTo>
                  <a:lnTo>
                    <a:pt x="443" y="92"/>
                  </a:lnTo>
                  <a:lnTo>
                    <a:pt x="443" y="96"/>
                  </a:lnTo>
                  <a:lnTo>
                    <a:pt x="447" y="100"/>
                  </a:lnTo>
                  <a:lnTo>
                    <a:pt x="451" y="96"/>
                  </a:lnTo>
                  <a:lnTo>
                    <a:pt x="451" y="92"/>
                  </a:lnTo>
                  <a:lnTo>
                    <a:pt x="455" y="92"/>
                  </a:lnTo>
                  <a:lnTo>
                    <a:pt x="459" y="92"/>
                  </a:lnTo>
                  <a:lnTo>
                    <a:pt x="463" y="92"/>
                  </a:lnTo>
                  <a:lnTo>
                    <a:pt x="467" y="92"/>
                  </a:lnTo>
                  <a:lnTo>
                    <a:pt x="471" y="96"/>
                  </a:lnTo>
                  <a:lnTo>
                    <a:pt x="475" y="100"/>
                  </a:lnTo>
                  <a:lnTo>
                    <a:pt x="479" y="100"/>
                  </a:lnTo>
                  <a:lnTo>
                    <a:pt x="479" y="104"/>
                  </a:lnTo>
                  <a:lnTo>
                    <a:pt x="479" y="108"/>
                  </a:lnTo>
                  <a:lnTo>
                    <a:pt x="483" y="108"/>
                  </a:lnTo>
                  <a:lnTo>
                    <a:pt x="487" y="112"/>
                  </a:lnTo>
                  <a:lnTo>
                    <a:pt x="487" y="116"/>
                  </a:lnTo>
                  <a:lnTo>
                    <a:pt x="487" y="120"/>
                  </a:lnTo>
                  <a:lnTo>
                    <a:pt x="483" y="120"/>
                  </a:lnTo>
                  <a:lnTo>
                    <a:pt x="479" y="120"/>
                  </a:lnTo>
                  <a:lnTo>
                    <a:pt x="475" y="120"/>
                  </a:lnTo>
                  <a:lnTo>
                    <a:pt x="471" y="120"/>
                  </a:lnTo>
                  <a:lnTo>
                    <a:pt x="471" y="116"/>
                  </a:lnTo>
                  <a:lnTo>
                    <a:pt x="471" y="120"/>
                  </a:lnTo>
                  <a:lnTo>
                    <a:pt x="467" y="120"/>
                  </a:lnTo>
                  <a:lnTo>
                    <a:pt x="463" y="120"/>
                  </a:lnTo>
                  <a:lnTo>
                    <a:pt x="459" y="120"/>
                  </a:lnTo>
                  <a:lnTo>
                    <a:pt x="455" y="120"/>
                  </a:lnTo>
                  <a:lnTo>
                    <a:pt x="455" y="124"/>
                  </a:lnTo>
                  <a:lnTo>
                    <a:pt x="451" y="124"/>
                  </a:lnTo>
                  <a:lnTo>
                    <a:pt x="451" y="120"/>
                  </a:lnTo>
                  <a:lnTo>
                    <a:pt x="451" y="124"/>
                  </a:lnTo>
                  <a:lnTo>
                    <a:pt x="447" y="124"/>
                  </a:lnTo>
                  <a:lnTo>
                    <a:pt x="447" y="128"/>
                  </a:lnTo>
                  <a:lnTo>
                    <a:pt x="443" y="128"/>
                  </a:lnTo>
                  <a:lnTo>
                    <a:pt x="439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xmlns="" id="{25933DFB-769D-40B6-A07C-10A29EC9D3F8}"/>
                </a:ext>
              </a:extLst>
            </p:cNvPr>
            <p:cNvSpPr>
              <a:spLocks noEditPoints="1"/>
            </p:cNvSpPr>
            <p:nvPr>
              <p:custDataLst>
                <p:tags r:id="rId31"/>
              </p:custDataLst>
            </p:nvPr>
          </p:nvSpPr>
          <p:spPr bwMode="gray">
            <a:xfrm>
              <a:off x="6446418" y="3805481"/>
              <a:ext cx="200213" cy="520555"/>
            </a:xfrm>
            <a:custGeom>
              <a:avLst/>
              <a:gdLst/>
              <a:ahLst/>
              <a:cxnLst>
                <a:cxn ang="0">
                  <a:pos x="95" y="335"/>
                </a:cxn>
                <a:cxn ang="0">
                  <a:pos x="95" y="315"/>
                </a:cxn>
                <a:cxn ang="0">
                  <a:pos x="95" y="299"/>
                </a:cxn>
                <a:cxn ang="0">
                  <a:pos x="91" y="279"/>
                </a:cxn>
                <a:cxn ang="0">
                  <a:pos x="84" y="259"/>
                </a:cxn>
                <a:cxn ang="0">
                  <a:pos x="84" y="235"/>
                </a:cxn>
                <a:cxn ang="0">
                  <a:pos x="76" y="215"/>
                </a:cxn>
                <a:cxn ang="0">
                  <a:pos x="68" y="223"/>
                </a:cxn>
                <a:cxn ang="0">
                  <a:pos x="60" y="231"/>
                </a:cxn>
                <a:cxn ang="0">
                  <a:pos x="44" y="239"/>
                </a:cxn>
                <a:cxn ang="0">
                  <a:pos x="40" y="243"/>
                </a:cxn>
                <a:cxn ang="0">
                  <a:pos x="36" y="235"/>
                </a:cxn>
                <a:cxn ang="0">
                  <a:pos x="32" y="223"/>
                </a:cxn>
                <a:cxn ang="0">
                  <a:pos x="32" y="195"/>
                </a:cxn>
                <a:cxn ang="0">
                  <a:pos x="24" y="175"/>
                </a:cxn>
                <a:cxn ang="0">
                  <a:pos x="20" y="163"/>
                </a:cxn>
                <a:cxn ang="0">
                  <a:pos x="12" y="163"/>
                </a:cxn>
                <a:cxn ang="0">
                  <a:pos x="12" y="155"/>
                </a:cxn>
                <a:cxn ang="0">
                  <a:pos x="8" y="155"/>
                </a:cxn>
                <a:cxn ang="0">
                  <a:pos x="4" y="136"/>
                </a:cxn>
                <a:cxn ang="0">
                  <a:pos x="12" y="124"/>
                </a:cxn>
                <a:cxn ang="0">
                  <a:pos x="12" y="108"/>
                </a:cxn>
                <a:cxn ang="0">
                  <a:pos x="16" y="88"/>
                </a:cxn>
                <a:cxn ang="0">
                  <a:pos x="32" y="84"/>
                </a:cxn>
                <a:cxn ang="0">
                  <a:pos x="40" y="56"/>
                </a:cxn>
                <a:cxn ang="0">
                  <a:pos x="48" y="32"/>
                </a:cxn>
                <a:cxn ang="0">
                  <a:pos x="76" y="28"/>
                </a:cxn>
                <a:cxn ang="0">
                  <a:pos x="76" y="4"/>
                </a:cxn>
                <a:cxn ang="0">
                  <a:pos x="91" y="12"/>
                </a:cxn>
                <a:cxn ang="0">
                  <a:pos x="99" y="28"/>
                </a:cxn>
                <a:cxn ang="0">
                  <a:pos x="99" y="52"/>
                </a:cxn>
                <a:cxn ang="0">
                  <a:pos x="84" y="72"/>
                </a:cxn>
                <a:cxn ang="0">
                  <a:pos x="84" y="88"/>
                </a:cxn>
                <a:cxn ang="0">
                  <a:pos x="99" y="88"/>
                </a:cxn>
                <a:cxn ang="0">
                  <a:pos x="111" y="104"/>
                </a:cxn>
                <a:cxn ang="0">
                  <a:pos x="111" y="124"/>
                </a:cxn>
                <a:cxn ang="0">
                  <a:pos x="131" y="132"/>
                </a:cxn>
                <a:cxn ang="0">
                  <a:pos x="123" y="148"/>
                </a:cxn>
                <a:cxn ang="0">
                  <a:pos x="111" y="159"/>
                </a:cxn>
                <a:cxn ang="0">
                  <a:pos x="95" y="167"/>
                </a:cxn>
                <a:cxn ang="0">
                  <a:pos x="84" y="187"/>
                </a:cxn>
                <a:cxn ang="0">
                  <a:pos x="84" y="199"/>
                </a:cxn>
                <a:cxn ang="0">
                  <a:pos x="95" y="219"/>
                </a:cxn>
                <a:cxn ang="0">
                  <a:pos x="95" y="243"/>
                </a:cxn>
                <a:cxn ang="0">
                  <a:pos x="95" y="267"/>
                </a:cxn>
                <a:cxn ang="0">
                  <a:pos x="107" y="287"/>
                </a:cxn>
                <a:cxn ang="0">
                  <a:pos x="111" y="315"/>
                </a:cxn>
                <a:cxn ang="0">
                  <a:pos x="24" y="179"/>
                </a:cxn>
                <a:cxn ang="0">
                  <a:pos x="24" y="175"/>
                </a:cxn>
                <a:cxn ang="0">
                  <a:pos x="28" y="175"/>
                </a:cxn>
                <a:cxn ang="0">
                  <a:pos x="80" y="235"/>
                </a:cxn>
                <a:cxn ang="0">
                  <a:pos x="88" y="307"/>
                </a:cxn>
                <a:cxn ang="0">
                  <a:pos x="24" y="183"/>
                </a:cxn>
                <a:cxn ang="0">
                  <a:pos x="91" y="307"/>
                </a:cxn>
                <a:cxn ang="0">
                  <a:pos x="91" y="315"/>
                </a:cxn>
                <a:cxn ang="0">
                  <a:pos x="91" y="323"/>
                </a:cxn>
              </a:cxnLst>
              <a:rect l="0" t="0" r="r" b="b"/>
              <a:pathLst>
                <a:path w="135" h="351">
                  <a:moveTo>
                    <a:pt x="99" y="335"/>
                  </a:moveTo>
                  <a:lnTo>
                    <a:pt x="99" y="339"/>
                  </a:lnTo>
                  <a:lnTo>
                    <a:pt x="99" y="343"/>
                  </a:lnTo>
                  <a:lnTo>
                    <a:pt x="95" y="347"/>
                  </a:lnTo>
                  <a:lnTo>
                    <a:pt x="95" y="351"/>
                  </a:lnTo>
                  <a:lnTo>
                    <a:pt x="95" y="347"/>
                  </a:lnTo>
                  <a:lnTo>
                    <a:pt x="95" y="343"/>
                  </a:lnTo>
                  <a:lnTo>
                    <a:pt x="95" y="335"/>
                  </a:lnTo>
                  <a:lnTo>
                    <a:pt x="99" y="331"/>
                  </a:lnTo>
                  <a:lnTo>
                    <a:pt x="99" y="327"/>
                  </a:lnTo>
                  <a:lnTo>
                    <a:pt x="99" y="323"/>
                  </a:lnTo>
                  <a:lnTo>
                    <a:pt x="99" y="319"/>
                  </a:lnTo>
                  <a:lnTo>
                    <a:pt x="99" y="315"/>
                  </a:lnTo>
                  <a:lnTo>
                    <a:pt x="99" y="319"/>
                  </a:lnTo>
                  <a:lnTo>
                    <a:pt x="95" y="319"/>
                  </a:lnTo>
                  <a:lnTo>
                    <a:pt x="95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5" y="303"/>
                  </a:lnTo>
                  <a:lnTo>
                    <a:pt x="95" y="299"/>
                  </a:lnTo>
                  <a:lnTo>
                    <a:pt x="95" y="295"/>
                  </a:lnTo>
                  <a:lnTo>
                    <a:pt x="95" y="291"/>
                  </a:lnTo>
                  <a:lnTo>
                    <a:pt x="95" y="287"/>
                  </a:lnTo>
                  <a:lnTo>
                    <a:pt x="95" y="283"/>
                  </a:lnTo>
                  <a:lnTo>
                    <a:pt x="91" y="283"/>
                  </a:lnTo>
                  <a:lnTo>
                    <a:pt x="91" y="279"/>
                  </a:lnTo>
                  <a:lnTo>
                    <a:pt x="91" y="275"/>
                  </a:lnTo>
                  <a:lnTo>
                    <a:pt x="91" y="279"/>
                  </a:lnTo>
                  <a:lnTo>
                    <a:pt x="91" y="283"/>
                  </a:lnTo>
                  <a:lnTo>
                    <a:pt x="88" y="283"/>
                  </a:lnTo>
                  <a:lnTo>
                    <a:pt x="88" y="279"/>
                  </a:lnTo>
                  <a:lnTo>
                    <a:pt x="88" y="275"/>
                  </a:lnTo>
                  <a:lnTo>
                    <a:pt x="88" y="271"/>
                  </a:lnTo>
                  <a:lnTo>
                    <a:pt x="88" y="267"/>
                  </a:ln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1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80" y="235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4" y="227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3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72" y="211"/>
                  </a:lnTo>
                  <a:lnTo>
                    <a:pt x="72" y="215"/>
                  </a:lnTo>
                  <a:lnTo>
                    <a:pt x="72" y="219"/>
                  </a:lnTo>
                  <a:lnTo>
                    <a:pt x="68" y="219"/>
                  </a:lnTo>
                  <a:lnTo>
                    <a:pt x="68" y="223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27"/>
                  </a:lnTo>
                  <a:lnTo>
                    <a:pt x="64" y="227"/>
                  </a:lnTo>
                  <a:lnTo>
                    <a:pt x="60" y="227"/>
                  </a:lnTo>
                  <a:lnTo>
                    <a:pt x="60" y="223"/>
                  </a:lnTo>
                  <a:lnTo>
                    <a:pt x="60" y="227"/>
                  </a:lnTo>
                  <a:lnTo>
                    <a:pt x="60" y="231"/>
                  </a:lnTo>
                  <a:lnTo>
                    <a:pt x="56" y="231"/>
                  </a:lnTo>
                  <a:lnTo>
                    <a:pt x="60" y="231"/>
                  </a:lnTo>
                  <a:lnTo>
                    <a:pt x="56" y="235"/>
                  </a:lnTo>
                  <a:lnTo>
                    <a:pt x="52" y="235"/>
                  </a:lnTo>
                  <a:lnTo>
                    <a:pt x="52" y="239"/>
                  </a:lnTo>
                  <a:lnTo>
                    <a:pt x="48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4" y="239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40" y="235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40" y="235"/>
                  </a:lnTo>
                  <a:lnTo>
                    <a:pt x="36" y="235"/>
                  </a:lnTo>
                  <a:lnTo>
                    <a:pt x="36" y="239"/>
                  </a:lnTo>
                  <a:lnTo>
                    <a:pt x="36" y="235"/>
                  </a:lnTo>
                  <a:lnTo>
                    <a:pt x="36" y="231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6" y="207"/>
                  </a:lnTo>
                  <a:lnTo>
                    <a:pt x="36" y="203"/>
                  </a:lnTo>
                  <a:lnTo>
                    <a:pt x="32" y="199"/>
                  </a:lnTo>
                  <a:lnTo>
                    <a:pt x="36" y="199"/>
                  </a:lnTo>
                  <a:lnTo>
                    <a:pt x="32" y="195"/>
                  </a:lnTo>
                  <a:lnTo>
                    <a:pt x="32" y="191"/>
                  </a:lnTo>
                  <a:lnTo>
                    <a:pt x="32" y="187"/>
                  </a:lnTo>
                  <a:lnTo>
                    <a:pt x="28" y="183"/>
                  </a:lnTo>
                  <a:lnTo>
                    <a:pt x="28" y="187"/>
                  </a:lnTo>
                  <a:lnTo>
                    <a:pt x="28" y="183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5"/>
                  </a:lnTo>
                  <a:lnTo>
                    <a:pt x="28" y="175"/>
                  </a:lnTo>
                  <a:lnTo>
                    <a:pt x="24" y="171"/>
                  </a:lnTo>
                  <a:lnTo>
                    <a:pt x="24" y="167"/>
                  </a:lnTo>
                  <a:lnTo>
                    <a:pt x="20" y="167"/>
                  </a:lnTo>
                  <a:lnTo>
                    <a:pt x="24" y="163"/>
                  </a:lnTo>
                  <a:lnTo>
                    <a:pt x="24" y="167"/>
                  </a:lnTo>
                  <a:lnTo>
                    <a:pt x="24" y="163"/>
                  </a:lnTo>
                  <a:lnTo>
                    <a:pt x="20" y="163"/>
                  </a:lnTo>
                  <a:lnTo>
                    <a:pt x="20" y="167"/>
                  </a:lnTo>
                  <a:lnTo>
                    <a:pt x="20" y="163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6" y="163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2" y="167"/>
                  </a:lnTo>
                  <a:lnTo>
                    <a:pt x="16" y="167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2"/>
                  </a:lnTo>
                  <a:lnTo>
                    <a:pt x="12" y="155"/>
                  </a:lnTo>
                  <a:lnTo>
                    <a:pt x="12" y="159"/>
                  </a:lnTo>
                  <a:lnTo>
                    <a:pt x="8" y="159"/>
                  </a:lnTo>
                  <a:lnTo>
                    <a:pt x="12" y="155"/>
                  </a:lnTo>
                  <a:lnTo>
                    <a:pt x="8" y="155"/>
                  </a:lnTo>
                  <a:lnTo>
                    <a:pt x="8" y="152"/>
                  </a:lnTo>
                  <a:lnTo>
                    <a:pt x="8" y="155"/>
                  </a:lnTo>
                  <a:lnTo>
                    <a:pt x="8" y="159"/>
                  </a:lnTo>
                  <a:lnTo>
                    <a:pt x="8" y="155"/>
                  </a:lnTo>
                  <a:lnTo>
                    <a:pt x="4" y="155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6" y="104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2" y="24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8"/>
                  </a:lnTo>
                  <a:lnTo>
                    <a:pt x="99" y="32"/>
                  </a:lnTo>
                  <a:lnTo>
                    <a:pt x="99" y="36"/>
                  </a:lnTo>
                  <a:lnTo>
                    <a:pt x="99" y="40"/>
                  </a:lnTo>
                  <a:lnTo>
                    <a:pt x="99" y="44"/>
                  </a:lnTo>
                  <a:lnTo>
                    <a:pt x="99" y="48"/>
                  </a:lnTo>
                  <a:lnTo>
                    <a:pt x="95" y="48"/>
                  </a:lnTo>
                  <a:lnTo>
                    <a:pt x="95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5" y="56"/>
                  </a:lnTo>
                  <a:lnTo>
                    <a:pt x="91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4" y="64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1" y="84"/>
                  </a:lnTo>
                  <a:lnTo>
                    <a:pt x="95" y="84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95" y="88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7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4"/>
                  </a:lnTo>
                  <a:lnTo>
                    <a:pt x="107" y="124"/>
                  </a:lnTo>
                  <a:lnTo>
                    <a:pt x="111" y="124"/>
                  </a:lnTo>
                  <a:lnTo>
                    <a:pt x="115" y="124"/>
                  </a:lnTo>
                  <a:lnTo>
                    <a:pt x="115" y="128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5" y="136"/>
                  </a:lnTo>
                  <a:lnTo>
                    <a:pt x="131" y="136"/>
                  </a:lnTo>
                  <a:lnTo>
                    <a:pt x="131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23" y="148"/>
                  </a:lnTo>
                  <a:lnTo>
                    <a:pt x="127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19" y="155"/>
                  </a:lnTo>
                  <a:lnTo>
                    <a:pt x="115" y="155"/>
                  </a:lnTo>
                  <a:lnTo>
                    <a:pt x="111" y="155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7" y="163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103" y="163"/>
                  </a:lnTo>
                  <a:lnTo>
                    <a:pt x="103" y="167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1" y="167"/>
                  </a:lnTo>
                  <a:lnTo>
                    <a:pt x="88" y="167"/>
                  </a:lnTo>
                  <a:lnTo>
                    <a:pt x="88" y="171"/>
                  </a:lnTo>
                  <a:lnTo>
                    <a:pt x="84" y="171"/>
                  </a:lnTo>
                  <a:lnTo>
                    <a:pt x="84" y="175"/>
                  </a:lnTo>
                  <a:lnTo>
                    <a:pt x="84" y="179"/>
                  </a:lnTo>
                  <a:lnTo>
                    <a:pt x="84" y="183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80" y="191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0" y="195"/>
                  </a:lnTo>
                  <a:lnTo>
                    <a:pt x="84" y="199"/>
                  </a:lnTo>
                  <a:lnTo>
                    <a:pt x="84" y="203"/>
                  </a:lnTo>
                  <a:lnTo>
                    <a:pt x="84" y="207"/>
                  </a:lnTo>
                  <a:lnTo>
                    <a:pt x="88" y="207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91" y="215"/>
                  </a:lnTo>
                  <a:lnTo>
                    <a:pt x="91" y="219"/>
                  </a:lnTo>
                  <a:lnTo>
                    <a:pt x="95" y="219"/>
                  </a:lnTo>
                  <a:lnTo>
                    <a:pt x="95" y="223"/>
                  </a:lnTo>
                  <a:lnTo>
                    <a:pt x="95" y="227"/>
                  </a:lnTo>
                  <a:lnTo>
                    <a:pt x="95" y="231"/>
                  </a:lnTo>
                  <a:lnTo>
                    <a:pt x="99" y="231"/>
                  </a:lnTo>
                  <a:lnTo>
                    <a:pt x="99" y="235"/>
                  </a:lnTo>
                  <a:lnTo>
                    <a:pt x="95" y="235"/>
                  </a:lnTo>
                  <a:lnTo>
                    <a:pt x="95" y="239"/>
                  </a:lnTo>
                  <a:lnTo>
                    <a:pt x="95" y="243"/>
                  </a:lnTo>
                  <a:lnTo>
                    <a:pt x="95" y="247"/>
                  </a:lnTo>
                  <a:lnTo>
                    <a:pt x="95" y="251"/>
                  </a:lnTo>
                  <a:lnTo>
                    <a:pt x="91" y="251"/>
                  </a:lnTo>
                  <a:lnTo>
                    <a:pt x="91" y="255"/>
                  </a:lnTo>
                  <a:lnTo>
                    <a:pt x="91" y="259"/>
                  </a:lnTo>
                  <a:lnTo>
                    <a:pt x="91" y="263"/>
                  </a:lnTo>
                  <a:lnTo>
                    <a:pt x="95" y="263"/>
                  </a:lnTo>
                  <a:lnTo>
                    <a:pt x="95" y="267"/>
                  </a:lnTo>
                  <a:lnTo>
                    <a:pt x="95" y="271"/>
                  </a:lnTo>
                  <a:lnTo>
                    <a:pt x="99" y="271"/>
                  </a:lnTo>
                  <a:lnTo>
                    <a:pt x="99" y="275"/>
                  </a:lnTo>
                  <a:lnTo>
                    <a:pt x="103" y="275"/>
                  </a:lnTo>
                  <a:lnTo>
                    <a:pt x="103" y="279"/>
                  </a:lnTo>
                  <a:lnTo>
                    <a:pt x="103" y="283"/>
                  </a:lnTo>
                  <a:lnTo>
                    <a:pt x="103" y="287"/>
                  </a:lnTo>
                  <a:lnTo>
                    <a:pt x="107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107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11" y="307"/>
                  </a:lnTo>
                  <a:lnTo>
                    <a:pt x="111" y="311"/>
                  </a:lnTo>
                  <a:lnTo>
                    <a:pt x="111" y="315"/>
                  </a:lnTo>
                  <a:lnTo>
                    <a:pt x="111" y="319"/>
                  </a:lnTo>
                  <a:lnTo>
                    <a:pt x="107" y="319"/>
                  </a:lnTo>
                  <a:lnTo>
                    <a:pt x="107" y="323"/>
                  </a:lnTo>
                  <a:lnTo>
                    <a:pt x="107" y="327"/>
                  </a:lnTo>
                  <a:lnTo>
                    <a:pt x="103" y="331"/>
                  </a:lnTo>
                  <a:lnTo>
                    <a:pt x="99" y="335"/>
                  </a:lnTo>
                  <a:close/>
                  <a:moveTo>
                    <a:pt x="24" y="175"/>
                  </a:moveTo>
                  <a:lnTo>
                    <a:pt x="24" y="179"/>
                  </a:lnTo>
                  <a:lnTo>
                    <a:pt x="28" y="179"/>
                  </a:lnTo>
                  <a:lnTo>
                    <a:pt x="28" y="183"/>
                  </a:lnTo>
                  <a:lnTo>
                    <a:pt x="24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24" y="175"/>
                  </a:lnTo>
                  <a:lnTo>
                    <a:pt x="24" y="179"/>
                  </a:lnTo>
                  <a:lnTo>
                    <a:pt x="24" y="175"/>
                  </a:lnTo>
                  <a:close/>
                  <a:moveTo>
                    <a:pt x="8" y="155"/>
                  </a:moveTo>
                  <a:lnTo>
                    <a:pt x="8" y="159"/>
                  </a:lnTo>
                  <a:lnTo>
                    <a:pt x="8" y="155"/>
                  </a:lnTo>
                  <a:close/>
                  <a:moveTo>
                    <a:pt x="20" y="163"/>
                  </a:moveTo>
                  <a:lnTo>
                    <a:pt x="20" y="167"/>
                  </a:lnTo>
                  <a:lnTo>
                    <a:pt x="16" y="163"/>
                  </a:lnTo>
                  <a:lnTo>
                    <a:pt x="20" y="163"/>
                  </a:lnTo>
                  <a:close/>
                  <a:moveTo>
                    <a:pt x="28" y="175"/>
                  </a:moveTo>
                  <a:lnTo>
                    <a:pt x="24" y="175"/>
                  </a:lnTo>
                  <a:lnTo>
                    <a:pt x="20" y="175"/>
                  </a:lnTo>
                  <a:lnTo>
                    <a:pt x="20" y="171"/>
                  </a:lnTo>
                  <a:lnTo>
                    <a:pt x="24" y="171"/>
                  </a:lnTo>
                  <a:lnTo>
                    <a:pt x="28" y="175"/>
                  </a:lnTo>
                  <a:close/>
                  <a:moveTo>
                    <a:pt x="80" y="227"/>
                  </a:moveTo>
                  <a:lnTo>
                    <a:pt x="80" y="231"/>
                  </a:lnTo>
                  <a:lnTo>
                    <a:pt x="80" y="235"/>
                  </a:lnTo>
                  <a:lnTo>
                    <a:pt x="80" y="231"/>
                  </a:lnTo>
                  <a:lnTo>
                    <a:pt x="80" y="227"/>
                  </a:lnTo>
                  <a:close/>
                  <a:moveTo>
                    <a:pt x="36" y="235"/>
                  </a:moveTo>
                  <a:lnTo>
                    <a:pt x="36" y="239"/>
                  </a:lnTo>
                  <a:lnTo>
                    <a:pt x="32" y="239"/>
                  </a:lnTo>
                  <a:lnTo>
                    <a:pt x="36" y="235"/>
                  </a:lnTo>
                  <a:close/>
                  <a:moveTo>
                    <a:pt x="88" y="311"/>
                  </a:moveTo>
                  <a:lnTo>
                    <a:pt x="88" y="307"/>
                  </a:lnTo>
                  <a:lnTo>
                    <a:pt x="88" y="311"/>
                  </a:lnTo>
                  <a:close/>
                  <a:moveTo>
                    <a:pt x="91" y="351"/>
                  </a:moveTo>
                  <a:lnTo>
                    <a:pt x="88" y="351"/>
                  </a:lnTo>
                  <a:lnTo>
                    <a:pt x="91" y="351"/>
                  </a:lnTo>
                  <a:lnTo>
                    <a:pt x="91" y="347"/>
                  </a:lnTo>
                  <a:lnTo>
                    <a:pt x="91" y="351"/>
                  </a:lnTo>
                  <a:close/>
                  <a:moveTo>
                    <a:pt x="20" y="183"/>
                  </a:moveTo>
                  <a:lnTo>
                    <a:pt x="24" y="183"/>
                  </a:lnTo>
                  <a:lnTo>
                    <a:pt x="24" y="187"/>
                  </a:lnTo>
                  <a:lnTo>
                    <a:pt x="20" y="187"/>
                  </a:lnTo>
                  <a:lnTo>
                    <a:pt x="20" y="183"/>
                  </a:lnTo>
                  <a:close/>
                  <a:moveTo>
                    <a:pt x="91" y="307"/>
                  </a:moveTo>
                  <a:lnTo>
                    <a:pt x="91" y="303"/>
                  </a:lnTo>
                  <a:lnTo>
                    <a:pt x="91" y="299"/>
                  </a:lnTo>
                  <a:lnTo>
                    <a:pt x="95" y="303"/>
                  </a:lnTo>
                  <a:lnTo>
                    <a:pt x="91" y="307"/>
                  </a:lnTo>
                  <a:close/>
                  <a:moveTo>
                    <a:pt x="88" y="307"/>
                  </a:moveTo>
                  <a:lnTo>
                    <a:pt x="88" y="303"/>
                  </a:lnTo>
                  <a:lnTo>
                    <a:pt x="88" y="307"/>
                  </a:lnTo>
                  <a:close/>
                  <a:moveTo>
                    <a:pt x="95" y="311"/>
                  </a:moveTo>
                  <a:lnTo>
                    <a:pt x="95" y="315"/>
                  </a:lnTo>
                  <a:lnTo>
                    <a:pt x="95" y="311"/>
                  </a:lnTo>
                  <a:close/>
                  <a:moveTo>
                    <a:pt x="91" y="319"/>
                  </a:moveTo>
                  <a:lnTo>
                    <a:pt x="91" y="315"/>
                  </a:lnTo>
                  <a:lnTo>
                    <a:pt x="95" y="315"/>
                  </a:lnTo>
                  <a:lnTo>
                    <a:pt x="95" y="319"/>
                  </a:lnTo>
                  <a:lnTo>
                    <a:pt x="91" y="319"/>
                  </a:lnTo>
                  <a:close/>
                  <a:moveTo>
                    <a:pt x="91" y="323"/>
                  </a:moveTo>
                  <a:lnTo>
                    <a:pt x="91" y="319"/>
                  </a:lnTo>
                  <a:lnTo>
                    <a:pt x="91" y="315"/>
                  </a:lnTo>
                  <a:lnTo>
                    <a:pt x="91" y="319"/>
                  </a:lnTo>
                  <a:lnTo>
                    <a:pt x="91" y="323"/>
                  </a:lnTo>
                  <a:close/>
                  <a:moveTo>
                    <a:pt x="91" y="335"/>
                  </a:moveTo>
                  <a:lnTo>
                    <a:pt x="88" y="331"/>
                  </a:lnTo>
                  <a:lnTo>
                    <a:pt x="88" y="335"/>
                  </a:lnTo>
                  <a:lnTo>
                    <a:pt x="88" y="331"/>
                  </a:lnTo>
                  <a:lnTo>
                    <a:pt x="91" y="331"/>
                  </a:lnTo>
                  <a:lnTo>
                    <a:pt x="91" y="33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xmlns="" id="{4E67FD9F-70FB-46E6-ABEE-BC35DD21927F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6173534" y="3752091"/>
              <a:ext cx="183900" cy="118645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69" name="Freeform 33">
              <a:extLst>
                <a:ext uri="{FF2B5EF4-FFF2-40B4-BE49-F238E27FC236}">
                  <a16:creationId xmlns:a16="http://schemas.microsoft.com/office/drawing/2014/main" xmlns="" id="{3C1F3C41-4E36-43E8-B223-2D70DB50A663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7167187" y="3373910"/>
              <a:ext cx="142374" cy="158687"/>
            </a:xfrm>
            <a:custGeom>
              <a:avLst/>
              <a:gdLst/>
              <a:ahLst/>
              <a:cxnLst>
                <a:cxn ang="0">
                  <a:pos x="48" y="79"/>
                </a:cxn>
                <a:cxn ang="0">
                  <a:pos x="56" y="83"/>
                </a:cxn>
                <a:cxn ang="0">
                  <a:pos x="60" y="87"/>
                </a:cxn>
                <a:cxn ang="0">
                  <a:pos x="60" y="91"/>
                </a:cxn>
                <a:cxn ang="0">
                  <a:pos x="60" y="95"/>
                </a:cxn>
                <a:cxn ang="0">
                  <a:pos x="56" y="95"/>
                </a:cxn>
                <a:cxn ang="0">
                  <a:pos x="44" y="95"/>
                </a:cxn>
                <a:cxn ang="0">
                  <a:pos x="40" y="99"/>
                </a:cxn>
                <a:cxn ang="0">
                  <a:pos x="36" y="107"/>
                </a:cxn>
                <a:cxn ang="0">
                  <a:pos x="28" y="103"/>
                </a:cxn>
                <a:cxn ang="0">
                  <a:pos x="24" y="107"/>
                </a:cxn>
                <a:cxn ang="0">
                  <a:pos x="20" y="103"/>
                </a:cxn>
                <a:cxn ang="0">
                  <a:pos x="20" y="103"/>
                </a:cxn>
                <a:cxn ang="0">
                  <a:pos x="16" y="107"/>
                </a:cxn>
                <a:cxn ang="0">
                  <a:pos x="16" y="103"/>
                </a:cxn>
                <a:cxn ang="0">
                  <a:pos x="12" y="103"/>
                </a:cxn>
                <a:cxn ang="0">
                  <a:pos x="12" y="103"/>
                </a:cxn>
                <a:cxn ang="0">
                  <a:pos x="12" y="99"/>
                </a:cxn>
                <a:cxn ang="0">
                  <a:pos x="4" y="99"/>
                </a:cxn>
                <a:cxn ang="0">
                  <a:pos x="8" y="91"/>
                </a:cxn>
                <a:cxn ang="0">
                  <a:pos x="16" y="87"/>
                </a:cxn>
                <a:cxn ang="0">
                  <a:pos x="20" y="91"/>
                </a:cxn>
                <a:cxn ang="0">
                  <a:pos x="12" y="87"/>
                </a:cxn>
                <a:cxn ang="0">
                  <a:pos x="12" y="79"/>
                </a:cxn>
                <a:cxn ang="0">
                  <a:pos x="16" y="75"/>
                </a:cxn>
                <a:cxn ang="0">
                  <a:pos x="16" y="71"/>
                </a:cxn>
                <a:cxn ang="0">
                  <a:pos x="4" y="67"/>
                </a:cxn>
                <a:cxn ang="0">
                  <a:pos x="4" y="63"/>
                </a:cxn>
                <a:cxn ang="0">
                  <a:pos x="0" y="59"/>
                </a:cxn>
                <a:cxn ang="0">
                  <a:pos x="4" y="55"/>
                </a:cxn>
                <a:cxn ang="0">
                  <a:pos x="12" y="47"/>
                </a:cxn>
                <a:cxn ang="0">
                  <a:pos x="20" y="47"/>
                </a:cxn>
                <a:cxn ang="0">
                  <a:pos x="28" y="35"/>
                </a:cxn>
                <a:cxn ang="0">
                  <a:pos x="32" y="31"/>
                </a:cxn>
                <a:cxn ang="0">
                  <a:pos x="36" y="27"/>
                </a:cxn>
                <a:cxn ang="0">
                  <a:pos x="40" y="27"/>
                </a:cxn>
                <a:cxn ang="0">
                  <a:pos x="52" y="31"/>
                </a:cxn>
                <a:cxn ang="0">
                  <a:pos x="56" y="31"/>
                </a:cxn>
                <a:cxn ang="0">
                  <a:pos x="60" y="27"/>
                </a:cxn>
                <a:cxn ang="0">
                  <a:pos x="60" y="19"/>
                </a:cxn>
                <a:cxn ang="0">
                  <a:pos x="64" y="19"/>
                </a:cxn>
                <a:cxn ang="0">
                  <a:pos x="72" y="19"/>
                </a:cxn>
                <a:cxn ang="0">
                  <a:pos x="76" y="11"/>
                </a:cxn>
                <a:cxn ang="0">
                  <a:pos x="80" y="8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6" y="11"/>
                </a:cxn>
                <a:cxn ang="0">
                  <a:pos x="96" y="15"/>
                </a:cxn>
                <a:cxn ang="0">
                  <a:pos x="88" y="19"/>
                </a:cxn>
                <a:cxn ang="0">
                  <a:pos x="80" y="27"/>
                </a:cxn>
                <a:cxn ang="0">
                  <a:pos x="80" y="31"/>
                </a:cxn>
                <a:cxn ang="0">
                  <a:pos x="80" y="39"/>
                </a:cxn>
                <a:cxn ang="0">
                  <a:pos x="80" y="43"/>
                </a:cxn>
                <a:cxn ang="0">
                  <a:pos x="72" y="51"/>
                </a:cxn>
                <a:cxn ang="0">
                  <a:pos x="68" y="51"/>
                </a:cxn>
                <a:cxn ang="0">
                  <a:pos x="56" y="59"/>
                </a:cxn>
                <a:cxn ang="0">
                  <a:pos x="52" y="63"/>
                </a:cxn>
                <a:cxn ang="0">
                  <a:pos x="48" y="71"/>
                </a:cxn>
                <a:cxn ang="0">
                  <a:pos x="48" y="75"/>
                </a:cxn>
              </a:cxnLst>
              <a:rect l="0" t="0" r="r" b="b"/>
              <a:pathLst>
                <a:path w="96" h="107">
                  <a:moveTo>
                    <a:pt x="48" y="75"/>
                  </a:moveTo>
                  <a:lnTo>
                    <a:pt x="48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2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8" y="39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4" y="27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60" y="31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6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84" y="19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0" y="23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4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48" y="63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70" name="Freeform 34">
              <a:extLst>
                <a:ext uri="{FF2B5EF4-FFF2-40B4-BE49-F238E27FC236}">
                  <a16:creationId xmlns:a16="http://schemas.microsoft.com/office/drawing/2014/main" xmlns="" id="{9A9AF753-BB85-4367-814C-9E991F6E10E3}"/>
                </a:ext>
              </a:extLst>
            </p:cNvPr>
            <p:cNvSpPr>
              <a:spLocks noEditPoints="1"/>
            </p:cNvSpPr>
            <p:nvPr>
              <p:custDataLst>
                <p:tags r:id="rId34"/>
              </p:custDataLst>
            </p:nvPr>
          </p:nvSpPr>
          <p:spPr bwMode="gray">
            <a:xfrm>
              <a:off x="5540266" y="3870736"/>
              <a:ext cx="177968" cy="27140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71" name="Freeform 35">
              <a:extLst>
                <a:ext uri="{FF2B5EF4-FFF2-40B4-BE49-F238E27FC236}">
                  <a16:creationId xmlns:a16="http://schemas.microsoft.com/office/drawing/2014/main" xmlns="" id="{794001FC-E9E2-45B9-92BE-FF3088D002C4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5741963" y="3556326"/>
              <a:ext cx="378181" cy="385597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72" name="Freeform 36">
              <a:extLst>
                <a:ext uri="{FF2B5EF4-FFF2-40B4-BE49-F238E27FC236}">
                  <a16:creationId xmlns:a16="http://schemas.microsoft.com/office/drawing/2014/main" xmlns="" id="{B396DA5B-3699-4356-9D16-A39EB423670C}"/>
                </a:ext>
              </a:extLst>
            </p:cNvPr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>
              <a:off x="6883922" y="4130273"/>
              <a:ext cx="23729" cy="17797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16" y="8"/>
                  </a:move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73" name="Freeform 37">
              <a:extLst>
                <a:ext uri="{FF2B5EF4-FFF2-40B4-BE49-F238E27FC236}">
                  <a16:creationId xmlns:a16="http://schemas.microsoft.com/office/drawing/2014/main" xmlns="" id="{B9B2E9D6-CC1E-48E6-971E-B28E66CBEEBB}"/>
                </a:ext>
              </a:extLst>
            </p:cNvPr>
            <p:cNvSpPr>
              <a:spLocks noEditPoints="1"/>
            </p:cNvSpPr>
            <p:nvPr>
              <p:custDataLst>
                <p:tags r:id="rId37"/>
              </p:custDataLst>
            </p:nvPr>
          </p:nvSpPr>
          <p:spPr bwMode="gray">
            <a:xfrm>
              <a:off x="7002567" y="4076882"/>
              <a:ext cx="212078" cy="379664"/>
            </a:xfrm>
            <a:custGeom>
              <a:avLst/>
              <a:gdLst/>
              <a:ahLst/>
              <a:cxnLst>
                <a:cxn ang="0">
                  <a:pos x="83" y="160"/>
                </a:cxn>
                <a:cxn ang="0">
                  <a:pos x="4" y="200"/>
                </a:cxn>
                <a:cxn ang="0">
                  <a:pos x="52" y="236"/>
                </a:cxn>
                <a:cxn ang="0">
                  <a:pos x="40" y="56"/>
                </a:cxn>
                <a:cxn ang="0">
                  <a:pos x="52" y="32"/>
                </a:cxn>
                <a:cxn ang="0">
                  <a:pos x="64" y="8"/>
                </a:cxn>
                <a:cxn ang="0">
                  <a:pos x="79" y="28"/>
                </a:cxn>
                <a:cxn ang="0">
                  <a:pos x="75" y="52"/>
                </a:cxn>
                <a:cxn ang="0">
                  <a:pos x="71" y="76"/>
                </a:cxn>
                <a:cxn ang="0">
                  <a:pos x="79" y="92"/>
                </a:cxn>
                <a:cxn ang="0">
                  <a:pos x="91" y="96"/>
                </a:cxn>
                <a:cxn ang="0">
                  <a:pos x="103" y="104"/>
                </a:cxn>
                <a:cxn ang="0">
                  <a:pos x="103" y="116"/>
                </a:cxn>
                <a:cxn ang="0">
                  <a:pos x="91" y="100"/>
                </a:cxn>
                <a:cxn ang="0">
                  <a:pos x="83" y="104"/>
                </a:cxn>
                <a:cxn ang="0">
                  <a:pos x="56" y="92"/>
                </a:cxn>
                <a:cxn ang="0">
                  <a:pos x="56" y="84"/>
                </a:cxn>
                <a:cxn ang="0">
                  <a:pos x="44" y="64"/>
                </a:cxn>
                <a:cxn ang="0">
                  <a:pos x="79" y="80"/>
                </a:cxn>
                <a:cxn ang="0">
                  <a:pos x="107" y="96"/>
                </a:cxn>
                <a:cxn ang="0">
                  <a:pos x="75" y="100"/>
                </a:cxn>
                <a:cxn ang="0">
                  <a:pos x="52" y="104"/>
                </a:cxn>
                <a:cxn ang="0">
                  <a:pos x="67" y="124"/>
                </a:cxn>
                <a:cxn ang="0">
                  <a:pos x="75" y="124"/>
                </a:cxn>
                <a:cxn ang="0">
                  <a:pos x="103" y="120"/>
                </a:cxn>
                <a:cxn ang="0">
                  <a:pos x="107" y="136"/>
                </a:cxn>
                <a:cxn ang="0">
                  <a:pos x="111" y="120"/>
                </a:cxn>
                <a:cxn ang="0">
                  <a:pos x="131" y="140"/>
                </a:cxn>
                <a:cxn ang="0">
                  <a:pos x="123" y="132"/>
                </a:cxn>
                <a:cxn ang="0">
                  <a:pos x="44" y="128"/>
                </a:cxn>
                <a:cxn ang="0">
                  <a:pos x="48" y="132"/>
                </a:cxn>
                <a:cxn ang="0">
                  <a:pos x="75" y="160"/>
                </a:cxn>
                <a:cxn ang="0">
                  <a:pos x="83" y="136"/>
                </a:cxn>
                <a:cxn ang="0">
                  <a:pos x="115" y="140"/>
                </a:cxn>
                <a:cxn ang="0">
                  <a:pos x="111" y="140"/>
                </a:cxn>
                <a:cxn ang="0">
                  <a:pos x="123" y="156"/>
                </a:cxn>
                <a:cxn ang="0">
                  <a:pos x="40" y="140"/>
                </a:cxn>
                <a:cxn ang="0">
                  <a:pos x="24" y="180"/>
                </a:cxn>
                <a:cxn ang="0">
                  <a:pos x="8" y="188"/>
                </a:cxn>
                <a:cxn ang="0">
                  <a:pos x="28" y="160"/>
                </a:cxn>
                <a:cxn ang="0">
                  <a:pos x="36" y="144"/>
                </a:cxn>
                <a:cxn ang="0">
                  <a:pos x="99" y="156"/>
                </a:cxn>
                <a:cxn ang="0">
                  <a:pos x="103" y="164"/>
                </a:cxn>
                <a:cxn ang="0">
                  <a:pos x="95" y="168"/>
                </a:cxn>
                <a:cxn ang="0">
                  <a:pos x="83" y="176"/>
                </a:cxn>
                <a:cxn ang="0">
                  <a:pos x="95" y="148"/>
                </a:cxn>
                <a:cxn ang="0">
                  <a:pos x="131" y="164"/>
                </a:cxn>
                <a:cxn ang="0">
                  <a:pos x="111" y="164"/>
                </a:cxn>
                <a:cxn ang="0">
                  <a:pos x="79" y="216"/>
                </a:cxn>
                <a:cxn ang="0">
                  <a:pos x="83" y="204"/>
                </a:cxn>
                <a:cxn ang="0">
                  <a:pos x="103" y="204"/>
                </a:cxn>
                <a:cxn ang="0">
                  <a:pos x="115" y="196"/>
                </a:cxn>
                <a:cxn ang="0">
                  <a:pos x="127" y="172"/>
                </a:cxn>
                <a:cxn ang="0">
                  <a:pos x="135" y="192"/>
                </a:cxn>
                <a:cxn ang="0">
                  <a:pos x="143" y="220"/>
                </a:cxn>
                <a:cxn ang="0">
                  <a:pos x="135" y="220"/>
                </a:cxn>
                <a:cxn ang="0">
                  <a:pos x="127" y="244"/>
                </a:cxn>
                <a:cxn ang="0">
                  <a:pos x="111" y="240"/>
                </a:cxn>
                <a:cxn ang="0">
                  <a:pos x="107" y="212"/>
                </a:cxn>
                <a:cxn ang="0">
                  <a:pos x="95" y="216"/>
                </a:cxn>
                <a:cxn ang="0">
                  <a:pos x="83" y="208"/>
                </a:cxn>
                <a:cxn ang="0">
                  <a:pos x="115" y="184"/>
                </a:cxn>
                <a:cxn ang="0">
                  <a:pos x="64" y="240"/>
                </a:cxn>
              </a:cxnLst>
              <a:rect l="0" t="0" r="r" b="b"/>
              <a:pathLst>
                <a:path w="143" h="256">
                  <a:moveTo>
                    <a:pt x="119" y="140"/>
                  </a:moveTo>
                  <a:lnTo>
                    <a:pt x="119" y="136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40"/>
                  </a:lnTo>
                  <a:close/>
                  <a:moveTo>
                    <a:pt x="83" y="160"/>
                  </a:moveTo>
                  <a:lnTo>
                    <a:pt x="83" y="156"/>
                  </a:lnTo>
                  <a:lnTo>
                    <a:pt x="83" y="152"/>
                  </a:lnTo>
                  <a:lnTo>
                    <a:pt x="87" y="152"/>
                  </a:lnTo>
                  <a:lnTo>
                    <a:pt x="87" y="156"/>
                  </a:lnTo>
                  <a:lnTo>
                    <a:pt x="83" y="160"/>
                  </a:lnTo>
                  <a:close/>
                  <a:moveTo>
                    <a:pt x="44" y="160"/>
                  </a:moveTo>
                  <a:lnTo>
                    <a:pt x="44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60"/>
                  </a:lnTo>
                  <a:close/>
                  <a:moveTo>
                    <a:pt x="99" y="184"/>
                  </a:moveTo>
                  <a:lnTo>
                    <a:pt x="99" y="180"/>
                  </a:lnTo>
                  <a:lnTo>
                    <a:pt x="99" y="184"/>
                  </a:lnTo>
                  <a:close/>
                  <a:moveTo>
                    <a:pt x="4" y="200"/>
                  </a:moveTo>
                  <a:lnTo>
                    <a:pt x="4" y="196"/>
                  </a:lnTo>
                  <a:lnTo>
                    <a:pt x="4" y="200"/>
                  </a:lnTo>
                  <a:close/>
                  <a:moveTo>
                    <a:pt x="0" y="208"/>
                  </a:moveTo>
                  <a:lnTo>
                    <a:pt x="0" y="204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0" y="208"/>
                  </a:lnTo>
                  <a:close/>
                  <a:moveTo>
                    <a:pt x="87" y="216"/>
                  </a:moveTo>
                  <a:lnTo>
                    <a:pt x="87" y="212"/>
                  </a:lnTo>
                  <a:lnTo>
                    <a:pt x="91" y="212"/>
                  </a:lnTo>
                  <a:lnTo>
                    <a:pt x="91" y="216"/>
                  </a:lnTo>
                  <a:lnTo>
                    <a:pt x="87" y="216"/>
                  </a:lnTo>
                  <a:close/>
                  <a:moveTo>
                    <a:pt x="52" y="236"/>
                  </a:moveTo>
                  <a:lnTo>
                    <a:pt x="52" y="232"/>
                  </a:lnTo>
                  <a:lnTo>
                    <a:pt x="56" y="232"/>
                  </a:lnTo>
                  <a:lnTo>
                    <a:pt x="56" y="236"/>
                  </a:lnTo>
                  <a:lnTo>
                    <a:pt x="52" y="236"/>
                  </a:lnTo>
                  <a:close/>
                  <a:moveTo>
                    <a:pt x="71" y="4"/>
                  </a:moveTo>
                  <a:lnTo>
                    <a:pt x="71" y="0"/>
                  </a:lnTo>
                  <a:lnTo>
                    <a:pt x="75" y="0"/>
                  </a:lnTo>
                  <a:lnTo>
                    <a:pt x="71" y="4"/>
                  </a:lnTo>
                  <a:close/>
                  <a:moveTo>
                    <a:pt x="44" y="60"/>
                  </a:move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7" y="8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12"/>
                  </a:lnTo>
                  <a:lnTo>
                    <a:pt x="79" y="16"/>
                  </a:lnTo>
                  <a:lnTo>
                    <a:pt x="79" y="20"/>
                  </a:lnTo>
                  <a:lnTo>
                    <a:pt x="79" y="24"/>
                  </a:lnTo>
                  <a:lnTo>
                    <a:pt x="79" y="28"/>
                  </a:lnTo>
                  <a:lnTo>
                    <a:pt x="83" y="32"/>
                  </a:lnTo>
                  <a:lnTo>
                    <a:pt x="83" y="36"/>
                  </a:lnTo>
                  <a:lnTo>
                    <a:pt x="83" y="40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5" y="52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67" y="56"/>
                  </a:lnTo>
                  <a:lnTo>
                    <a:pt x="67" y="60"/>
                  </a:lnTo>
                  <a:lnTo>
                    <a:pt x="71" y="60"/>
                  </a:lnTo>
                  <a:lnTo>
                    <a:pt x="67" y="60"/>
                  </a:lnTo>
                  <a:lnTo>
                    <a:pt x="67" y="64"/>
                  </a:lnTo>
                  <a:lnTo>
                    <a:pt x="67" y="68"/>
                  </a:lnTo>
                  <a:lnTo>
                    <a:pt x="67" y="72"/>
                  </a:lnTo>
                  <a:lnTo>
                    <a:pt x="67" y="76"/>
                  </a:lnTo>
                  <a:lnTo>
                    <a:pt x="71" y="76"/>
                  </a:lnTo>
                  <a:lnTo>
                    <a:pt x="71" y="80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1" y="84"/>
                  </a:lnTo>
                  <a:lnTo>
                    <a:pt x="71" y="88"/>
                  </a:lnTo>
                  <a:lnTo>
                    <a:pt x="75" y="92"/>
                  </a:lnTo>
                  <a:lnTo>
                    <a:pt x="79" y="92"/>
                  </a:lnTo>
                  <a:lnTo>
                    <a:pt x="79" y="96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3" y="88"/>
                  </a:lnTo>
                  <a:lnTo>
                    <a:pt x="87" y="84"/>
                  </a:lnTo>
                  <a:lnTo>
                    <a:pt x="87" y="88"/>
                  </a:lnTo>
                  <a:lnTo>
                    <a:pt x="91" y="88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100"/>
                  </a:lnTo>
                  <a:lnTo>
                    <a:pt x="91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103" y="96"/>
                  </a:lnTo>
                  <a:lnTo>
                    <a:pt x="103" y="100"/>
                  </a:lnTo>
                  <a:lnTo>
                    <a:pt x="103" y="96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0"/>
                  </a:lnTo>
                  <a:lnTo>
                    <a:pt x="103" y="116"/>
                  </a:lnTo>
                  <a:lnTo>
                    <a:pt x="103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04"/>
                  </a:lnTo>
                  <a:lnTo>
                    <a:pt x="91" y="104"/>
                  </a:lnTo>
                  <a:lnTo>
                    <a:pt x="91" y="100"/>
                  </a:lnTo>
                  <a:lnTo>
                    <a:pt x="87" y="100"/>
                  </a:lnTo>
                  <a:lnTo>
                    <a:pt x="87" y="96"/>
                  </a:lnTo>
                  <a:lnTo>
                    <a:pt x="83" y="96"/>
                  </a:lnTo>
                  <a:lnTo>
                    <a:pt x="83" y="92"/>
                  </a:lnTo>
                  <a:lnTo>
                    <a:pt x="83" y="96"/>
                  </a:lnTo>
                  <a:lnTo>
                    <a:pt x="83" y="100"/>
                  </a:lnTo>
                  <a:lnTo>
                    <a:pt x="83" y="104"/>
                  </a:lnTo>
                  <a:lnTo>
                    <a:pt x="87" y="104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4"/>
                  </a:lnTo>
                  <a:lnTo>
                    <a:pt x="83" y="100"/>
                  </a:lnTo>
                  <a:lnTo>
                    <a:pt x="79" y="100"/>
                  </a:lnTo>
                  <a:lnTo>
                    <a:pt x="75" y="96"/>
                  </a:lnTo>
                  <a:lnTo>
                    <a:pt x="71" y="96"/>
                  </a:lnTo>
                  <a:lnTo>
                    <a:pt x="71" y="92"/>
                  </a:lnTo>
                  <a:lnTo>
                    <a:pt x="67" y="96"/>
                  </a:lnTo>
                  <a:lnTo>
                    <a:pt x="67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close/>
                  <a:moveTo>
                    <a:pt x="75" y="80"/>
                  </a:moveTo>
                  <a:lnTo>
                    <a:pt x="75" y="76"/>
                  </a:lnTo>
                  <a:lnTo>
                    <a:pt x="71" y="76"/>
                  </a:lnTo>
                  <a:lnTo>
                    <a:pt x="71" y="72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80"/>
                  </a:lnTo>
                  <a:close/>
                  <a:moveTo>
                    <a:pt x="79" y="80"/>
                  </a:moveTo>
                  <a:lnTo>
                    <a:pt x="79" y="76"/>
                  </a:lnTo>
                  <a:lnTo>
                    <a:pt x="75" y="76"/>
                  </a:lnTo>
                  <a:lnTo>
                    <a:pt x="79" y="76"/>
                  </a:lnTo>
                  <a:lnTo>
                    <a:pt x="79" y="80"/>
                  </a:lnTo>
                  <a:close/>
                  <a:moveTo>
                    <a:pt x="79" y="92"/>
                  </a:moveTo>
                  <a:lnTo>
                    <a:pt x="75" y="92"/>
                  </a:lnTo>
                  <a:lnTo>
                    <a:pt x="75" y="88"/>
                  </a:lnTo>
                  <a:lnTo>
                    <a:pt x="75" y="92"/>
                  </a:lnTo>
                  <a:lnTo>
                    <a:pt x="79" y="92"/>
                  </a:lnTo>
                  <a:close/>
                  <a:moveTo>
                    <a:pt x="107" y="100"/>
                  </a:moveTo>
                  <a:lnTo>
                    <a:pt x="107" y="96"/>
                  </a:lnTo>
                  <a:lnTo>
                    <a:pt x="107" y="92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100"/>
                  </a:lnTo>
                  <a:lnTo>
                    <a:pt x="107" y="100"/>
                  </a:lnTo>
                  <a:close/>
                  <a:moveTo>
                    <a:pt x="48" y="100"/>
                  </a:moveTo>
                  <a:lnTo>
                    <a:pt x="48" y="96"/>
                  </a:lnTo>
                  <a:lnTo>
                    <a:pt x="48" y="100"/>
                  </a:lnTo>
                  <a:close/>
                  <a:moveTo>
                    <a:pt x="75" y="108"/>
                  </a:moveTo>
                  <a:lnTo>
                    <a:pt x="71" y="104"/>
                  </a:lnTo>
                  <a:lnTo>
                    <a:pt x="75" y="100"/>
                  </a:lnTo>
                  <a:lnTo>
                    <a:pt x="75" y="104"/>
                  </a:lnTo>
                  <a:lnTo>
                    <a:pt x="79" y="104"/>
                  </a:lnTo>
                  <a:lnTo>
                    <a:pt x="75" y="108"/>
                  </a:lnTo>
                  <a:close/>
                  <a:moveTo>
                    <a:pt x="60" y="124"/>
                  </a:moveTo>
                  <a:lnTo>
                    <a:pt x="60" y="120"/>
                  </a:lnTo>
                  <a:lnTo>
                    <a:pt x="60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56" y="104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7" y="108"/>
                  </a:lnTo>
                  <a:lnTo>
                    <a:pt x="67" y="112"/>
                  </a:lnTo>
                  <a:lnTo>
                    <a:pt x="67" y="116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4" y="124"/>
                  </a:lnTo>
                  <a:lnTo>
                    <a:pt x="60" y="124"/>
                  </a:lnTo>
                  <a:close/>
                  <a:moveTo>
                    <a:pt x="95" y="116"/>
                  </a:moveTo>
                  <a:lnTo>
                    <a:pt x="95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12"/>
                  </a:lnTo>
                  <a:lnTo>
                    <a:pt x="95" y="112"/>
                  </a:lnTo>
                  <a:lnTo>
                    <a:pt x="95" y="116"/>
                  </a:lnTo>
                  <a:close/>
                  <a:moveTo>
                    <a:pt x="75" y="128"/>
                  </a:moveTo>
                  <a:lnTo>
                    <a:pt x="75" y="124"/>
                  </a:lnTo>
                  <a:lnTo>
                    <a:pt x="75" y="120"/>
                  </a:lnTo>
                  <a:lnTo>
                    <a:pt x="75" y="116"/>
                  </a:lnTo>
                  <a:lnTo>
                    <a:pt x="79" y="116"/>
                  </a:lnTo>
                  <a:lnTo>
                    <a:pt x="79" y="120"/>
                  </a:lnTo>
                  <a:lnTo>
                    <a:pt x="75" y="120"/>
                  </a:lnTo>
                  <a:lnTo>
                    <a:pt x="75" y="128"/>
                  </a:lnTo>
                  <a:close/>
                  <a:moveTo>
                    <a:pt x="103" y="124"/>
                  </a:moveTo>
                  <a:lnTo>
                    <a:pt x="103" y="120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103" y="120"/>
                  </a:lnTo>
                  <a:lnTo>
                    <a:pt x="103" y="124"/>
                  </a:lnTo>
                  <a:close/>
                  <a:moveTo>
                    <a:pt x="91" y="132"/>
                  </a:moveTo>
                  <a:lnTo>
                    <a:pt x="95" y="128"/>
                  </a:lnTo>
                  <a:lnTo>
                    <a:pt x="95" y="124"/>
                  </a:lnTo>
                  <a:lnTo>
                    <a:pt x="95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103" y="124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03" y="132"/>
                  </a:lnTo>
                  <a:lnTo>
                    <a:pt x="99" y="128"/>
                  </a:lnTo>
                  <a:lnTo>
                    <a:pt x="99" y="124"/>
                  </a:lnTo>
                  <a:lnTo>
                    <a:pt x="95" y="124"/>
                  </a:lnTo>
                  <a:lnTo>
                    <a:pt x="95" y="128"/>
                  </a:lnTo>
                  <a:lnTo>
                    <a:pt x="95" y="132"/>
                  </a:lnTo>
                  <a:lnTo>
                    <a:pt x="91" y="132"/>
                  </a:lnTo>
                  <a:close/>
                  <a:moveTo>
                    <a:pt x="111" y="128"/>
                  </a:moveTo>
                  <a:lnTo>
                    <a:pt x="111" y="124"/>
                  </a:lnTo>
                  <a:lnTo>
                    <a:pt x="111" y="120"/>
                  </a:lnTo>
                  <a:lnTo>
                    <a:pt x="115" y="120"/>
                  </a:lnTo>
                  <a:lnTo>
                    <a:pt x="119" y="120"/>
                  </a:lnTo>
                  <a:lnTo>
                    <a:pt x="123" y="120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27" y="128"/>
                  </a:ln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31" y="140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31" y="144"/>
                  </a:lnTo>
                  <a:lnTo>
                    <a:pt x="131" y="148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32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5" y="128"/>
                  </a:lnTo>
                  <a:lnTo>
                    <a:pt x="111" y="128"/>
                  </a:lnTo>
                  <a:close/>
                  <a:moveTo>
                    <a:pt x="83" y="124"/>
                  </a:moveTo>
                  <a:lnTo>
                    <a:pt x="83" y="120"/>
                  </a:lnTo>
                  <a:lnTo>
                    <a:pt x="87" y="120"/>
                  </a:lnTo>
                  <a:lnTo>
                    <a:pt x="87" y="124"/>
                  </a:lnTo>
                  <a:lnTo>
                    <a:pt x="83" y="124"/>
                  </a:lnTo>
                  <a:close/>
                  <a:moveTo>
                    <a:pt x="48" y="128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4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52" y="128"/>
                  </a:lnTo>
                  <a:lnTo>
                    <a:pt x="48" y="128"/>
                  </a:lnTo>
                  <a:close/>
                  <a:moveTo>
                    <a:pt x="44" y="136"/>
                  </a:moveTo>
                  <a:lnTo>
                    <a:pt x="44" y="132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36"/>
                  </a:lnTo>
                  <a:lnTo>
                    <a:pt x="44" y="136"/>
                  </a:lnTo>
                  <a:close/>
                  <a:moveTo>
                    <a:pt x="91" y="144"/>
                  </a:moveTo>
                  <a:lnTo>
                    <a:pt x="91" y="148"/>
                  </a:lnTo>
                  <a:lnTo>
                    <a:pt x="87" y="148"/>
                  </a:lnTo>
                  <a:lnTo>
                    <a:pt x="87" y="152"/>
                  </a:lnTo>
                  <a:lnTo>
                    <a:pt x="83" y="152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6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5" y="144"/>
                  </a:lnTo>
                  <a:lnTo>
                    <a:pt x="75" y="140"/>
                  </a:lnTo>
                  <a:lnTo>
                    <a:pt x="75" y="136"/>
                  </a:lnTo>
                  <a:lnTo>
                    <a:pt x="75" y="132"/>
                  </a:lnTo>
                  <a:lnTo>
                    <a:pt x="71" y="132"/>
                  </a:lnTo>
                  <a:lnTo>
                    <a:pt x="75" y="132"/>
                  </a:lnTo>
                  <a:lnTo>
                    <a:pt x="79" y="132"/>
                  </a:lnTo>
                  <a:lnTo>
                    <a:pt x="83" y="136"/>
                  </a:lnTo>
                  <a:lnTo>
                    <a:pt x="83" y="140"/>
                  </a:lnTo>
                  <a:lnTo>
                    <a:pt x="87" y="136"/>
                  </a:lnTo>
                  <a:lnTo>
                    <a:pt x="87" y="140"/>
                  </a:lnTo>
                  <a:lnTo>
                    <a:pt x="91" y="140"/>
                  </a:lnTo>
                  <a:lnTo>
                    <a:pt x="91" y="136"/>
                  </a:lnTo>
                  <a:lnTo>
                    <a:pt x="91" y="140"/>
                  </a:lnTo>
                  <a:lnTo>
                    <a:pt x="91" y="144"/>
                  </a:lnTo>
                  <a:close/>
                  <a:moveTo>
                    <a:pt x="111" y="140"/>
                  </a:moveTo>
                  <a:lnTo>
                    <a:pt x="111" y="136"/>
                  </a:lnTo>
                  <a:lnTo>
                    <a:pt x="115" y="136"/>
                  </a:lnTo>
                  <a:lnTo>
                    <a:pt x="115" y="140"/>
                  </a:lnTo>
                  <a:lnTo>
                    <a:pt x="111" y="140"/>
                  </a:lnTo>
                  <a:close/>
                  <a:moveTo>
                    <a:pt x="115" y="156"/>
                  </a:moveTo>
                  <a:lnTo>
                    <a:pt x="119" y="156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1" y="144"/>
                  </a:lnTo>
                  <a:lnTo>
                    <a:pt x="111" y="140"/>
                  </a:lnTo>
                  <a:lnTo>
                    <a:pt x="111" y="136"/>
                  </a:lnTo>
                  <a:lnTo>
                    <a:pt x="115" y="140"/>
                  </a:lnTo>
                  <a:lnTo>
                    <a:pt x="115" y="144"/>
                  </a:lnTo>
                  <a:lnTo>
                    <a:pt x="115" y="140"/>
                  </a:lnTo>
                  <a:lnTo>
                    <a:pt x="119" y="140"/>
                  </a:lnTo>
                  <a:lnTo>
                    <a:pt x="119" y="144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23" y="152"/>
                  </a:lnTo>
                  <a:lnTo>
                    <a:pt x="123" y="156"/>
                  </a:lnTo>
                  <a:lnTo>
                    <a:pt x="123" y="160"/>
                  </a:lnTo>
                  <a:lnTo>
                    <a:pt x="123" y="164"/>
                  </a:lnTo>
                  <a:lnTo>
                    <a:pt x="123" y="160"/>
                  </a:lnTo>
                  <a:lnTo>
                    <a:pt x="119" y="160"/>
                  </a:lnTo>
                  <a:lnTo>
                    <a:pt x="119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5" y="156"/>
                  </a:lnTo>
                  <a:close/>
                  <a:moveTo>
                    <a:pt x="44" y="140"/>
                  </a:moveTo>
                  <a:lnTo>
                    <a:pt x="40" y="140"/>
                  </a:lnTo>
                  <a:lnTo>
                    <a:pt x="44" y="140"/>
                  </a:lnTo>
                  <a:close/>
                  <a:moveTo>
                    <a:pt x="40" y="156"/>
                  </a:move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8"/>
                  </a:lnTo>
                  <a:lnTo>
                    <a:pt x="24" y="172"/>
                  </a:lnTo>
                  <a:lnTo>
                    <a:pt x="28" y="172"/>
                  </a:lnTo>
                  <a:lnTo>
                    <a:pt x="24" y="176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2" y="192"/>
                  </a:lnTo>
                  <a:lnTo>
                    <a:pt x="8" y="192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12" y="184"/>
                  </a:lnTo>
                  <a:lnTo>
                    <a:pt x="12" y="180"/>
                  </a:lnTo>
                  <a:lnTo>
                    <a:pt x="16" y="180"/>
                  </a:lnTo>
                  <a:lnTo>
                    <a:pt x="20" y="172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8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close/>
                  <a:moveTo>
                    <a:pt x="95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9" y="156"/>
                  </a:lnTo>
                  <a:lnTo>
                    <a:pt x="103" y="156"/>
                  </a:lnTo>
                  <a:lnTo>
                    <a:pt x="103" y="152"/>
                  </a:lnTo>
                  <a:lnTo>
                    <a:pt x="103" y="148"/>
                  </a:lnTo>
                  <a:lnTo>
                    <a:pt x="103" y="144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7" y="152"/>
                  </a:lnTo>
                  <a:lnTo>
                    <a:pt x="107" y="156"/>
                  </a:lnTo>
                  <a:lnTo>
                    <a:pt x="107" y="160"/>
                  </a:lnTo>
                  <a:lnTo>
                    <a:pt x="103" y="160"/>
                  </a:lnTo>
                  <a:lnTo>
                    <a:pt x="103" y="164"/>
                  </a:lnTo>
                  <a:lnTo>
                    <a:pt x="99" y="164"/>
                  </a:lnTo>
                  <a:lnTo>
                    <a:pt x="99" y="168"/>
                  </a:lnTo>
                  <a:lnTo>
                    <a:pt x="99" y="172"/>
                  </a:lnTo>
                  <a:lnTo>
                    <a:pt x="99" y="176"/>
                  </a:lnTo>
                  <a:lnTo>
                    <a:pt x="95" y="176"/>
                  </a:lnTo>
                  <a:lnTo>
                    <a:pt x="95" y="172"/>
                  </a:lnTo>
                  <a:lnTo>
                    <a:pt x="95" y="168"/>
                  </a:lnTo>
                  <a:lnTo>
                    <a:pt x="95" y="164"/>
                  </a:lnTo>
                  <a:close/>
                  <a:moveTo>
                    <a:pt x="95" y="160"/>
                  </a:moveTo>
                  <a:lnTo>
                    <a:pt x="95" y="164"/>
                  </a:lnTo>
                  <a:lnTo>
                    <a:pt x="95" y="168"/>
                  </a:lnTo>
                  <a:lnTo>
                    <a:pt x="91" y="168"/>
                  </a:lnTo>
                  <a:lnTo>
                    <a:pt x="91" y="172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5" y="180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7" y="180"/>
                  </a:lnTo>
                  <a:lnTo>
                    <a:pt x="87" y="176"/>
                  </a:lnTo>
                  <a:lnTo>
                    <a:pt x="83" y="176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83" y="172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7" y="160"/>
                  </a:lnTo>
                  <a:lnTo>
                    <a:pt x="87" y="156"/>
                  </a:lnTo>
                  <a:lnTo>
                    <a:pt x="91" y="152"/>
                  </a:lnTo>
                  <a:lnTo>
                    <a:pt x="91" y="148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52"/>
                  </a:lnTo>
                  <a:lnTo>
                    <a:pt x="99" y="156"/>
                  </a:lnTo>
                  <a:lnTo>
                    <a:pt x="95" y="156"/>
                  </a:lnTo>
                  <a:lnTo>
                    <a:pt x="95" y="160"/>
                  </a:lnTo>
                  <a:close/>
                  <a:moveTo>
                    <a:pt x="131" y="168"/>
                  </a:moveTo>
                  <a:lnTo>
                    <a:pt x="127" y="164"/>
                  </a:lnTo>
                  <a:lnTo>
                    <a:pt x="127" y="160"/>
                  </a:lnTo>
                  <a:lnTo>
                    <a:pt x="131" y="156"/>
                  </a:lnTo>
                  <a:lnTo>
                    <a:pt x="131" y="160"/>
                  </a:lnTo>
                  <a:lnTo>
                    <a:pt x="131" y="164"/>
                  </a:lnTo>
                  <a:lnTo>
                    <a:pt x="131" y="168"/>
                  </a:lnTo>
                  <a:close/>
                  <a:moveTo>
                    <a:pt x="115" y="164"/>
                  </a:moveTo>
                  <a:lnTo>
                    <a:pt x="115" y="168"/>
                  </a:lnTo>
                  <a:lnTo>
                    <a:pt x="115" y="172"/>
                  </a:lnTo>
                  <a:lnTo>
                    <a:pt x="111" y="172"/>
                  </a:lnTo>
                  <a:lnTo>
                    <a:pt x="107" y="172"/>
                  </a:lnTo>
                  <a:lnTo>
                    <a:pt x="103" y="172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close/>
                  <a:moveTo>
                    <a:pt x="123" y="168"/>
                  </a:moveTo>
                  <a:lnTo>
                    <a:pt x="123" y="164"/>
                  </a:lnTo>
                  <a:lnTo>
                    <a:pt x="123" y="168"/>
                  </a:lnTo>
                  <a:close/>
                  <a:moveTo>
                    <a:pt x="135" y="172"/>
                  </a:moveTo>
                  <a:lnTo>
                    <a:pt x="135" y="168"/>
                  </a:lnTo>
                  <a:lnTo>
                    <a:pt x="135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close/>
                  <a:moveTo>
                    <a:pt x="79" y="216"/>
                  </a:moveTo>
                  <a:lnTo>
                    <a:pt x="79" y="220"/>
                  </a:lnTo>
                  <a:lnTo>
                    <a:pt x="79" y="224"/>
                  </a:lnTo>
                  <a:lnTo>
                    <a:pt x="75" y="224"/>
                  </a:lnTo>
                  <a:lnTo>
                    <a:pt x="75" y="220"/>
                  </a:lnTo>
                  <a:lnTo>
                    <a:pt x="75" y="216"/>
                  </a:lnTo>
                  <a:lnTo>
                    <a:pt x="75" y="212"/>
                  </a:lnTo>
                  <a:lnTo>
                    <a:pt x="75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0"/>
                  </a:lnTo>
                  <a:lnTo>
                    <a:pt x="83" y="204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88"/>
                  </a:lnTo>
                  <a:lnTo>
                    <a:pt x="99" y="192"/>
                  </a:lnTo>
                  <a:lnTo>
                    <a:pt x="103" y="192"/>
                  </a:lnTo>
                  <a:lnTo>
                    <a:pt x="103" y="196"/>
                  </a:lnTo>
                  <a:lnTo>
                    <a:pt x="103" y="200"/>
                  </a:lnTo>
                  <a:lnTo>
                    <a:pt x="103" y="204"/>
                  </a:lnTo>
                  <a:lnTo>
                    <a:pt x="99" y="204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7" y="200"/>
                  </a:lnTo>
                  <a:lnTo>
                    <a:pt x="111" y="200"/>
                  </a:lnTo>
                  <a:lnTo>
                    <a:pt x="111" y="196"/>
                  </a:lnTo>
                  <a:lnTo>
                    <a:pt x="107" y="196"/>
                  </a:lnTo>
                  <a:lnTo>
                    <a:pt x="111" y="196"/>
                  </a:lnTo>
                  <a:lnTo>
                    <a:pt x="111" y="192"/>
                  </a:lnTo>
                  <a:lnTo>
                    <a:pt x="115" y="192"/>
                  </a:lnTo>
                  <a:lnTo>
                    <a:pt x="115" y="196"/>
                  </a:lnTo>
                  <a:lnTo>
                    <a:pt x="115" y="192"/>
                  </a:lnTo>
                  <a:lnTo>
                    <a:pt x="115" y="188"/>
                  </a:lnTo>
                  <a:lnTo>
                    <a:pt x="119" y="188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27" y="180"/>
                  </a:lnTo>
                  <a:lnTo>
                    <a:pt x="127" y="176"/>
                  </a:lnTo>
                  <a:lnTo>
                    <a:pt x="127" y="172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31" y="172"/>
                  </a:lnTo>
                  <a:lnTo>
                    <a:pt x="131" y="176"/>
                  </a:lnTo>
                  <a:lnTo>
                    <a:pt x="135" y="176"/>
                  </a:lnTo>
                  <a:lnTo>
                    <a:pt x="135" y="180"/>
                  </a:lnTo>
                  <a:lnTo>
                    <a:pt x="139" y="180"/>
                  </a:lnTo>
                  <a:lnTo>
                    <a:pt x="139" y="184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5" y="192"/>
                  </a:lnTo>
                  <a:lnTo>
                    <a:pt x="139" y="192"/>
                  </a:lnTo>
                  <a:lnTo>
                    <a:pt x="143" y="192"/>
                  </a:lnTo>
                  <a:lnTo>
                    <a:pt x="143" y="196"/>
                  </a:lnTo>
                  <a:lnTo>
                    <a:pt x="139" y="196"/>
                  </a:lnTo>
                  <a:lnTo>
                    <a:pt x="139" y="200"/>
                  </a:lnTo>
                  <a:lnTo>
                    <a:pt x="143" y="200"/>
                  </a:lnTo>
                  <a:lnTo>
                    <a:pt x="143" y="204"/>
                  </a:lnTo>
                  <a:lnTo>
                    <a:pt x="143" y="208"/>
                  </a:lnTo>
                  <a:lnTo>
                    <a:pt x="143" y="212"/>
                  </a:lnTo>
                  <a:lnTo>
                    <a:pt x="143" y="216"/>
                  </a:lnTo>
                  <a:lnTo>
                    <a:pt x="143" y="220"/>
                  </a:lnTo>
                  <a:lnTo>
                    <a:pt x="139" y="220"/>
                  </a:lnTo>
                  <a:lnTo>
                    <a:pt x="139" y="224"/>
                  </a:lnTo>
                  <a:lnTo>
                    <a:pt x="139" y="228"/>
                  </a:lnTo>
                  <a:lnTo>
                    <a:pt x="139" y="232"/>
                  </a:lnTo>
                  <a:lnTo>
                    <a:pt x="139" y="236"/>
                  </a:lnTo>
                  <a:lnTo>
                    <a:pt x="139" y="232"/>
                  </a:lnTo>
                  <a:lnTo>
                    <a:pt x="135" y="232"/>
                  </a:lnTo>
                  <a:lnTo>
                    <a:pt x="135" y="228"/>
                  </a:lnTo>
                  <a:lnTo>
                    <a:pt x="139" y="228"/>
                  </a:lnTo>
                  <a:lnTo>
                    <a:pt x="135" y="224"/>
                  </a:lnTo>
                  <a:lnTo>
                    <a:pt x="135" y="220"/>
                  </a:lnTo>
                  <a:lnTo>
                    <a:pt x="135" y="216"/>
                  </a:lnTo>
                  <a:lnTo>
                    <a:pt x="131" y="216"/>
                  </a:lnTo>
                  <a:lnTo>
                    <a:pt x="131" y="220"/>
                  </a:lnTo>
                  <a:lnTo>
                    <a:pt x="127" y="220"/>
                  </a:lnTo>
                  <a:lnTo>
                    <a:pt x="127" y="224"/>
                  </a:lnTo>
                  <a:lnTo>
                    <a:pt x="127" y="228"/>
                  </a:lnTo>
                  <a:lnTo>
                    <a:pt x="131" y="232"/>
                  </a:lnTo>
                  <a:lnTo>
                    <a:pt x="131" y="236"/>
                  </a:lnTo>
                  <a:lnTo>
                    <a:pt x="131" y="240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8"/>
                  </a:lnTo>
                  <a:lnTo>
                    <a:pt x="123" y="248"/>
                  </a:lnTo>
                  <a:lnTo>
                    <a:pt x="127" y="248"/>
                  </a:lnTo>
                  <a:lnTo>
                    <a:pt x="123" y="244"/>
                  </a:lnTo>
                  <a:lnTo>
                    <a:pt x="123" y="240"/>
                  </a:lnTo>
                  <a:lnTo>
                    <a:pt x="123" y="236"/>
                  </a:lnTo>
                  <a:lnTo>
                    <a:pt x="123" y="240"/>
                  </a:lnTo>
                  <a:lnTo>
                    <a:pt x="123" y="244"/>
                  </a:lnTo>
                  <a:lnTo>
                    <a:pt x="119" y="244"/>
                  </a:lnTo>
                  <a:lnTo>
                    <a:pt x="115" y="240"/>
                  </a:lnTo>
                  <a:lnTo>
                    <a:pt x="111" y="240"/>
                  </a:lnTo>
                  <a:lnTo>
                    <a:pt x="111" y="236"/>
                  </a:lnTo>
                  <a:lnTo>
                    <a:pt x="107" y="236"/>
                  </a:lnTo>
                  <a:lnTo>
                    <a:pt x="107" y="232"/>
                  </a:lnTo>
                  <a:lnTo>
                    <a:pt x="107" y="228"/>
                  </a:lnTo>
                  <a:lnTo>
                    <a:pt x="107" y="224"/>
                  </a:lnTo>
                  <a:lnTo>
                    <a:pt x="103" y="224"/>
                  </a:lnTo>
                  <a:lnTo>
                    <a:pt x="107" y="220"/>
                  </a:lnTo>
                  <a:lnTo>
                    <a:pt x="111" y="216"/>
                  </a:lnTo>
                  <a:lnTo>
                    <a:pt x="107" y="212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7" y="208"/>
                  </a:lnTo>
                  <a:lnTo>
                    <a:pt x="103" y="208"/>
                  </a:lnTo>
                  <a:lnTo>
                    <a:pt x="99" y="208"/>
                  </a:lnTo>
                  <a:lnTo>
                    <a:pt x="99" y="204"/>
                  </a:lnTo>
                  <a:lnTo>
                    <a:pt x="99" y="208"/>
                  </a:lnTo>
                  <a:lnTo>
                    <a:pt x="95" y="208"/>
                  </a:lnTo>
                  <a:lnTo>
                    <a:pt x="99" y="208"/>
                  </a:lnTo>
                  <a:lnTo>
                    <a:pt x="99" y="212"/>
                  </a:lnTo>
                  <a:lnTo>
                    <a:pt x="95" y="212"/>
                  </a:lnTo>
                  <a:lnTo>
                    <a:pt x="99" y="216"/>
                  </a:lnTo>
                  <a:lnTo>
                    <a:pt x="95" y="216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1" y="208"/>
                  </a:lnTo>
                  <a:lnTo>
                    <a:pt x="91" y="212"/>
                  </a:lnTo>
                  <a:lnTo>
                    <a:pt x="87" y="212"/>
                  </a:lnTo>
                  <a:lnTo>
                    <a:pt x="87" y="208"/>
                  </a:lnTo>
                  <a:lnTo>
                    <a:pt x="83" y="208"/>
                  </a:lnTo>
                  <a:lnTo>
                    <a:pt x="83" y="212"/>
                  </a:lnTo>
                  <a:lnTo>
                    <a:pt x="79" y="212"/>
                  </a:lnTo>
                  <a:lnTo>
                    <a:pt x="79" y="216"/>
                  </a:lnTo>
                  <a:close/>
                  <a:moveTo>
                    <a:pt x="135" y="176"/>
                  </a:moveTo>
                  <a:lnTo>
                    <a:pt x="135" y="172"/>
                  </a:lnTo>
                  <a:lnTo>
                    <a:pt x="135" y="176"/>
                  </a:lnTo>
                  <a:close/>
                  <a:moveTo>
                    <a:pt x="115" y="184"/>
                  </a:moveTo>
                  <a:lnTo>
                    <a:pt x="115" y="180"/>
                  </a:lnTo>
                  <a:lnTo>
                    <a:pt x="119" y="180"/>
                  </a:lnTo>
                  <a:lnTo>
                    <a:pt x="119" y="184"/>
                  </a:lnTo>
                  <a:lnTo>
                    <a:pt x="115" y="184"/>
                  </a:lnTo>
                  <a:close/>
                  <a:moveTo>
                    <a:pt x="131" y="224"/>
                  </a:moveTo>
                  <a:lnTo>
                    <a:pt x="131" y="220"/>
                  </a:lnTo>
                  <a:lnTo>
                    <a:pt x="131" y="224"/>
                  </a:lnTo>
                  <a:close/>
                  <a:moveTo>
                    <a:pt x="75" y="232"/>
                  </a:moveTo>
                  <a:lnTo>
                    <a:pt x="71" y="228"/>
                  </a:lnTo>
                  <a:lnTo>
                    <a:pt x="75" y="228"/>
                  </a:lnTo>
                  <a:lnTo>
                    <a:pt x="79" y="228"/>
                  </a:lnTo>
                  <a:lnTo>
                    <a:pt x="79" y="232"/>
                  </a:lnTo>
                  <a:lnTo>
                    <a:pt x="75" y="232"/>
                  </a:lnTo>
                  <a:close/>
                  <a:moveTo>
                    <a:pt x="64" y="244"/>
                  </a:moveTo>
                  <a:lnTo>
                    <a:pt x="64" y="240"/>
                  </a:lnTo>
                  <a:lnTo>
                    <a:pt x="60" y="244"/>
                  </a:lnTo>
                  <a:lnTo>
                    <a:pt x="60" y="240"/>
                  </a:lnTo>
                  <a:lnTo>
                    <a:pt x="64" y="240"/>
                  </a:lnTo>
                  <a:lnTo>
                    <a:pt x="67" y="240"/>
                  </a:lnTo>
                  <a:lnTo>
                    <a:pt x="64" y="244"/>
                  </a:lnTo>
                  <a:close/>
                  <a:moveTo>
                    <a:pt x="44" y="256"/>
                  </a:moveTo>
                  <a:lnTo>
                    <a:pt x="44" y="252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74" name="Freeform 38">
              <a:extLst>
                <a:ext uri="{FF2B5EF4-FFF2-40B4-BE49-F238E27FC236}">
                  <a16:creationId xmlns:a16="http://schemas.microsoft.com/office/drawing/2014/main" xmlns="" id="{0451F7D6-8C2F-47A3-A940-4B9BFA2792A3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5518020" y="3876668"/>
              <a:ext cx="16313" cy="41526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75" name="Freeform 39">
              <a:extLst>
                <a:ext uri="{FF2B5EF4-FFF2-40B4-BE49-F238E27FC236}">
                  <a16:creationId xmlns:a16="http://schemas.microsoft.com/office/drawing/2014/main" xmlns="" id="{63BAA7E9-4722-4303-95D8-45AB6168748C}"/>
                </a:ext>
              </a:extLst>
            </p:cNvPr>
            <p:cNvSpPr>
              <a:spLocks noEditPoints="1"/>
            </p:cNvSpPr>
            <p:nvPr>
              <p:custDataLst>
                <p:tags r:id="rId39"/>
              </p:custDataLst>
            </p:nvPr>
          </p:nvSpPr>
          <p:spPr bwMode="gray">
            <a:xfrm>
              <a:off x="5150220" y="3698701"/>
              <a:ext cx="473097" cy="449368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76" name="Freeform 40">
              <a:extLst>
                <a:ext uri="{FF2B5EF4-FFF2-40B4-BE49-F238E27FC236}">
                  <a16:creationId xmlns:a16="http://schemas.microsoft.com/office/drawing/2014/main" xmlns="" id="{DCF41834-7C74-4D4F-986F-C0B677CCC642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6700022" y="4557395"/>
              <a:ext cx="11865" cy="5932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77" name="Freeform 41">
              <a:extLst>
                <a:ext uri="{FF2B5EF4-FFF2-40B4-BE49-F238E27FC236}">
                  <a16:creationId xmlns:a16="http://schemas.microsoft.com/office/drawing/2014/main" xmlns="" id="{EA7AF741-BA93-421F-BCE2-BD5E87D69DAD}"/>
                </a:ext>
              </a:extLst>
            </p:cNvPr>
            <p:cNvSpPr>
              <a:spLocks noEditPoints="1"/>
            </p:cNvSpPr>
            <p:nvPr>
              <p:custDataLst>
                <p:tags r:id="rId41"/>
              </p:custDataLst>
            </p:nvPr>
          </p:nvSpPr>
          <p:spPr bwMode="gray">
            <a:xfrm>
              <a:off x="7208713" y="3508868"/>
              <a:ext cx="77119" cy="160171"/>
            </a:xfrm>
            <a:custGeom>
              <a:avLst/>
              <a:gdLst/>
              <a:ahLst/>
              <a:cxnLst>
                <a:cxn ang="0">
                  <a:pos x="4" y="44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36"/>
                </a:cxn>
                <a:cxn ang="0">
                  <a:pos x="8" y="28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6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8" y="24"/>
                </a:cxn>
                <a:cxn ang="0">
                  <a:pos x="48" y="36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0" y="68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0" y="72"/>
                </a:cxn>
                <a:cxn ang="0">
                  <a:pos x="20" y="80"/>
                </a:cxn>
                <a:cxn ang="0">
                  <a:pos x="16" y="80"/>
                </a:cxn>
                <a:cxn ang="0">
                  <a:pos x="16" y="80"/>
                </a:cxn>
                <a:cxn ang="0">
                  <a:pos x="16" y="76"/>
                </a:cxn>
                <a:cxn ang="0">
                  <a:pos x="8" y="84"/>
                </a:cxn>
                <a:cxn ang="0">
                  <a:pos x="4" y="88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20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36" y="76"/>
                </a:cxn>
                <a:cxn ang="0">
                  <a:pos x="28" y="72"/>
                </a:cxn>
                <a:cxn ang="0">
                  <a:pos x="28" y="80"/>
                </a:cxn>
                <a:cxn ang="0">
                  <a:pos x="28" y="72"/>
                </a:cxn>
                <a:cxn ang="0">
                  <a:pos x="0" y="80"/>
                </a:cxn>
                <a:cxn ang="0">
                  <a:pos x="12" y="100"/>
                </a:cxn>
                <a:cxn ang="0">
                  <a:pos x="8" y="108"/>
                </a:cxn>
                <a:cxn ang="0">
                  <a:pos x="0" y="104"/>
                </a:cxn>
              </a:cxnLst>
              <a:rect l="0" t="0" r="r" b="b"/>
              <a:pathLst>
                <a:path w="52" h="108">
                  <a:moveTo>
                    <a:pt x="8" y="52"/>
                  </a:move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4" y="68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68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4" y="52"/>
                  </a:lnTo>
                  <a:lnTo>
                    <a:pt x="8" y="52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4" y="16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44"/>
                  </a:lnTo>
                  <a:close/>
                  <a:moveTo>
                    <a:pt x="40" y="72"/>
                  </a:move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close/>
                  <a:moveTo>
                    <a:pt x="28" y="72"/>
                  </a:moveTo>
                  <a:lnTo>
                    <a:pt x="24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close/>
                  <a:moveTo>
                    <a:pt x="4" y="84"/>
                  </a:moveTo>
                  <a:lnTo>
                    <a:pt x="0" y="84"/>
                  </a:lnTo>
                  <a:lnTo>
                    <a:pt x="0" y="80"/>
                  </a:lnTo>
                  <a:lnTo>
                    <a:pt x="4" y="84"/>
                  </a:lnTo>
                  <a:close/>
                  <a:moveTo>
                    <a:pt x="8" y="100"/>
                  </a:move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8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78" name="Freeform 42">
              <a:extLst>
                <a:ext uri="{FF2B5EF4-FFF2-40B4-BE49-F238E27FC236}">
                  <a16:creationId xmlns:a16="http://schemas.microsoft.com/office/drawing/2014/main" xmlns="" id="{3BEA8022-D7BD-499B-8409-BF2B0BBF218B}"/>
                </a:ext>
              </a:extLst>
            </p:cNvPr>
            <p:cNvSpPr>
              <a:spLocks noEditPoints="1"/>
            </p:cNvSpPr>
            <p:nvPr>
              <p:custDataLst>
                <p:tags r:id="rId42"/>
              </p:custDataLst>
            </p:nvPr>
          </p:nvSpPr>
          <p:spPr bwMode="gray">
            <a:xfrm>
              <a:off x="6943245" y="4302308"/>
              <a:ext cx="35594" cy="2966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</a:cxnLst>
              <a:rect l="0" t="0" r="r" b="b"/>
              <a:pathLst>
                <a:path w="24" h="20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79" name="Freeform 43">
              <a:extLst>
                <a:ext uri="{FF2B5EF4-FFF2-40B4-BE49-F238E27FC236}">
                  <a16:creationId xmlns:a16="http://schemas.microsoft.com/office/drawing/2014/main" xmlns="" id="{F39E1F1E-A5D1-4104-ABF1-03161E2B829D}"/>
                </a:ext>
              </a:extLst>
            </p:cNvPr>
            <p:cNvSpPr>
              <a:spLocks noEditPoints="1"/>
            </p:cNvSpPr>
            <p:nvPr>
              <p:custDataLst>
                <p:tags r:id="rId43"/>
              </p:custDataLst>
            </p:nvPr>
          </p:nvSpPr>
          <p:spPr bwMode="gray">
            <a:xfrm>
              <a:off x="6161670" y="4326037"/>
              <a:ext cx="53390" cy="106781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80" name="Freeform 44">
              <a:extLst>
                <a:ext uri="{FF2B5EF4-FFF2-40B4-BE49-F238E27FC236}">
                  <a16:creationId xmlns:a16="http://schemas.microsoft.com/office/drawing/2014/main" xmlns="" id="{48AE9387-5CE8-4339-BAB8-F7376ACE192C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gray">
            <a:xfrm>
              <a:off x="5173949" y="3544462"/>
              <a:ext cx="154239" cy="148306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81" name="Freeform 45">
              <a:extLst>
                <a:ext uri="{FF2B5EF4-FFF2-40B4-BE49-F238E27FC236}">
                  <a16:creationId xmlns:a16="http://schemas.microsoft.com/office/drawing/2014/main" xmlns="" id="{9DC2E21E-830A-4931-8A7B-597FAC77A927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5890269" y="3431749"/>
              <a:ext cx="170552" cy="136442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82" name="Freeform 46">
              <a:extLst>
                <a:ext uri="{FF2B5EF4-FFF2-40B4-BE49-F238E27FC236}">
                  <a16:creationId xmlns:a16="http://schemas.microsoft.com/office/drawing/2014/main" xmlns="" id="{58F64AF8-892E-4BA8-B2A1-2C734C23EB62}"/>
                </a:ext>
              </a:extLst>
            </p:cNvPr>
            <p:cNvSpPr>
              <a:spLocks noEditPoints="1"/>
            </p:cNvSpPr>
            <p:nvPr>
              <p:custDataLst>
                <p:tags r:id="rId46"/>
              </p:custDataLst>
            </p:nvPr>
          </p:nvSpPr>
          <p:spPr bwMode="gray">
            <a:xfrm>
              <a:off x="6559131" y="4035356"/>
              <a:ext cx="188349" cy="409326"/>
            </a:xfrm>
            <a:custGeom>
              <a:avLst/>
              <a:gdLst/>
              <a:ahLst/>
              <a:cxnLst>
                <a:cxn ang="0">
                  <a:pos x="59" y="276"/>
                </a:cxn>
                <a:cxn ang="0">
                  <a:pos x="55" y="264"/>
                </a:cxn>
                <a:cxn ang="0">
                  <a:pos x="43" y="260"/>
                </a:cxn>
                <a:cxn ang="0">
                  <a:pos x="39" y="248"/>
                </a:cxn>
                <a:cxn ang="0">
                  <a:pos x="27" y="236"/>
                </a:cxn>
                <a:cxn ang="0">
                  <a:pos x="19" y="228"/>
                </a:cxn>
                <a:cxn ang="0">
                  <a:pos x="15" y="216"/>
                </a:cxn>
                <a:cxn ang="0">
                  <a:pos x="19" y="196"/>
                </a:cxn>
                <a:cxn ang="0">
                  <a:pos x="31" y="172"/>
                </a:cxn>
                <a:cxn ang="0">
                  <a:pos x="35" y="152"/>
                </a:cxn>
                <a:cxn ang="0">
                  <a:pos x="31" y="132"/>
                </a:cxn>
                <a:cxn ang="0">
                  <a:pos x="23" y="116"/>
                </a:cxn>
                <a:cxn ang="0">
                  <a:pos x="15" y="100"/>
                </a:cxn>
                <a:cxn ang="0">
                  <a:pos x="19" y="80"/>
                </a:cxn>
                <a:cxn ang="0">
                  <a:pos x="19" y="64"/>
                </a:cxn>
                <a:cxn ang="0">
                  <a:pos x="8" y="52"/>
                </a:cxn>
                <a:cxn ang="0">
                  <a:pos x="4" y="36"/>
                </a:cxn>
                <a:cxn ang="0">
                  <a:pos x="8" y="24"/>
                </a:cxn>
                <a:cxn ang="0">
                  <a:pos x="19" y="12"/>
                </a:cxn>
                <a:cxn ang="0">
                  <a:pos x="31" y="8"/>
                </a:cxn>
                <a:cxn ang="0">
                  <a:pos x="43" y="4"/>
                </a:cxn>
                <a:cxn ang="0">
                  <a:pos x="47" y="12"/>
                </a:cxn>
                <a:cxn ang="0">
                  <a:pos x="59" y="24"/>
                </a:cxn>
                <a:cxn ang="0">
                  <a:pos x="59" y="40"/>
                </a:cxn>
                <a:cxn ang="0">
                  <a:pos x="59" y="56"/>
                </a:cxn>
                <a:cxn ang="0">
                  <a:pos x="71" y="44"/>
                </a:cxn>
                <a:cxn ang="0">
                  <a:pos x="83" y="48"/>
                </a:cxn>
                <a:cxn ang="0">
                  <a:pos x="95" y="40"/>
                </a:cxn>
                <a:cxn ang="0">
                  <a:pos x="111" y="52"/>
                </a:cxn>
                <a:cxn ang="0">
                  <a:pos x="115" y="68"/>
                </a:cxn>
                <a:cxn ang="0">
                  <a:pos x="119" y="84"/>
                </a:cxn>
                <a:cxn ang="0">
                  <a:pos x="123" y="100"/>
                </a:cxn>
                <a:cxn ang="0">
                  <a:pos x="119" y="112"/>
                </a:cxn>
                <a:cxn ang="0">
                  <a:pos x="103" y="112"/>
                </a:cxn>
                <a:cxn ang="0">
                  <a:pos x="87" y="120"/>
                </a:cxn>
                <a:cxn ang="0">
                  <a:pos x="75" y="132"/>
                </a:cxn>
                <a:cxn ang="0">
                  <a:pos x="83" y="152"/>
                </a:cxn>
                <a:cxn ang="0">
                  <a:pos x="83" y="156"/>
                </a:cxn>
                <a:cxn ang="0">
                  <a:pos x="71" y="144"/>
                </a:cxn>
                <a:cxn ang="0">
                  <a:pos x="55" y="144"/>
                </a:cxn>
                <a:cxn ang="0">
                  <a:pos x="55" y="128"/>
                </a:cxn>
                <a:cxn ang="0">
                  <a:pos x="43" y="136"/>
                </a:cxn>
                <a:cxn ang="0">
                  <a:pos x="39" y="160"/>
                </a:cxn>
                <a:cxn ang="0">
                  <a:pos x="31" y="180"/>
                </a:cxn>
                <a:cxn ang="0">
                  <a:pos x="31" y="204"/>
                </a:cxn>
                <a:cxn ang="0">
                  <a:pos x="39" y="220"/>
                </a:cxn>
                <a:cxn ang="0">
                  <a:pos x="47" y="228"/>
                </a:cxn>
                <a:cxn ang="0">
                  <a:pos x="51" y="248"/>
                </a:cxn>
                <a:cxn ang="0">
                  <a:pos x="43" y="240"/>
                </a:cxn>
                <a:cxn ang="0">
                  <a:pos x="51" y="248"/>
                </a:cxn>
                <a:cxn ang="0">
                  <a:pos x="63" y="252"/>
                </a:cxn>
                <a:cxn ang="0">
                  <a:pos x="71" y="272"/>
                </a:cxn>
                <a:cxn ang="0">
                  <a:pos x="35" y="260"/>
                </a:cxn>
                <a:cxn ang="0">
                  <a:pos x="79" y="156"/>
                </a:cxn>
                <a:cxn ang="0">
                  <a:pos x="43" y="200"/>
                </a:cxn>
                <a:cxn ang="0">
                  <a:pos x="15" y="232"/>
                </a:cxn>
              </a:cxnLst>
              <a:rect l="0" t="0" r="r" b="b"/>
              <a:pathLst>
                <a:path w="127" h="276">
                  <a:moveTo>
                    <a:pt x="67" y="272"/>
                  </a:moveTo>
                  <a:lnTo>
                    <a:pt x="67" y="268"/>
                  </a:lnTo>
                  <a:lnTo>
                    <a:pt x="63" y="268"/>
                  </a:lnTo>
                  <a:lnTo>
                    <a:pt x="63" y="272"/>
                  </a:lnTo>
                  <a:lnTo>
                    <a:pt x="59" y="272"/>
                  </a:lnTo>
                  <a:lnTo>
                    <a:pt x="59" y="276"/>
                  </a:lnTo>
                  <a:lnTo>
                    <a:pt x="59" y="272"/>
                  </a:lnTo>
                  <a:lnTo>
                    <a:pt x="55" y="272"/>
                  </a:lnTo>
                  <a:lnTo>
                    <a:pt x="55" y="268"/>
                  </a:lnTo>
                  <a:lnTo>
                    <a:pt x="59" y="268"/>
                  </a:lnTo>
                  <a:lnTo>
                    <a:pt x="59" y="264"/>
                  </a:lnTo>
                  <a:lnTo>
                    <a:pt x="55" y="264"/>
                  </a:lnTo>
                  <a:lnTo>
                    <a:pt x="55" y="260"/>
                  </a:lnTo>
                  <a:lnTo>
                    <a:pt x="51" y="260"/>
                  </a:lnTo>
                  <a:lnTo>
                    <a:pt x="47" y="260"/>
                  </a:lnTo>
                  <a:lnTo>
                    <a:pt x="47" y="256"/>
                  </a:lnTo>
                  <a:lnTo>
                    <a:pt x="43" y="256"/>
                  </a:lnTo>
                  <a:lnTo>
                    <a:pt x="43" y="260"/>
                  </a:lnTo>
                  <a:lnTo>
                    <a:pt x="43" y="256"/>
                  </a:lnTo>
                  <a:lnTo>
                    <a:pt x="39" y="256"/>
                  </a:lnTo>
                  <a:lnTo>
                    <a:pt x="39" y="252"/>
                  </a:lnTo>
                  <a:lnTo>
                    <a:pt x="35" y="252"/>
                  </a:lnTo>
                  <a:lnTo>
                    <a:pt x="35" y="248"/>
                  </a:lnTo>
                  <a:lnTo>
                    <a:pt x="39" y="248"/>
                  </a:lnTo>
                  <a:lnTo>
                    <a:pt x="35" y="248"/>
                  </a:lnTo>
                  <a:lnTo>
                    <a:pt x="35" y="244"/>
                  </a:lnTo>
                  <a:lnTo>
                    <a:pt x="31" y="244"/>
                  </a:lnTo>
                  <a:lnTo>
                    <a:pt x="31" y="240"/>
                  </a:lnTo>
                  <a:lnTo>
                    <a:pt x="31" y="236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5" y="228"/>
                  </a:lnTo>
                  <a:lnTo>
                    <a:pt x="15" y="224"/>
                  </a:lnTo>
                  <a:lnTo>
                    <a:pt x="15" y="220"/>
                  </a:lnTo>
                  <a:lnTo>
                    <a:pt x="15" y="216"/>
                  </a:lnTo>
                  <a:lnTo>
                    <a:pt x="15" y="212"/>
                  </a:lnTo>
                  <a:lnTo>
                    <a:pt x="15" y="208"/>
                  </a:lnTo>
                  <a:lnTo>
                    <a:pt x="15" y="204"/>
                  </a:lnTo>
                  <a:lnTo>
                    <a:pt x="19" y="204"/>
                  </a:lnTo>
                  <a:lnTo>
                    <a:pt x="19" y="200"/>
                  </a:lnTo>
                  <a:lnTo>
                    <a:pt x="19" y="196"/>
                  </a:lnTo>
                  <a:lnTo>
                    <a:pt x="23" y="192"/>
                  </a:lnTo>
                  <a:lnTo>
                    <a:pt x="23" y="188"/>
                  </a:lnTo>
                  <a:lnTo>
                    <a:pt x="23" y="184"/>
                  </a:lnTo>
                  <a:lnTo>
                    <a:pt x="23" y="180"/>
                  </a:lnTo>
                  <a:lnTo>
                    <a:pt x="27" y="176"/>
                  </a:lnTo>
                  <a:lnTo>
                    <a:pt x="31" y="172"/>
                  </a:lnTo>
                  <a:lnTo>
                    <a:pt x="31" y="168"/>
                  </a:lnTo>
                  <a:lnTo>
                    <a:pt x="31" y="164"/>
                  </a:lnTo>
                  <a:lnTo>
                    <a:pt x="35" y="164"/>
                  </a:lnTo>
                  <a:lnTo>
                    <a:pt x="35" y="160"/>
                  </a:lnTo>
                  <a:lnTo>
                    <a:pt x="35" y="156"/>
                  </a:lnTo>
                  <a:lnTo>
                    <a:pt x="35" y="152"/>
                  </a:lnTo>
                  <a:lnTo>
                    <a:pt x="31" y="152"/>
                  </a:lnTo>
                  <a:lnTo>
                    <a:pt x="31" y="148"/>
                  </a:lnTo>
                  <a:lnTo>
                    <a:pt x="31" y="144"/>
                  </a:lnTo>
                  <a:lnTo>
                    <a:pt x="27" y="136"/>
                  </a:lnTo>
                  <a:lnTo>
                    <a:pt x="31" y="136"/>
                  </a:lnTo>
                  <a:lnTo>
                    <a:pt x="31" y="132"/>
                  </a:lnTo>
                  <a:lnTo>
                    <a:pt x="27" y="132"/>
                  </a:lnTo>
                  <a:lnTo>
                    <a:pt x="27" y="128"/>
                  </a:lnTo>
                  <a:lnTo>
                    <a:pt x="27" y="124"/>
                  </a:lnTo>
                  <a:lnTo>
                    <a:pt x="27" y="120"/>
                  </a:lnTo>
                  <a:lnTo>
                    <a:pt x="23" y="120"/>
                  </a:lnTo>
                  <a:lnTo>
                    <a:pt x="23" y="116"/>
                  </a:lnTo>
                  <a:lnTo>
                    <a:pt x="19" y="116"/>
                  </a:lnTo>
                  <a:lnTo>
                    <a:pt x="19" y="112"/>
                  </a:lnTo>
                  <a:lnTo>
                    <a:pt x="19" y="108"/>
                  </a:lnTo>
                  <a:lnTo>
                    <a:pt x="15" y="108"/>
                  </a:lnTo>
                  <a:lnTo>
                    <a:pt x="15" y="104"/>
                  </a:lnTo>
                  <a:lnTo>
                    <a:pt x="15" y="100"/>
                  </a:lnTo>
                  <a:lnTo>
                    <a:pt x="15" y="96"/>
                  </a:lnTo>
                  <a:lnTo>
                    <a:pt x="19" y="96"/>
                  </a:lnTo>
                  <a:lnTo>
                    <a:pt x="19" y="92"/>
                  </a:lnTo>
                  <a:lnTo>
                    <a:pt x="19" y="88"/>
                  </a:lnTo>
                  <a:lnTo>
                    <a:pt x="19" y="84"/>
                  </a:lnTo>
                  <a:lnTo>
                    <a:pt x="19" y="80"/>
                  </a:lnTo>
                  <a:lnTo>
                    <a:pt x="23" y="80"/>
                  </a:lnTo>
                  <a:lnTo>
                    <a:pt x="23" y="76"/>
                  </a:lnTo>
                  <a:lnTo>
                    <a:pt x="19" y="76"/>
                  </a:lnTo>
                  <a:lnTo>
                    <a:pt x="19" y="72"/>
                  </a:lnTo>
                  <a:lnTo>
                    <a:pt x="19" y="68"/>
                  </a:lnTo>
                  <a:lnTo>
                    <a:pt x="19" y="64"/>
                  </a:lnTo>
                  <a:lnTo>
                    <a:pt x="15" y="64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4"/>
                  </a:lnTo>
                  <a:lnTo>
                    <a:pt x="31" y="4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4"/>
                  </a:lnTo>
                  <a:lnTo>
                    <a:pt x="51" y="4"/>
                  </a:lnTo>
                  <a:lnTo>
                    <a:pt x="51" y="8"/>
                  </a:lnTo>
                  <a:lnTo>
                    <a:pt x="47" y="12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5" y="16"/>
                  </a:lnTo>
                  <a:lnTo>
                    <a:pt x="59" y="16"/>
                  </a:lnTo>
                  <a:lnTo>
                    <a:pt x="59" y="20"/>
                  </a:lnTo>
                  <a:lnTo>
                    <a:pt x="59" y="24"/>
                  </a:lnTo>
                  <a:lnTo>
                    <a:pt x="63" y="24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5" y="48"/>
                  </a:lnTo>
                  <a:lnTo>
                    <a:pt x="55" y="52"/>
                  </a:lnTo>
                  <a:lnTo>
                    <a:pt x="55" y="56"/>
                  </a:lnTo>
                  <a:lnTo>
                    <a:pt x="59" y="56"/>
                  </a:lnTo>
                  <a:lnTo>
                    <a:pt x="59" y="52"/>
                  </a:lnTo>
                  <a:lnTo>
                    <a:pt x="63" y="52"/>
                  </a:lnTo>
                  <a:lnTo>
                    <a:pt x="63" y="48"/>
                  </a:lnTo>
                  <a:lnTo>
                    <a:pt x="67" y="48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5" y="44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7" y="44"/>
                  </a:lnTo>
                  <a:lnTo>
                    <a:pt x="91" y="40"/>
                  </a:lnTo>
                  <a:lnTo>
                    <a:pt x="91" y="36"/>
                  </a:lnTo>
                  <a:lnTo>
                    <a:pt x="95" y="36"/>
                  </a:lnTo>
                  <a:lnTo>
                    <a:pt x="95" y="40"/>
                  </a:lnTo>
                  <a:lnTo>
                    <a:pt x="99" y="40"/>
                  </a:lnTo>
                  <a:lnTo>
                    <a:pt x="103" y="40"/>
                  </a:lnTo>
                  <a:lnTo>
                    <a:pt x="103" y="44"/>
                  </a:lnTo>
                  <a:lnTo>
                    <a:pt x="107" y="48"/>
                  </a:lnTo>
                  <a:lnTo>
                    <a:pt x="107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4"/>
                  </a:lnTo>
                  <a:lnTo>
                    <a:pt x="111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9" y="80"/>
                  </a:lnTo>
                  <a:lnTo>
                    <a:pt x="119" y="84"/>
                  </a:lnTo>
                  <a:lnTo>
                    <a:pt x="123" y="84"/>
                  </a:lnTo>
                  <a:lnTo>
                    <a:pt x="123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27" y="104"/>
                  </a:lnTo>
                  <a:lnTo>
                    <a:pt x="123" y="104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16"/>
                  </a:lnTo>
                  <a:lnTo>
                    <a:pt x="115" y="116"/>
                  </a:lnTo>
                  <a:lnTo>
                    <a:pt x="115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6"/>
                  </a:lnTo>
                  <a:lnTo>
                    <a:pt x="87" y="116"/>
                  </a:lnTo>
                  <a:lnTo>
                    <a:pt x="87" y="120"/>
                  </a:lnTo>
                  <a:lnTo>
                    <a:pt x="83" y="120"/>
                  </a:lnTo>
                  <a:lnTo>
                    <a:pt x="83" y="124"/>
                  </a:lnTo>
                  <a:lnTo>
                    <a:pt x="79" y="124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32"/>
                  </a:lnTo>
                  <a:lnTo>
                    <a:pt x="79" y="136"/>
                  </a:lnTo>
                  <a:lnTo>
                    <a:pt x="79" y="140"/>
                  </a:lnTo>
                  <a:lnTo>
                    <a:pt x="79" y="144"/>
                  </a:lnTo>
                  <a:lnTo>
                    <a:pt x="79" y="148"/>
                  </a:lnTo>
                  <a:lnTo>
                    <a:pt x="83" y="148"/>
                  </a:lnTo>
                  <a:lnTo>
                    <a:pt x="83" y="152"/>
                  </a:lnTo>
                  <a:lnTo>
                    <a:pt x="83" y="156"/>
                  </a:lnTo>
                  <a:lnTo>
                    <a:pt x="83" y="160"/>
                  </a:lnTo>
                  <a:lnTo>
                    <a:pt x="87" y="160"/>
                  </a:lnTo>
                  <a:lnTo>
                    <a:pt x="87" y="164"/>
                  </a:lnTo>
                  <a:lnTo>
                    <a:pt x="83" y="160"/>
                  </a:lnTo>
                  <a:lnTo>
                    <a:pt x="83" y="156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1" y="148"/>
                  </a:lnTo>
                  <a:lnTo>
                    <a:pt x="71" y="144"/>
                  </a:lnTo>
                  <a:lnTo>
                    <a:pt x="67" y="144"/>
                  </a:lnTo>
                  <a:lnTo>
                    <a:pt x="63" y="144"/>
                  </a:lnTo>
                  <a:lnTo>
                    <a:pt x="63" y="148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4"/>
                  </a:lnTo>
                  <a:lnTo>
                    <a:pt x="55" y="148"/>
                  </a:lnTo>
                  <a:lnTo>
                    <a:pt x="55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5" y="132"/>
                  </a:lnTo>
                  <a:lnTo>
                    <a:pt x="55" y="128"/>
                  </a:lnTo>
                  <a:lnTo>
                    <a:pt x="51" y="128"/>
                  </a:lnTo>
                  <a:lnTo>
                    <a:pt x="47" y="128"/>
                  </a:lnTo>
                  <a:lnTo>
                    <a:pt x="43" y="132"/>
                  </a:lnTo>
                  <a:lnTo>
                    <a:pt x="39" y="132"/>
                  </a:lnTo>
                  <a:lnTo>
                    <a:pt x="39" y="136"/>
                  </a:lnTo>
                  <a:lnTo>
                    <a:pt x="43" y="136"/>
                  </a:lnTo>
                  <a:lnTo>
                    <a:pt x="43" y="140"/>
                  </a:lnTo>
                  <a:lnTo>
                    <a:pt x="39" y="144"/>
                  </a:lnTo>
                  <a:lnTo>
                    <a:pt x="39" y="148"/>
                  </a:lnTo>
                  <a:lnTo>
                    <a:pt x="43" y="152"/>
                  </a:lnTo>
                  <a:lnTo>
                    <a:pt x="39" y="156"/>
                  </a:lnTo>
                  <a:lnTo>
                    <a:pt x="39" y="160"/>
                  </a:lnTo>
                  <a:lnTo>
                    <a:pt x="39" y="164"/>
                  </a:lnTo>
                  <a:lnTo>
                    <a:pt x="35" y="164"/>
                  </a:lnTo>
                  <a:lnTo>
                    <a:pt x="35" y="168"/>
                  </a:lnTo>
                  <a:lnTo>
                    <a:pt x="35" y="172"/>
                  </a:lnTo>
                  <a:lnTo>
                    <a:pt x="35" y="176"/>
                  </a:lnTo>
                  <a:lnTo>
                    <a:pt x="31" y="180"/>
                  </a:lnTo>
                  <a:lnTo>
                    <a:pt x="31" y="184"/>
                  </a:lnTo>
                  <a:lnTo>
                    <a:pt x="27" y="188"/>
                  </a:lnTo>
                  <a:lnTo>
                    <a:pt x="27" y="192"/>
                  </a:lnTo>
                  <a:lnTo>
                    <a:pt x="27" y="196"/>
                  </a:lnTo>
                  <a:lnTo>
                    <a:pt x="27" y="200"/>
                  </a:lnTo>
                  <a:lnTo>
                    <a:pt x="31" y="204"/>
                  </a:lnTo>
                  <a:lnTo>
                    <a:pt x="31" y="208"/>
                  </a:lnTo>
                  <a:lnTo>
                    <a:pt x="35" y="208"/>
                  </a:lnTo>
                  <a:lnTo>
                    <a:pt x="39" y="208"/>
                  </a:lnTo>
                  <a:lnTo>
                    <a:pt x="39" y="212"/>
                  </a:lnTo>
                  <a:lnTo>
                    <a:pt x="39" y="216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8"/>
                  </a:lnTo>
                  <a:lnTo>
                    <a:pt x="47" y="232"/>
                  </a:lnTo>
                  <a:lnTo>
                    <a:pt x="47" y="236"/>
                  </a:lnTo>
                  <a:lnTo>
                    <a:pt x="47" y="240"/>
                  </a:lnTo>
                  <a:lnTo>
                    <a:pt x="47" y="244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47" y="244"/>
                  </a:lnTo>
                  <a:lnTo>
                    <a:pt x="47" y="240"/>
                  </a:lnTo>
                  <a:lnTo>
                    <a:pt x="47" y="236"/>
                  </a:lnTo>
                  <a:lnTo>
                    <a:pt x="43" y="236"/>
                  </a:lnTo>
                  <a:lnTo>
                    <a:pt x="43" y="240"/>
                  </a:lnTo>
                  <a:lnTo>
                    <a:pt x="43" y="244"/>
                  </a:lnTo>
                  <a:lnTo>
                    <a:pt x="47" y="244"/>
                  </a:lnTo>
                  <a:lnTo>
                    <a:pt x="47" y="248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52"/>
                  </a:lnTo>
                  <a:lnTo>
                    <a:pt x="55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67" y="252"/>
                  </a:lnTo>
                  <a:lnTo>
                    <a:pt x="67" y="256"/>
                  </a:lnTo>
                  <a:lnTo>
                    <a:pt x="67" y="260"/>
                  </a:lnTo>
                  <a:lnTo>
                    <a:pt x="71" y="264"/>
                  </a:lnTo>
                  <a:lnTo>
                    <a:pt x="71" y="268"/>
                  </a:lnTo>
                  <a:lnTo>
                    <a:pt x="71" y="272"/>
                  </a:lnTo>
                  <a:lnTo>
                    <a:pt x="67" y="272"/>
                  </a:lnTo>
                  <a:close/>
                  <a:moveTo>
                    <a:pt x="19" y="228"/>
                  </a:moveTo>
                  <a:lnTo>
                    <a:pt x="19" y="232"/>
                  </a:lnTo>
                  <a:lnTo>
                    <a:pt x="19" y="228"/>
                  </a:lnTo>
                  <a:close/>
                  <a:moveTo>
                    <a:pt x="35" y="256"/>
                  </a:moveTo>
                  <a:lnTo>
                    <a:pt x="35" y="260"/>
                  </a:lnTo>
                  <a:lnTo>
                    <a:pt x="35" y="256"/>
                  </a:lnTo>
                  <a:close/>
                  <a:moveTo>
                    <a:pt x="79" y="156"/>
                  </a:moveTo>
                  <a:lnTo>
                    <a:pt x="79" y="160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9" y="156"/>
                  </a:lnTo>
                  <a:close/>
                  <a:moveTo>
                    <a:pt x="79" y="160"/>
                  </a:moveTo>
                  <a:lnTo>
                    <a:pt x="79" y="164"/>
                  </a:lnTo>
                  <a:lnTo>
                    <a:pt x="79" y="160"/>
                  </a:lnTo>
                  <a:close/>
                  <a:moveTo>
                    <a:pt x="43" y="204"/>
                  </a:moveTo>
                  <a:lnTo>
                    <a:pt x="39" y="204"/>
                  </a:lnTo>
                  <a:lnTo>
                    <a:pt x="43" y="200"/>
                  </a:lnTo>
                  <a:lnTo>
                    <a:pt x="43" y="204"/>
                  </a:lnTo>
                  <a:close/>
                  <a:moveTo>
                    <a:pt x="15" y="228"/>
                  </a:moveTo>
                  <a:lnTo>
                    <a:pt x="15" y="232"/>
                  </a:lnTo>
                  <a:lnTo>
                    <a:pt x="19" y="232"/>
                  </a:lnTo>
                  <a:lnTo>
                    <a:pt x="15" y="236"/>
                  </a:lnTo>
                  <a:lnTo>
                    <a:pt x="15" y="232"/>
                  </a:lnTo>
                  <a:lnTo>
                    <a:pt x="15" y="2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83" name="Freeform 47">
              <a:extLst>
                <a:ext uri="{FF2B5EF4-FFF2-40B4-BE49-F238E27FC236}">
                  <a16:creationId xmlns:a16="http://schemas.microsoft.com/office/drawing/2014/main" xmlns="" id="{D796C987-1FC5-44B2-BCC0-51AD7B3844BC}"/>
                </a:ext>
              </a:extLst>
            </p:cNvPr>
            <p:cNvSpPr>
              <a:spLocks noEditPoints="1"/>
            </p:cNvSpPr>
            <p:nvPr>
              <p:custDataLst>
                <p:tags r:id="rId47"/>
              </p:custDataLst>
            </p:nvPr>
          </p:nvSpPr>
          <p:spPr bwMode="gray">
            <a:xfrm>
              <a:off x="7161255" y="4816931"/>
              <a:ext cx="71187" cy="3559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8" y="4"/>
                </a:cxn>
                <a:cxn ang="0">
                  <a:pos x="48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</a:cxnLst>
              <a:rect l="0" t="0" r="r" b="b"/>
              <a:pathLst>
                <a:path w="48" h="24">
                  <a:moveTo>
                    <a:pt x="24" y="0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84" name="Freeform 48">
              <a:extLst>
                <a:ext uri="{FF2B5EF4-FFF2-40B4-BE49-F238E27FC236}">
                  <a16:creationId xmlns:a16="http://schemas.microsoft.com/office/drawing/2014/main" xmlns="" id="{11B72D71-4A36-4892-8B69-D2CA25720346}"/>
                </a:ext>
              </a:extLst>
            </p:cNvPr>
            <p:cNvSpPr>
              <a:spLocks noEditPoints="1"/>
            </p:cNvSpPr>
            <p:nvPr>
              <p:custDataLst>
                <p:tags r:id="rId48"/>
              </p:custDataLst>
            </p:nvPr>
          </p:nvSpPr>
          <p:spPr bwMode="gray">
            <a:xfrm>
              <a:off x="4950007" y="3396155"/>
              <a:ext cx="431571" cy="19576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85" name="Freeform 49">
              <a:extLst>
                <a:ext uri="{FF2B5EF4-FFF2-40B4-BE49-F238E27FC236}">
                  <a16:creationId xmlns:a16="http://schemas.microsoft.com/office/drawing/2014/main" xmlns="" id="{C1B5B569-7595-4FD4-A49F-AB562C073A04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gray">
            <a:xfrm>
              <a:off x="5523952" y="3379842"/>
              <a:ext cx="348520" cy="229874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86" name="Freeform 50">
              <a:extLst>
                <a:ext uri="{FF2B5EF4-FFF2-40B4-BE49-F238E27FC236}">
                  <a16:creationId xmlns:a16="http://schemas.microsoft.com/office/drawing/2014/main" xmlns="" id="{B5ACBC5F-3DF2-461C-972C-C861A3F96434}"/>
                </a:ext>
              </a:extLst>
            </p:cNvPr>
            <p:cNvSpPr>
              <a:spLocks noEditPoints="1"/>
            </p:cNvSpPr>
            <p:nvPr>
              <p:custDataLst>
                <p:tags r:id="rId50"/>
              </p:custDataLst>
            </p:nvPr>
          </p:nvSpPr>
          <p:spPr bwMode="gray">
            <a:xfrm>
              <a:off x="5534334" y="3876668"/>
              <a:ext cx="106781" cy="94916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87" name="Freeform 51">
              <a:extLst>
                <a:ext uri="{FF2B5EF4-FFF2-40B4-BE49-F238E27FC236}">
                  <a16:creationId xmlns:a16="http://schemas.microsoft.com/office/drawing/2014/main" xmlns="" id="{740F7FE8-AE00-42BE-A946-37901A54A39C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gray">
            <a:xfrm>
              <a:off x="5635182" y="3290858"/>
              <a:ext cx="385597" cy="259536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88" name="Freeform 52">
              <a:extLst>
                <a:ext uri="{FF2B5EF4-FFF2-40B4-BE49-F238E27FC236}">
                  <a16:creationId xmlns:a16="http://schemas.microsoft.com/office/drawing/2014/main" xmlns="" id="{26DFE8C8-C143-4D59-B1A7-14AEB8B45A55}"/>
                </a:ext>
              </a:extLst>
            </p:cNvPr>
            <p:cNvSpPr>
              <a:spLocks noEditPoints="1"/>
            </p:cNvSpPr>
            <p:nvPr>
              <p:custDataLst>
                <p:tags r:id="rId52"/>
              </p:custDataLst>
            </p:nvPr>
          </p:nvSpPr>
          <p:spPr bwMode="gray">
            <a:xfrm>
              <a:off x="6670361" y="3953787"/>
              <a:ext cx="160171" cy="407842"/>
            </a:xfrm>
            <a:custGeom>
              <a:avLst/>
              <a:gdLst/>
              <a:ahLst/>
              <a:cxnLst>
                <a:cxn ang="0">
                  <a:pos x="84" y="131"/>
                </a:cxn>
                <a:cxn ang="0">
                  <a:pos x="92" y="139"/>
                </a:cxn>
                <a:cxn ang="0">
                  <a:pos x="100" y="147"/>
                </a:cxn>
                <a:cxn ang="0">
                  <a:pos x="104" y="159"/>
                </a:cxn>
                <a:cxn ang="0">
                  <a:pos x="104" y="179"/>
                </a:cxn>
                <a:cxn ang="0">
                  <a:pos x="108" y="191"/>
                </a:cxn>
                <a:cxn ang="0">
                  <a:pos x="108" y="207"/>
                </a:cxn>
                <a:cxn ang="0">
                  <a:pos x="104" y="211"/>
                </a:cxn>
                <a:cxn ang="0">
                  <a:pos x="100" y="227"/>
                </a:cxn>
                <a:cxn ang="0">
                  <a:pos x="84" y="235"/>
                </a:cxn>
                <a:cxn ang="0">
                  <a:pos x="68" y="235"/>
                </a:cxn>
                <a:cxn ang="0">
                  <a:pos x="68" y="243"/>
                </a:cxn>
                <a:cxn ang="0">
                  <a:pos x="64" y="247"/>
                </a:cxn>
                <a:cxn ang="0">
                  <a:pos x="60" y="247"/>
                </a:cxn>
                <a:cxn ang="0">
                  <a:pos x="56" y="251"/>
                </a:cxn>
                <a:cxn ang="0">
                  <a:pos x="52" y="263"/>
                </a:cxn>
                <a:cxn ang="0">
                  <a:pos x="36" y="275"/>
                </a:cxn>
                <a:cxn ang="0">
                  <a:pos x="40" y="255"/>
                </a:cxn>
                <a:cxn ang="0">
                  <a:pos x="36" y="243"/>
                </a:cxn>
                <a:cxn ang="0">
                  <a:pos x="44" y="231"/>
                </a:cxn>
                <a:cxn ang="0">
                  <a:pos x="60" y="231"/>
                </a:cxn>
                <a:cxn ang="0">
                  <a:pos x="60" y="219"/>
                </a:cxn>
                <a:cxn ang="0">
                  <a:pos x="68" y="211"/>
                </a:cxn>
                <a:cxn ang="0">
                  <a:pos x="80" y="199"/>
                </a:cxn>
                <a:cxn ang="0">
                  <a:pos x="76" y="175"/>
                </a:cxn>
                <a:cxn ang="0">
                  <a:pos x="80" y="159"/>
                </a:cxn>
                <a:cxn ang="0">
                  <a:pos x="76" y="143"/>
                </a:cxn>
                <a:cxn ang="0">
                  <a:pos x="72" y="131"/>
                </a:cxn>
                <a:cxn ang="0">
                  <a:pos x="64" y="119"/>
                </a:cxn>
                <a:cxn ang="0">
                  <a:pos x="52" y="107"/>
                </a:cxn>
                <a:cxn ang="0">
                  <a:pos x="44" y="91"/>
                </a:cxn>
                <a:cxn ang="0">
                  <a:pos x="28" y="79"/>
                </a:cxn>
                <a:cxn ang="0">
                  <a:pos x="28" y="67"/>
                </a:cxn>
                <a:cxn ang="0">
                  <a:pos x="40" y="63"/>
                </a:cxn>
                <a:cxn ang="0">
                  <a:pos x="28" y="44"/>
                </a:cxn>
                <a:cxn ang="0">
                  <a:pos x="12" y="48"/>
                </a:cxn>
                <a:cxn ang="0">
                  <a:pos x="12" y="36"/>
                </a:cxn>
                <a:cxn ang="0">
                  <a:pos x="0" y="20"/>
                </a:cxn>
                <a:cxn ang="0">
                  <a:pos x="12" y="16"/>
                </a:cxn>
                <a:cxn ang="0">
                  <a:pos x="24" y="12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76" y="32"/>
                </a:cxn>
                <a:cxn ang="0">
                  <a:pos x="80" y="40"/>
                </a:cxn>
                <a:cxn ang="0">
                  <a:pos x="76" y="44"/>
                </a:cxn>
                <a:cxn ang="0">
                  <a:pos x="68" y="52"/>
                </a:cxn>
                <a:cxn ang="0">
                  <a:pos x="60" y="63"/>
                </a:cxn>
                <a:cxn ang="0">
                  <a:pos x="56" y="75"/>
                </a:cxn>
                <a:cxn ang="0">
                  <a:pos x="56" y="95"/>
                </a:cxn>
                <a:cxn ang="0">
                  <a:pos x="68" y="115"/>
                </a:cxn>
                <a:cxn ang="0">
                  <a:pos x="72" y="239"/>
                </a:cxn>
                <a:cxn ang="0">
                  <a:pos x="76" y="44"/>
                </a:cxn>
                <a:cxn ang="0">
                  <a:pos x="28" y="247"/>
                </a:cxn>
              </a:cxnLst>
              <a:rect l="0" t="0" r="r" b="b"/>
              <a:pathLst>
                <a:path w="108" h="275">
                  <a:moveTo>
                    <a:pt x="72" y="119"/>
                  </a:moveTo>
                  <a:lnTo>
                    <a:pt x="76" y="119"/>
                  </a:lnTo>
                  <a:lnTo>
                    <a:pt x="76" y="123"/>
                  </a:lnTo>
                  <a:lnTo>
                    <a:pt x="80" y="127"/>
                  </a:lnTo>
                  <a:lnTo>
                    <a:pt x="84" y="127"/>
                  </a:lnTo>
                  <a:lnTo>
                    <a:pt x="84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43"/>
                  </a:lnTo>
                  <a:lnTo>
                    <a:pt x="96" y="143"/>
                  </a:lnTo>
                  <a:lnTo>
                    <a:pt x="96" y="147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55"/>
                  </a:lnTo>
                  <a:lnTo>
                    <a:pt x="100" y="159"/>
                  </a:lnTo>
                  <a:lnTo>
                    <a:pt x="104" y="159"/>
                  </a:lnTo>
                  <a:lnTo>
                    <a:pt x="104" y="163"/>
                  </a:lnTo>
                  <a:lnTo>
                    <a:pt x="104" y="167"/>
                  </a:lnTo>
                  <a:lnTo>
                    <a:pt x="104" y="171"/>
                  </a:lnTo>
                  <a:lnTo>
                    <a:pt x="108" y="175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8" y="183"/>
                  </a:lnTo>
                  <a:lnTo>
                    <a:pt x="108" y="187"/>
                  </a:lnTo>
                  <a:lnTo>
                    <a:pt x="108" y="191"/>
                  </a:lnTo>
                  <a:lnTo>
                    <a:pt x="108" y="195"/>
                  </a:lnTo>
                  <a:lnTo>
                    <a:pt x="108" y="199"/>
                  </a:lnTo>
                  <a:lnTo>
                    <a:pt x="104" y="199"/>
                  </a:lnTo>
                  <a:lnTo>
                    <a:pt x="104" y="203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3"/>
                  </a:lnTo>
                  <a:lnTo>
                    <a:pt x="104" y="203"/>
                  </a:lnTo>
                  <a:lnTo>
                    <a:pt x="104" y="207"/>
                  </a:lnTo>
                  <a:lnTo>
                    <a:pt x="104" y="211"/>
                  </a:lnTo>
                  <a:lnTo>
                    <a:pt x="108" y="215"/>
                  </a:lnTo>
                  <a:lnTo>
                    <a:pt x="104" y="211"/>
                  </a:lnTo>
                  <a:lnTo>
                    <a:pt x="104" y="215"/>
                  </a:lnTo>
                  <a:lnTo>
                    <a:pt x="104" y="219"/>
                  </a:lnTo>
                  <a:lnTo>
                    <a:pt x="104" y="223"/>
                  </a:lnTo>
                  <a:lnTo>
                    <a:pt x="100" y="227"/>
                  </a:lnTo>
                  <a:lnTo>
                    <a:pt x="100" y="223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76" y="243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5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4" y="243"/>
                  </a:lnTo>
                  <a:lnTo>
                    <a:pt x="68" y="243"/>
                  </a:lnTo>
                  <a:lnTo>
                    <a:pt x="68" y="247"/>
                  </a:lnTo>
                  <a:lnTo>
                    <a:pt x="68" y="251"/>
                  </a:lnTo>
                  <a:lnTo>
                    <a:pt x="64" y="247"/>
                  </a:lnTo>
                  <a:lnTo>
                    <a:pt x="64" y="243"/>
                  </a:lnTo>
                  <a:lnTo>
                    <a:pt x="60" y="243"/>
                  </a:lnTo>
                  <a:lnTo>
                    <a:pt x="64" y="247"/>
                  </a:lnTo>
                  <a:lnTo>
                    <a:pt x="64" y="251"/>
                  </a:lnTo>
                  <a:lnTo>
                    <a:pt x="68" y="251"/>
                  </a:lnTo>
                  <a:lnTo>
                    <a:pt x="64" y="251"/>
                  </a:lnTo>
                  <a:lnTo>
                    <a:pt x="60" y="247"/>
                  </a:lnTo>
                  <a:lnTo>
                    <a:pt x="60" y="243"/>
                  </a:lnTo>
                  <a:lnTo>
                    <a:pt x="60" y="247"/>
                  </a:lnTo>
                  <a:lnTo>
                    <a:pt x="60" y="251"/>
                  </a:lnTo>
                  <a:lnTo>
                    <a:pt x="64" y="251"/>
                  </a:lnTo>
                  <a:lnTo>
                    <a:pt x="64" y="255"/>
                  </a:lnTo>
                  <a:lnTo>
                    <a:pt x="64" y="259"/>
                  </a:lnTo>
                  <a:lnTo>
                    <a:pt x="60" y="255"/>
                  </a:lnTo>
                  <a:lnTo>
                    <a:pt x="56" y="251"/>
                  </a:lnTo>
                  <a:lnTo>
                    <a:pt x="56" y="255"/>
                  </a:lnTo>
                  <a:lnTo>
                    <a:pt x="60" y="255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67"/>
                  </a:lnTo>
                  <a:lnTo>
                    <a:pt x="48" y="267"/>
                  </a:lnTo>
                  <a:lnTo>
                    <a:pt x="48" y="271"/>
                  </a:lnTo>
                  <a:lnTo>
                    <a:pt x="44" y="275"/>
                  </a:lnTo>
                  <a:lnTo>
                    <a:pt x="40" y="275"/>
                  </a:lnTo>
                  <a:lnTo>
                    <a:pt x="36" y="275"/>
                  </a:lnTo>
                  <a:lnTo>
                    <a:pt x="40" y="275"/>
                  </a:lnTo>
                  <a:lnTo>
                    <a:pt x="40" y="271"/>
                  </a:lnTo>
                  <a:lnTo>
                    <a:pt x="40" y="267"/>
                  </a:lnTo>
                  <a:lnTo>
                    <a:pt x="40" y="263"/>
                  </a:lnTo>
                  <a:lnTo>
                    <a:pt x="40" y="259"/>
                  </a:lnTo>
                  <a:lnTo>
                    <a:pt x="40" y="255"/>
                  </a:lnTo>
                  <a:lnTo>
                    <a:pt x="40" y="251"/>
                  </a:lnTo>
                  <a:lnTo>
                    <a:pt x="44" y="251"/>
                  </a:lnTo>
                  <a:lnTo>
                    <a:pt x="44" y="247"/>
                  </a:lnTo>
                  <a:lnTo>
                    <a:pt x="40" y="247"/>
                  </a:lnTo>
                  <a:lnTo>
                    <a:pt x="36" y="247"/>
                  </a:lnTo>
                  <a:lnTo>
                    <a:pt x="36" y="243"/>
                  </a:lnTo>
                  <a:lnTo>
                    <a:pt x="32" y="243"/>
                  </a:lnTo>
                  <a:lnTo>
                    <a:pt x="36" y="243"/>
                  </a:lnTo>
                  <a:lnTo>
                    <a:pt x="36" y="239"/>
                  </a:lnTo>
                  <a:lnTo>
                    <a:pt x="40" y="239"/>
                  </a:lnTo>
                  <a:lnTo>
                    <a:pt x="44" y="235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48" y="231"/>
                  </a:lnTo>
                  <a:lnTo>
                    <a:pt x="52" y="231"/>
                  </a:lnTo>
                  <a:lnTo>
                    <a:pt x="56" y="231"/>
                  </a:lnTo>
                  <a:lnTo>
                    <a:pt x="60" y="235"/>
                  </a:lnTo>
                  <a:lnTo>
                    <a:pt x="60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6" y="219"/>
                  </a:lnTo>
                  <a:lnTo>
                    <a:pt x="56" y="215"/>
                  </a:lnTo>
                  <a:lnTo>
                    <a:pt x="60" y="215"/>
                  </a:lnTo>
                  <a:lnTo>
                    <a:pt x="60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8" y="211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72" y="211"/>
                  </a:lnTo>
                  <a:lnTo>
                    <a:pt x="72" y="207"/>
                  </a:lnTo>
                  <a:lnTo>
                    <a:pt x="76" y="207"/>
                  </a:lnTo>
                  <a:lnTo>
                    <a:pt x="80" y="207"/>
                  </a:lnTo>
                  <a:lnTo>
                    <a:pt x="80" y="203"/>
                  </a:lnTo>
                  <a:lnTo>
                    <a:pt x="80" y="199"/>
                  </a:lnTo>
                  <a:lnTo>
                    <a:pt x="80" y="195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0" y="179"/>
                  </a:lnTo>
                  <a:lnTo>
                    <a:pt x="80" y="175"/>
                  </a:lnTo>
                  <a:lnTo>
                    <a:pt x="76" y="175"/>
                  </a:lnTo>
                  <a:lnTo>
                    <a:pt x="76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84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76" y="147"/>
                  </a:lnTo>
                  <a:lnTo>
                    <a:pt x="76" y="143"/>
                  </a:lnTo>
                  <a:lnTo>
                    <a:pt x="76" y="139"/>
                  </a:lnTo>
                  <a:lnTo>
                    <a:pt x="80" y="139"/>
                  </a:lnTo>
                  <a:lnTo>
                    <a:pt x="80" y="135"/>
                  </a:lnTo>
                  <a:lnTo>
                    <a:pt x="76" y="135"/>
                  </a:lnTo>
                  <a:lnTo>
                    <a:pt x="76" y="131"/>
                  </a:lnTo>
                  <a:lnTo>
                    <a:pt x="72" y="131"/>
                  </a:lnTo>
                  <a:lnTo>
                    <a:pt x="72" y="127"/>
                  </a:lnTo>
                  <a:lnTo>
                    <a:pt x="68" y="127"/>
                  </a:lnTo>
                  <a:lnTo>
                    <a:pt x="68" y="131"/>
                  </a:lnTo>
                  <a:lnTo>
                    <a:pt x="64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4" y="115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56" y="111"/>
                  </a:lnTo>
                  <a:lnTo>
                    <a:pt x="56" y="107"/>
                  </a:lnTo>
                  <a:lnTo>
                    <a:pt x="52" y="107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1"/>
                  </a:lnTo>
                  <a:lnTo>
                    <a:pt x="44" y="87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32" y="67"/>
                  </a:lnTo>
                  <a:lnTo>
                    <a:pt x="32" y="71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40" y="67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36" y="55"/>
                  </a:lnTo>
                  <a:lnTo>
                    <a:pt x="32" y="55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60" y="63"/>
                  </a:lnTo>
                  <a:lnTo>
                    <a:pt x="56" y="63"/>
                  </a:lnTo>
                  <a:lnTo>
                    <a:pt x="56" y="67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5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7"/>
                  </a:lnTo>
                  <a:lnTo>
                    <a:pt x="56" y="87"/>
                  </a:lnTo>
                  <a:lnTo>
                    <a:pt x="56" y="91"/>
                  </a:lnTo>
                  <a:lnTo>
                    <a:pt x="56" y="95"/>
                  </a:lnTo>
                  <a:lnTo>
                    <a:pt x="60" y="95"/>
                  </a:lnTo>
                  <a:lnTo>
                    <a:pt x="64" y="99"/>
                  </a:lnTo>
                  <a:lnTo>
                    <a:pt x="64" y="103"/>
                  </a:lnTo>
                  <a:lnTo>
                    <a:pt x="64" y="107"/>
                  </a:lnTo>
                  <a:lnTo>
                    <a:pt x="68" y="111"/>
                  </a:lnTo>
                  <a:lnTo>
                    <a:pt x="68" y="115"/>
                  </a:lnTo>
                  <a:lnTo>
                    <a:pt x="72" y="115"/>
                  </a:lnTo>
                  <a:lnTo>
                    <a:pt x="72" y="119"/>
                  </a:lnTo>
                  <a:close/>
                  <a:moveTo>
                    <a:pt x="68" y="239"/>
                  </a:moveTo>
                  <a:lnTo>
                    <a:pt x="72" y="239"/>
                  </a:lnTo>
                  <a:lnTo>
                    <a:pt x="68" y="239"/>
                  </a:lnTo>
                  <a:lnTo>
                    <a:pt x="72" y="239"/>
                  </a:lnTo>
                  <a:lnTo>
                    <a:pt x="72" y="243"/>
                  </a:lnTo>
                  <a:lnTo>
                    <a:pt x="68" y="243"/>
                  </a:lnTo>
                  <a:lnTo>
                    <a:pt x="68" y="239"/>
                  </a:lnTo>
                  <a:close/>
                  <a:moveTo>
                    <a:pt x="80" y="40"/>
                  </a:moveTo>
                  <a:lnTo>
                    <a:pt x="80" y="44"/>
                  </a:lnTo>
                  <a:lnTo>
                    <a:pt x="76" y="44"/>
                  </a:lnTo>
                  <a:lnTo>
                    <a:pt x="80" y="40"/>
                  </a:lnTo>
                  <a:close/>
                  <a:moveTo>
                    <a:pt x="72" y="48"/>
                  </a:moveTo>
                  <a:lnTo>
                    <a:pt x="72" y="52"/>
                  </a:lnTo>
                  <a:lnTo>
                    <a:pt x="72" y="48"/>
                  </a:lnTo>
                  <a:close/>
                  <a:moveTo>
                    <a:pt x="28" y="243"/>
                  </a:moveTo>
                  <a:lnTo>
                    <a:pt x="28" y="247"/>
                  </a:lnTo>
                  <a:lnTo>
                    <a:pt x="24" y="243"/>
                  </a:lnTo>
                  <a:lnTo>
                    <a:pt x="28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89" name="Freeform 53">
              <a:extLst>
                <a:ext uri="{FF2B5EF4-FFF2-40B4-BE49-F238E27FC236}">
                  <a16:creationId xmlns:a16="http://schemas.microsoft.com/office/drawing/2014/main" xmlns="" id="{87FB013D-8296-4253-909F-CE71C7A7C24B}"/>
                </a:ext>
              </a:extLst>
            </p:cNvPr>
            <p:cNvSpPr>
              <a:spLocks noEditPoints="1"/>
            </p:cNvSpPr>
            <p:nvPr>
              <p:custDataLst>
                <p:tags r:id="rId53"/>
              </p:custDataLst>
            </p:nvPr>
          </p:nvSpPr>
          <p:spPr bwMode="gray">
            <a:xfrm>
              <a:off x="5156152" y="3686836"/>
              <a:ext cx="17797" cy="35594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90" name="Freeform 54">
              <a:extLst>
                <a:ext uri="{FF2B5EF4-FFF2-40B4-BE49-F238E27FC236}">
                  <a16:creationId xmlns:a16="http://schemas.microsoft.com/office/drawing/2014/main" xmlns="" id="{D87F8F4E-49BD-4AEB-A372-83E1E0144CC4}"/>
                </a:ext>
              </a:extLst>
            </p:cNvPr>
            <p:cNvSpPr>
              <a:spLocks noEditPoints="1"/>
            </p:cNvSpPr>
            <p:nvPr>
              <p:custDataLst>
                <p:tags r:id="rId54"/>
              </p:custDataLst>
            </p:nvPr>
          </p:nvSpPr>
          <p:spPr bwMode="gray">
            <a:xfrm>
              <a:off x="5328188" y="4076882"/>
              <a:ext cx="271400" cy="189832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91" name="Freeform 55">
              <a:extLst>
                <a:ext uri="{FF2B5EF4-FFF2-40B4-BE49-F238E27FC236}">
                  <a16:creationId xmlns:a16="http://schemas.microsoft.com/office/drawing/2014/main" xmlns="" id="{486D97DA-4168-48C8-8F76-CBC95077FAE1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gray">
            <a:xfrm>
              <a:off x="2802530" y="4248918"/>
              <a:ext cx="5932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92" name="Freeform 56">
              <a:extLst>
                <a:ext uri="{FF2B5EF4-FFF2-40B4-BE49-F238E27FC236}">
                  <a16:creationId xmlns:a16="http://schemas.microsoft.com/office/drawing/2014/main" xmlns="" id="{E41612D7-FC46-42C8-9651-BF34715A204D}"/>
                </a:ext>
              </a:extLst>
            </p:cNvPr>
            <p:cNvSpPr>
              <a:spLocks noEditPoints="1"/>
            </p:cNvSpPr>
            <p:nvPr>
              <p:custDataLst>
                <p:tags r:id="rId56"/>
              </p:custDataLst>
            </p:nvPr>
          </p:nvSpPr>
          <p:spPr bwMode="gray">
            <a:xfrm>
              <a:off x="2370958" y="4088747"/>
              <a:ext cx="34110" cy="7118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19" y="8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20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32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2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4" y="48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9" y="8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23" y="8"/>
                </a:cxn>
                <a:cxn ang="0">
                  <a:pos x="23" y="8"/>
                </a:cxn>
                <a:cxn ang="0">
                  <a:pos x="19" y="8"/>
                </a:cxn>
                <a:cxn ang="0">
                  <a:pos x="19" y="24"/>
                </a:cxn>
                <a:cxn ang="0">
                  <a:pos x="19" y="24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19" y="20"/>
                </a:cxn>
                <a:cxn ang="0">
                  <a:pos x="19" y="24"/>
                </a:cxn>
              </a:cxnLst>
              <a:rect l="0" t="0" r="r" b="b"/>
              <a:pathLst>
                <a:path w="23" h="48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28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  <a:moveTo>
                    <a:pt x="19" y="8"/>
                  </a:moveTo>
                  <a:lnTo>
                    <a:pt x="19" y="8"/>
                  </a:lnTo>
                  <a:lnTo>
                    <a:pt x="19" y="8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19" y="8"/>
                  </a:lnTo>
                  <a:lnTo>
                    <a:pt x="19" y="8"/>
                  </a:lnTo>
                  <a:close/>
                  <a:moveTo>
                    <a:pt x="19" y="24"/>
                  </a:move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0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4"/>
                  </a:lnTo>
                  <a:lnTo>
                    <a:pt x="19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93" name="Freeform 57">
              <a:extLst>
                <a:ext uri="{FF2B5EF4-FFF2-40B4-BE49-F238E27FC236}">
                  <a16:creationId xmlns:a16="http://schemas.microsoft.com/office/drawing/2014/main" xmlns="" id="{E6450F54-3D0A-4519-BD94-6A1AF81FBD65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gray">
            <a:xfrm>
              <a:off x="2919692" y="3692768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94" name="Freeform 58">
              <a:extLst>
                <a:ext uri="{FF2B5EF4-FFF2-40B4-BE49-F238E27FC236}">
                  <a16:creationId xmlns:a16="http://schemas.microsoft.com/office/drawing/2014/main" xmlns="" id="{50C5B22E-3F91-44D9-B753-5946CF268785}"/>
                </a:ext>
              </a:extLst>
            </p:cNvPr>
            <p:cNvSpPr>
              <a:spLocks noEditPoints="1"/>
            </p:cNvSpPr>
            <p:nvPr>
              <p:custDataLst>
                <p:tags r:id="rId58"/>
              </p:custDataLst>
            </p:nvPr>
          </p:nvSpPr>
          <p:spPr bwMode="gray">
            <a:xfrm>
              <a:off x="1211202" y="1840422"/>
              <a:ext cx="1981373" cy="1573530"/>
            </a:xfrm>
            <a:custGeom>
              <a:avLst/>
              <a:gdLst/>
              <a:ahLst/>
              <a:cxnLst>
                <a:cxn ang="0">
                  <a:pos x="734" y="595"/>
                </a:cxn>
                <a:cxn ang="0">
                  <a:pos x="929" y="858"/>
                </a:cxn>
                <a:cxn ang="0">
                  <a:pos x="1041" y="610"/>
                </a:cxn>
                <a:cxn ang="0">
                  <a:pos x="1164" y="650"/>
                </a:cxn>
                <a:cxn ang="0">
                  <a:pos x="1260" y="774"/>
                </a:cxn>
                <a:cxn ang="0">
                  <a:pos x="1109" y="898"/>
                </a:cxn>
                <a:cxn ang="0">
                  <a:pos x="1156" y="1010"/>
                </a:cxn>
                <a:cxn ang="0">
                  <a:pos x="877" y="1045"/>
                </a:cxn>
                <a:cxn ang="0">
                  <a:pos x="267" y="890"/>
                </a:cxn>
                <a:cxn ang="0">
                  <a:pos x="187" y="790"/>
                </a:cxn>
                <a:cxn ang="0">
                  <a:pos x="44" y="415"/>
                </a:cxn>
                <a:cxn ang="0">
                  <a:pos x="223" y="403"/>
                </a:cxn>
                <a:cxn ang="0">
                  <a:pos x="506" y="471"/>
                </a:cxn>
                <a:cxn ang="0">
                  <a:pos x="678" y="463"/>
                </a:cxn>
                <a:cxn ang="0">
                  <a:pos x="738" y="387"/>
                </a:cxn>
                <a:cxn ang="0">
                  <a:pos x="905" y="427"/>
                </a:cxn>
                <a:cxn ang="0">
                  <a:pos x="163" y="798"/>
                </a:cxn>
                <a:cxn ang="0">
                  <a:pos x="554" y="215"/>
                </a:cxn>
                <a:cxn ang="0">
                  <a:pos x="478" y="447"/>
                </a:cxn>
                <a:cxn ang="0">
                  <a:pos x="215" y="870"/>
                </a:cxn>
                <a:cxn ang="0">
                  <a:pos x="718" y="120"/>
                </a:cxn>
                <a:cxn ang="0">
                  <a:pos x="794" y="88"/>
                </a:cxn>
                <a:cxn ang="0">
                  <a:pos x="606" y="156"/>
                </a:cxn>
                <a:cxn ang="0">
                  <a:pos x="439" y="183"/>
                </a:cxn>
                <a:cxn ang="0">
                  <a:pos x="307" y="199"/>
                </a:cxn>
                <a:cxn ang="0">
                  <a:pos x="821" y="259"/>
                </a:cxn>
                <a:cxn ang="0">
                  <a:pos x="762" y="219"/>
                </a:cxn>
                <a:cxn ang="0">
                  <a:pos x="387" y="223"/>
                </a:cxn>
                <a:cxn ang="0">
                  <a:pos x="419" y="267"/>
                </a:cxn>
                <a:cxn ang="0">
                  <a:pos x="602" y="211"/>
                </a:cxn>
                <a:cxn ang="0">
                  <a:pos x="702" y="227"/>
                </a:cxn>
                <a:cxn ang="0">
                  <a:pos x="331" y="279"/>
                </a:cxn>
                <a:cxn ang="0">
                  <a:pos x="654" y="307"/>
                </a:cxn>
                <a:cxn ang="0">
                  <a:pos x="1045" y="555"/>
                </a:cxn>
                <a:cxn ang="0">
                  <a:pos x="1005" y="415"/>
                </a:cxn>
                <a:cxn ang="0">
                  <a:pos x="782" y="363"/>
                </a:cxn>
                <a:cxn ang="0">
                  <a:pos x="857" y="311"/>
                </a:cxn>
                <a:cxn ang="0">
                  <a:pos x="993" y="319"/>
                </a:cxn>
                <a:cxn ang="0">
                  <a:pos x="1061" y="375"/>
                </a:cxn>
                <a:cxn ang="0">
                  <a:pos x="1113" y="431"/>
                </a:cxn>
                <a:cxn ang="0">
                  <a:pos x="1200" y="487"/>
                </a:cxn>
                <a:cxn ang="0">
                  <a:pos x="1105" y="511"/>
                </a:cxn>
                <a:cxn ang="0">
                  <a:pos x="945" y="311"/>
                </a:cxn>
                <a:cxn ang="0">
                  <a:pos x="391" y="299"/>
                </a:cxn>
                <a:cxn ang="0">
                  <a:pos x="602" y="387"/>
                </a:cxn>
                <a:cxn ang="0">
                  <a:pos x="423" y="375"/>
                </a:cxn>
                <a:cxn ang="0">
                  <a:pos x="929" y="395"/>
                </a:cxn>
                <a:cxn ang="0">
                  <a:pos x="941" y="431"/>
                </a:cxn>
                <a:cxn ang="0">
                  <a:pos x="841" y="511"/>
                </a:cxn>
                <a:cxn ang="0">
                  <a:pos x="881" y="591"/>
                </a:cxn>
                <a:cxn ang="0">
                  <a:pos x="933" y="746"/>
                </a:cxn>
                <a:cxn ang="0">
                  <a:pos x="191" y="818"/>
                </a:cxn>
                <a:cxn ang="0">
                  <a:pos x="1296" y="902"/>
                </a:cxn>
                <a:cxn ang="0">
                  <a:pos x="263" y="906"/>
                </a:cxn>
                <a:cxn ang="0">
                  <a:pos x="1192" y="962"/>
                </a:cxn>
                <a:cxn ang="0">
                  <a:pos x="845" y="60"/>
                </a:cxn>
                <a:cxn ang="0">
                  <a:pos x="885" y="32"/>
                </a:cxn>
                <a:cxn ang="0">
                  <a:pos x="1077" y="4"/>
                </a:cxn>
                <a:cxn ang="0">
                  <a:pos x="1141" y="52"/>
                </a:cxn>
                <a:cxn ang="0">
                  <a:pos x="957" y="124"/>
                </a:cxn>
                <a:cxn ang="0">
                  <a:pos x="917" y="215"/>
                </a:cxn>
                <a:cxn ang="0">
                  <a:pos x="861" y="175"/>
                </a:cxn>
                <a:cxn ang="0">
                  <a:pos x="837" y="92"/>
                </a:cxn>
              </a:cxnLst>
              <a:rect l="0" t="0" r="r" b="b"/>
              <a:pathLst>
                <a:path w="1336" h="1061">
                  <a:moveTo>
                    <a:pt x="642" y="271"/>
                  </a:moveTo>
                  <a:lnTo>
                    <a:pt x="638" y="271"/>
                  </a:lnTo>
                  <a:lnTo>
                    <a:pt x="642" y="267"/>
                  </a:lnTo>
                  <a:lnTo>
                    <a:pt x="642" y="271"/>
                  </a:lnTo>
                  <a:close/>
                  <a:moveTo>
                    <a:pt x="654" y="275"/>
                  </a:moveTo>
                  <a:lnTo>
                    <a:pt x="654" y="279"/>
                  </a:lnTo>
                  <a:lnTo>
                    <a:pt x="650" y="283"/>
                  </a:lnTo>
                  <a:lnTo>
                    <a:pt x="646" y="283"/>
                  </a:lnTo>
                  <a:lnTo>
                    <a:pt x="642" y="283"/>
                  </a:lnTo>
                  <a:lnTo>
                    <a:pt x="638" y="283"/>
                  </a:lnTo>
                  <a:lnTo>
                    <a:pt x="634" y="283"/>
                  </a:lnTo>
                  <a:lnTo>
                    <a:pt x="630" y="283"/>
                  </a:lnTo>
                  <a:lnTo>
                    <a:pt x="630" y="279"/>
                  </a:lnTo>
                  <a:lnTo>
                    <a:pt x="634" y="279"/>
                  </a:lnTo>
                  <a:lnTo>
                    <a:pt x="638" y="279"/>
                  </a:lnTo>
                  <a:lnTo>
                    <a:pt x="642" y="279"/>
                  </a:lnTo>
                  <a:lnTo>
                    <a:pt x="646" y="279"/>
                  </a:lnTo>
                  <a:lnTo>
                    <a:pt x="646" y="275"/>
                  </a:lnTo>
                  <a:lnTo>
                    <a:pt x="650" y="275"/>
                  </a:lnTo>
                  <a:lnTo>
                    <a:pt x="654" y="275"/>
                  </a:lnTo>
                  <a:close/>
                  <a:moveTo>
                    <a:pt x="817" y="511"/>
                  </a:moveTo>
                  <a:lnTo>
                    <a:pt x="813" y="511"/>
                  </a:lnTo>
                  <a:lnTo>
                    <a:pt x="813" y="515"/>
                  </a:lnTo>
                  <a:lnTo>
                    <a:pt x="809" y="515"/>
                  </a:lnTo>
                  <a:lnTo>
                    <a:pt x="805" y="515"/>
                  </a:lnTo>
                  <a:lnTo>
                    <a:pt x="801" y="515"/>
                  </a:lnTo>
                  <a:lnTo>
                    <a:pt x="797" y="511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86" y="507"/>
                  </a:lnTo>
                  <a:lnTo>
                    <a:pt x="786" y="503"/>
                  </a:lnTo>
                  <a:lnTo>
                    <a:pt x="782" y="503"/>
                  </a:lnTo>
                  <a:lnTo>
                    <a:pt x="778" y="499"/>
                  </a:lnTo>
                  <a:lnTo>
                    <a:pt x="774" y="499"/>
                  </a:lnTo>
                  <a:lnTo>
                    <a:pt x="770" y="499"/>
                  </a:lnTo>
                  <a:lnTo>
                    <a:pt x="774" y="499"/>
                  </a:lnTo>
                  <a:lnTo>
                    <a:pt x="774" y="503"/>
                  </a:lnTo>
                  <a:lnTo>
                    <a:pt x="770" y="499"/>
                  </a:lnTo>
                  <a:lnTo>
                    <a:pt x="770" y="503"/>
                  </a:lnTo>
                  <a:lnTo>
                    <a:pt x="766" y="503"/>
                  </a:lnTo>
                  <a:lnTo>
                    <a:pt x="766" y="499"/>
                  </a:lnTo>
                  <a:lnTo>
                    <a:pt x="770" y="499"/>
                  </a:lnTo>
                  <a:lnTo>
                    <a:pt x="766" y="499"/>
                  </a:lnTo>
                  <a:lnTo>
                    <a:pt x="762" y="499"/>
                  </a:lnTo>
                  <a:lnTo>
                    <a:pt x="758" y="499"/>
                  </a:lnTo>
                  <a:lnTo>
                    <a:pt x="754" y="499"/>
                  </a:lnTo>
                  <a:lnTo>
                    <a:pt x="750" y="499"/>
                  </a:lnTo>
                  <a:lnTo>
                    <a:pt x="754" y="503"/>
                  </a:lnTo>
                  <a:lnTo>
                    <a:pt x="758" y="503"/>
                  </a:lnTo>
                  <a:lnTo>
                    <a:pt x="754" y="503"/>
                  </a:lnTo>
                  <a:lnTo>
                    <a:pt x="754" y="499"/>
                  </a:lnTo>
                  <a:lnTo>
                    <a:pt x="758" y="499"/>
                  </a:lnTo>
                  <a:lnTo>
                    <a:pt x="762" y="499"/>
                  </a:lnTo>
                  <a:lnTo>
                    <a:pt x="770" y="503"/>
                  </a:lnTo>
                  <a:lnTo>
                    <a:pt x="774" y="503"/>
                  </a:lnTo>
                  <a:lnTo>
                    <a:pt x="778" y="503"/>
                  </a:lnTo>
                  <a:lnTo>
                    <a:pt x="778" y="507"/>
                  </a:lnTo>
                  <a:lnTo>
                    <a:pt x="782" y="511"/>
                  </a:lnTo>
                  <a:lnTo>
                    <a:pt x="786" y="515"/>
                  </a:lnTo>
                  <a:lnTo>
                    <a:pt x="790" y="515"/>
                  </a:lnTo>
                  <a:lnTo>
                    <a:pt x="794" y="515"/>
                  </a:lnTo>
                  <a:lnTo>
                    <a:pt x="797" y="515"/>
                  </a:lnTo>
                  <a:lnTo>
                    <a:pt x="801" y="515"/>
                  </a:lnTo>
                  <a:lnTo>
                    <a:pt x="805" y="515"/>
                  </a:lnTo>
                  <a:lnTo>
                    <a:pt x="809" y="515"/>
                  </a:lnTo>
                  <a:lnTo>
                    <a:pt x="813" y="515"/>
                  </a:lnTo>
                  <a:lnTo>
                    <a:pt x="817" y="519"/>
                  </a:lnTo>
                  <a:lnTo>
                    <a:pt x="817" y="523"/>
                  </a:lnTo>
                  <a:lnTo>
                    <a:pt x="813" y="523"/>
                  </a:lnTo>
                  <a:lnTo>
                    <a:pt x="809" y="531"/>
                  </a:lnTo>
                  <a:lnTo>
                    <a:pt x="809" y="535"/>
                  </a:lnTo>
                  <a:lnTo>
                    <a:pt x="805" y="535"/>
                  </a:lnTo>
                  <a:lnTo>
                    <a:pt x="805" y="539"/>
                  </a:lnTo>
                  <a:lnTo>
                    <a:pt x="801" y="543"/>
                  </a:lnTo>
                  <a:lnTo>
                    <a:pt x="801" y="547"/>
                  </a:lnTo>
                  <a:lnTo>
                    <a:pt x="797" y="547"/>
                  </a:lnTo>
                  <a:lnTo>
                    <a:pt x="794" y="547"/>
                  </a:lnTo>
                  <a:lnTo>
                    <a:pt x="790" y="551"/>
                  </a:lnTo>
                  <a:lnTo>
                    <a:pt x="786" y="551"/>
                  </a:lnTo>
                  <a:lnTo>
                    <a:pt x="786" y="547"/>
                  </a:lnTo>
                  <a:lnTo>
                    <a:pt x="782" y="547"/>
                  </a:lnTo>
                  <a:lnTo>
                    <a:pt x="782" y="543"/>
                  </a:lnTo>
                  <a:lnTo>
                    <a:pt x="782" y="547"/>
                  </a:lnTo>
                  <a:lnTo>
                    <a:pt x="786" y="547"/>
                  </a:lnTo>
                  <a:lnTo>
                    <a:pt x="786" y="551"/>
                  </a:lnTo>
                  <a:lnTo>
                    <a:pt x="782" y="551"/>
                  </a:lnTo>
                  <a:lnTo>
                    <a:pt x="782" y="547"/>
                  </a:lnTo>
                  <a:lnTo>
                    <a:pt x="778" y="547"/>
                  </a:lnTo>
                  <a:lnTo>
                    <a:pt x="778" y="551"/>
                  </a:lnTo>
                  <a:lnTo>
                    <a:pt x="778" y="547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0" y="547"/>
                  </a:lnTo>
                  <a:lnTo>
                    <a:pt x="774" y="547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0" y="547"/>
                  </a:lnTo>
                  <a:lnTo>
                    <a:pt x="766" y="547"/>
                  </a:lnTo>
                  <a:lnTo>
                    <a:pt x="770" y="551"/>
                  </a:lnTo>
                  <a:lnTo>
                    <a:pt x="774" y="555"/>
                  </a:lnTo>
                  <a:lnTo>
                    <a:pt x="770" y="555"/>
                  </a:lnTo>
                  <a:lnTo>
                    <a:pt x="770" y="559"/>
                  </a:lnTo>
                  <a:lnTo>
                    <a:pt x="766" y="559"/>
                  </a:lnTo>
                  <a:lnTo>
                    <a:pt x="762" y="555"/>
                  </a:lnTo>
                  <a:lnTo>
                    <a:pt x="762" y="559"/>
                  </a:lnTo>
                  <a:lnTo>
                    <a:pt x="758" y="559"/>
                  </a:lnTo>
                  <a:lnTo>
                    <a:pt x="754" y="559"/>
                  </a:lnTo>
                  <a:lnTo>
                    <a:pt x="750" y="559"/>
                  </a:lnTo>
                  <a:lnTo>
                    <a:pt x="750" y="555"/>
                  </a:lnTo>
                  <a:lnTo>
                    <a:pt x="746" y="555"/>
                  </a:lnTo>
                  <a:lnTo>
                    <a:pt x="742" y="555"/>
                  </a:lnTo>
                  <a:lnTo>
                    <a:pt x="738" y="555"/>
                  </a:lnTo>
                  <a:lnTo>
                    <a:pt x="734" y="555"/>
                  </a:lnTo>
                  <a:lnTo>
                    <a:pt x="730" y="555"/>
                  </a:lnTo>
                  <a:lnTo>
                    <a:pt x="730" y="551"/>
                  </a:lnTo>
                  <a:lnTo>
                    <a:pt x="726" y="551"/>
                  </a:lnTo>
                  <a:lnTo>
                    <a:pt x="722" y="551"/>
                  </a:lnTo>
                  <a:lnTo>
                    <a:pt x="718" y="547"/>
                  </a:lnTo>
                  <a:lnTo>
                    <a:pt x="714" y="543"/>
                  </a:lnTo>
                  <a:lnTo>
                    <a:pt x="718" y="547"/>
                  </a:lnTo>
                  <a:lnTo>
                    <a:pt x="718" y="551"/>
                  </a:lnTo>
                  <a:lnTo>
                    <a:pt x="714" y="551"/>
                  </a:lnTo>
                  <a:lnTo>
                    <a:pt x="718" y="551"/>
                  </a:lnTo>
                  <a:lnTo>
                    <a:pt x="718" y="555"/>
                  </a:lnTo>
                  <a:lnTo>
                    <a:pt x="722" y="555"/>
                  </a:lnTo>
                  <a:lnTo>
                    <a:pt x="722" y="551"/>
                  </a:lnTo>
                  <a:lnTo>
                    <a:pt x="718" y="551"/>
                  </a:lnTo>
                  <a:lnTo>
                    <a:pt x="722" y="551"/>
                  </a:lnTo>
                  <a:lnTo>
                    <a:pt x="726" y="551"/>
                  </a:lnTo>
                  <a:lnTo>
                    <a:pt x="730" y="555"/>
                  </a:lnTo>
                  <a:lnTo>
                    <a:pt x="734" y="555"/>
                  </a:lnTo>
                  <a:lnTo>
                    <a:pt x="738" y="555"/>
                  </a:lnTo>
                  <a:lnTo>
                    <a:pt x="738" y="559"/>
                  </a:lnTo>
                  <a:lnTo>
                    <a:pt x="734" y="559"/>
                  </a:lnTo>
                  <a:lnTo>
                    <a:pt x="738" y="559"/>
                  </a:lnTo>
                  <a:lnTo>
                    <a:pt x="742" y="559"/>
                  </a:lnTo>
                  <a:lnTo>
                    <a:pt x="746" y="555"/>
                  </a:lnTo>
                  <a:lnTo>
                    <a:pt x="746" y="559"/>
                  </a:lnTo>
                  <a:lnTo>
                    <a:pt x="750" y="563"/>
                  </a:lnTo>
                  <a:lnTo>
                    <a:pt x="754" y="563"/>
                  </a:lnTo>
                  <a:lnTo>
                    <a:pt x="758" y="563"/>
                  </a:lnTo>
                  <a:lnTo>
                    <a:pt x="762" y="567"/>
                  </a:lnTo>
                  <a:lnTo>
                    <a:pt x="762" y="571"/>
                  </a:lnTo>
                  <a:lnTo>
                    <a:pt x="762" y="575"/>
                  </a:lnTo>
                  <a:lnTo>
                    <a:pt x="758" y="575"/>
                  </a:lnTo>
                  <a:lnTo>
                    <a:pt x="754" y="575"/>
                  </a:lnTo>
                  <a:lnTo>
                    <a:pt x="754" y="579"/>
                  </a:lnTo>
                  <a:lnTo>
                    <a:pt x="750" y="579"/>
                  </a:lnTo>
                  <a:lnTo>
                    <a:pt x="746" y="579"/>
                  </a:lnTo>
                  <a:lnTo>
                    <a:pt x="742" y="579"/>
                  </a:lnTo>
                  <a:lnTo>
                    <a:pt x="738" y="579"/>
                  </a:lnTo>
                  <a:lnTo>
                    <a:pt x="734" y="579"/>
                  </a:lnTo>
                  <a:lnTo>
                    <a:pt x="738" y="583"/>
                  </a:lnTo>
                  <a:lnTo>
                    <a:pt x="742" y="583"/>
                  </a:lnTo>
                  <a:lnTo>
                    <a:pt x="742" y="587"/>
                  </a:lnTo>
                  <a:lnTo>
                    <a:pt x="738" y="583"/>
                  </a:lnTo>
                  <a:lnTo>
                    <a:pt x="738" y="587"/>
                  </a:lnTo>
                  <a:lnTo>
                    <a:pt x="734" y="587"/>
                  </a:lnTo>
                  <a:lnTo>
                    <a:pt x="730" y="587"/>
                  </a:lnTo>
                  <a:lnTo>
                    <a:pt x="730" y="591"/>
                  </a:lnTo>
                  <a:lnTo>
                    <a:pt x="734" y="591"/>
                  </a:lnTo>
                  <a:lnTo>
                    <a:pt x="734" y="595"/>
                  </a:lnTo>
                  <a:lnTo>
                    <a:pt x="730" y="595"/>
                  </a:lnTo>
                  <a:lnTo>
                    <a:pt x="730" y="591"/>
                  </a:lnTo>
                  <a:lnTo>
                    <a:pt x="726" y="591"/>
                  </a:lnTo>
                  <a:lnTo>
                    <a:pt x="730" y="591"/>
                  </a:lnTo>
                  <a:lnTo>
                    <a:pt x="730" y="595"/>
                  </a:lnTo>
                  <a:lnTo>
                    <a:pt x="726" y="595"/>
                  </a:lnTo>
                  <a:lnTo>
                    <a:pt x="726" y="599"/>
                  </a:lnTo>
                  <a:lnTo>
                    <a:pt x="722" y="599"/>
                  </a:lnTo>
                  <a:lnTo>
                    <a:pt x="722" y="603"/>
                  </a:lnTo>
                  <a:lnTo>
                    <a:pt x="718" y="603"/>
                  </a:lnTo>
                  <a:lnTo>
                    <a:pt x="718" y="599"/>
                  </a:lnTo>
                  <a:lnTo>
                    <a:pt x="718" y="603"/>
                  </a:lnTo>
                  <a:lnTo>
                    <a:pt x="722" y="603"/>
                  </a:lnTo>
                  <a:lnTo>
                    <a:pt x="722" y="606"/>
                  </a:lnTo>
                  <a:lnTo>
                    <a:pt x="718" y="606"/>
                  </a:lnTo>
                  <a:lnTo>
                    <a:pt x="714" y="610"/>
                  </a:lnTo>
                  <a:lnTo>
                    <a:pt x="710" y="610"/>
                  </a:lnTo>
                  <a:lnTo>
                    <a:pt x="710" y="614"/>
                  </a:lnTo>
                  <a:lnTo>
                    <a:pt x="714" y="614"/>
                  </a:lnTo>
                  <a:lnTo>
                    <a:pt x="710" y="618"/>
                  </a:lnTo>
                  <a:lnTo>
                    <a:pt x="710" y="622"/>
                  </a:lnTo>
                  <a:lnTo>
                    <a:pt x="706" y="626"/>
                  </a:lnTo>
                  <a:lnTo>
                    <a:pt x="706" y="630"/>
                  </a:lnTo>
                  <a:lnTo>
                    <a:pt x="702" y="634"/>
                  </a:lnTo>
                  <a:lnTo>
                    <a:pt x="702" y="638"/>
                  </a:lnTo>
                  <a:lnTo>
                    <a:pt x="702" y="642"/>
                  </a:lnTo>
                  <a:lnTo>
                    <a:pt x="702" y="646"/>
                  </a:lnTo>
                  <a:lnTo>
                    <a:pt x="698" y="646"/>
                  </a:lnTo>
                  <a:lnTo>
                    <a:pt x="698" y="650"/>
                  </a:lnTo>
                  <a:lnTo>
                    <a:pt x="698" y="654"/>
                  </a:lnTo>
                  <a:lnTo>
                    <a:pt x="698" y="658"/>
                  </a:lnTo>
                  <a:lnTo>
                    <a:pt x="698" y="662"/>
                  </a:lnTo>
                  <a:lnTo>
                    <a:pt x="702" y="662"/>
                  </a:lnTo>
                  <a:lnTo>
                    <a:pt x="702" y="666"/>
                  </a:lnTo>
                  <a:lnTo>
                    <a:pt x="698" y="666"/>
                  </a:lnTo>
                  <a:lnTo>
                    <a:pt x="698" y="670"/>
                  </a:lnTo>
                  <a:lnTo>
                    <a:pt x="702" y="674"/>
                  </a:lnTo>
                  <a:lnTo>
                    <a:pt x="702" y="678"/>
                  </a:lnTo>
                  <a:lnTo>
                    <a:pt x="706" y="678"/>
                  </a:lnTo>
                  <a:lnTo>
                    <a:pt x="706" y="682"/>
                  </a:lnTo>
                  <a:lnTo>
                    <a:pt x="706" y="686"/>
                  </a:lnTo>
                  <a:lnTo>
                    <a:pt x="706" y="690"/>
                  </a:lnTo>
                  <a:lnTo>
                    <a:pt x="706" y="686"/>
                  </a:lnTo>
                  <a:lnTo>
                    <a:pt x="706" y="682"/>
                  </a:lnTo>
                  <a:lnTo>
                    <a:pt x="710" y="678"/>
                  </a:lnTo>
                  <a:lnTo>
                    <a:pt x="714" y="678"/>
                  </a:lnTo>
                  <a:lnTo>
                    <a:pt x="718" y="678"/>
                  </a:lnTo>
                  <a:lnTo>
                    <a:pt x="722" y="678"/>
                  </a:lnTo>
                  <a:lnTo>
                    <a:pt x="726" y="678"/>
                  </a:lnTo>
                  <a:lnTo>
                    <a:pt x="726" y="682"/>
                  </a:lnTo>
                  <a:lnTo>
                    <a:pt x="726" y="686"/>
                  </a:lnTo>
                  <a:lnTo>
                    <a:pt x="726" y="690"/>
                  </a:lnTo>
                  <a:lnTo>
                    <a:pt x="730" y="694"/>
                  </a:lnTo>
                  <a:lnTo>
                    <a:pt x="730" y="698"/>
                  </a:lnTo>
                  <a:lnTo>
                    <a:pt x="730" y="702"/>
                  </a:lnTo>
                  <a:lnTo>
                    <a:pt x="734" y="706"/>
                  </a:lnTo>
                  <a:lnTo>
                    <a:pt x="734" y="710"/>
                  </a:lnTo>
                  <a:lnTo>
                    <a:pt x="734" y="714"/>
                  </a:lnTo>
                  <a:lnTo>
                    <a:pt x="734" y="718"/>
                  </a:lnTo>
                  <a:lnTo>
                    <a:pt x="730" y="722"/>
                  </a:lnTo>
                  <a:lnTo>
                    <a:pt x="734" y="722"/>
                  </a:lnTo>
                  <a:lnTo>
                    <a:pt x="734" y="718"/>
                  </a:lnTo>
                  <a:lnTo>
                    <a:pt x="738" y="718"/>
                  </a:lnTo>
                  <a:lnTo>
                    <a:pt x="738" y="722"/>
                  </a:lnTo>
                  <a:lnTo>
                    <a:pt x="734" y="722"/>
                  </a:lnTo>
                  <a:lnTo>
                    <a:pt x="738" y="722"/>
                  </a:lnTo>
                  <a:lnTo>
                    <a:pt x="738" y="718"/>
                  </a:lnTo>
                  <a:lnTo>
                    <a:pt x="742" y="718"/>
                  </a:lnTo>
                  <a:lnTo>
                    <a:pt x="746" y="718"/>
                  </a:lnTo>
                  <a:lnTo>
                    <a:pt x="754" y="714"/>
                  </a:lnTo>
                  <a:lnTo>
                    <a:pt x="758" y="714"/>
                  </a:lnTo>
                  <a:lnTo>
                    <a:pt x="762" y="714"/>
                  </a:lnTo>
                  <a:lnTo>
                    <a:pt x="766" y="714"/>
                  </a:lnTo>
                  <a:lnTo>
                    <a:pt x="766" y="718"/>
                  </a:lnTo>
                  <a:lnTo>
                    <a:pt x="770" y="718"/>
                  </a:lnTo>
                  <a:lnTo>
                    <a:pt x="774" y="718"/>
                  </a:lnTo>
                  <a:lnTo>
                    <a:pt x="774" y="722"/>
                  </a:lnTo>
                  <a:lnTo>
                    <a:pt x="778" y="722"/>
                  </a:lnTo>
                  <a:lnTo>
                    <a:pt x="782" y="722"/>
                  </a:lnTo>
                  <a:lnTo>
                    <a:pt x="786" y="722"/>
                  </a:lnTo>
                  <a:lnTo>
                    <a:pt x="790" y="726"/>
                  </a:lnTo>
                  <a:lnTo>
                    <a:pt x="794" y="726"/>
                  </a:lnTo>
                  <a:lnTo>
                    <a:pt x="794" y="730"/>
                  </a:lnTo>
                  <a:lnTo>
                    <a:pt x="797" y="730"/>
                  </a:lnTo>
                  <a:lnTo>
                    <a:pt x="797" y="734"/>
                  </a:lnTo>
                  <a:lnTo>
                    <a:pt x="801" y="734"/>
                  </a:lnTo>
                  <a:lnTo>
                    <a:pt x="805" y="738"/>
                  </a:lnTo>
                  <a:lnTo>
                    <a:pt x="809" y="742"/>
                  </a:lnTo>
                  <a:lnTo>
                    <a:pt x="813" y="746"/>
                  </a:lnTo>
                  <a:lnTo>
                    <a:pt x="817" y="746"/>
                  </a:lnTo>
                  <a:lnTo>
                    <a:pt x="821" y="746"/>
                  </a:lnTo>
                  <a:lnTo>
                    <a:pt x="825" y="746"/>
                  </a:lnTo>
                  <a:lnTo>
                    <a:pt x="825" y="750"/>
                  </a:lnTo>
                  <a:lnTo>
                    <a:pt x="829" y="750"/>
                  </a:lnTo>
                  <a:lnTo>
                    <a:pt x="833" y="750"/>
                  </a:lnTo>
                  <a:lnTo>
                    <a:pt x="837" y="754"/>
                  </a:lnTo>
                  <a:lnTo>
                    <a:pt x="841" y="758"/>
                  </a:lnTo>
                  <a:lnTo>
                    <a:pt x="845" y="758"/>
                  </a:lnTo>
                  <a:lnTo>
                    <a:pt x="845" y="762"/>
                  </a:lnTo>
                  <a:lnTo>
                    <a:pt x="841" y="762"/>
                  </a:lnTo>
                  <a:lnTo>
                    <a:pt x="841" y="766"/>
                  </a:lnTo>
                  <a:lnTo>
                    <a:pt x="841" y="762"/>
                  </a:lnTo>
                  <a:lnTo>
                    <a:pt x="845" y="762"/>
                  </a:lnTo>
                  <a:lnTo>
                    <a:pt x="849" y="762"/>
                  </a:lnTo>
                  <a:lnTo>
                    <a:pt x="853" y="762"/>
                  </a:lnTo>
                  <a:lnTo>
                    <a:pt x="857" y="762"/>
                  </a:lnTo>
                  <a:lnTo>
                    <a:pt x="861" y="762"/>
                  </a:lnTo>
                  <a:lnTo>
                    <a:pt x="861" y="758"/>
                  </a:lnTo>
                  <a:lnTo>
                    <a:pt x="865" y="758"/>
                  </a:lnTo>
                  <a:lnTo>
                    <a:pt x="869" y="762"/>
                  </a:lnTo>
                  <a:lnTo>
                    <a:pt x="865" y="762"/>
                  </a:lnTo>
                  <a:lnTo>
                    <a:pt x="869" y="762"/>
                  </a:lnTo>
                  <a:lnTo>
                    <a:pt x="873" y="762"/>
                  </a:lnTo>
                  <a:lnTo>
                    <a:pt x="877" y="762"/>
                  </a:lnTo>
                  <a:lnTo>
                    <a:pt x="881" y="762"/>
                  </a:lnTo>
                  <a:lnTo>
                    <a:pt x="885" y="762"/>
                  </a:lnTo>
                  <a:lnTo>
                    <a:pt x="885" y="766"/>
                  </a:lnTo>
                  <a:lnTo>
                    <a:pt x="889" y="766"/>
                  </a:lnTo>
                  <a:lnTo>
                    <a:pt x="889" y="762"/>
                  </a:lnTo>
                  <a:lnTo>
                    <a:pt x="889" y="766"/>
                  </a:lnTo>
                  <a:lnTo>
                    <a:pt x="889" y="770"/>
                  </a:lnTo>
                  <a:lnTo>
                    <a:pt x="889" y="778"/>
                  </a:lnTo>
                  <a:lnTo>
                    <a:pt x="885" y="782"/>
                  </a:lnTo>
                  <a:lnTo>
                    <a:pt x="885" y="786"/>
                  </a:lnTo>
                  <a:lnTo>
                    <a:pt x="889" y="786"/>
                  </a:lnTo>
                  <a:lnTo>
                    <a:pt x="889" y="790"/>
                  </a:lnTo>
                  <a:lnTo>
                    <a:pt x="889" y="794"/>
                  </a:lnTo>
                  <a:lnTo>
                    <a:pt x="889" y="798"/>
                  </a:lnTo>
                  <a:lnTo>
                    <a:pt x="889" y="802"/>
                  </a:lnTo>
                  <a:lnTo>
                    <a:pt x="889" y="806"/>
                  </a:lnTo>
                  <a:lnTo>
                    <a:pt x="889" y="810"/>
                  </a:lnTo>
                  <a:lnTo>
                    <a:pt x="889" y="814"/>
                  </a:lnTo>
                  <a:lnTo>
                    <a:pt x="893" y="818"/>
                  </a:lnTo>
                  <a:lnTo>
                    <a:pt x="897" y="822"/>
                  </a:lnTo>
                  <a:lnTo>
                    <a:pt x="897" y="826"/>
                  </a:lnTo>
                  <a:lnTo>
                    <a:pt x="901" y="826"/>
                  </a:lnTo>
                  <a:lnTo>
                    <a:pt x="901" y="830"/>
                  </a:lnTo>
                  <a:lnTo>
                    <a:pt x="897" y="830"/>
                  </a:lnTo>
                  <a:lnTo>
                    <a:pt x="893" y="830"/>
                  </a:lnTo>
                  <a:lnTo>
                    <a:pt x="897" y="830"/>
                  </a:lnTo>
                  <a:lnTo>
                    <a:pt x="901" y="830"/>
                  </a:lnTo>
                  <a:lnTo>
                    <a:pt x="901" y="834"/>
                  </a:lnTo>
                  <a:lnTo>
                    <a:pt x="905" y="834"/>
                  </a:lnTo>
                  <a:lnTo>
                    <a:pt x="909" y="834"/>
                  </a:lnTo>
                  <a:lnTo>
                    <a:pt x="909" y="838"/>
                  </a:lnTo>
                  <a:lnTo>
                    <a:pt x="913" y="842"/>
                  </a:lnTo>
                  <a:lnTo>
                    <a:pt x="913" y="846"/>
                  </a:lnTo>
                  <a:lnTo>
                    <a:pt x="917" y="846"/>
                  </a:lnTo>
                  <a:lnTo>
                    <a:pt x="917" y="850"/>
                  </a:lnTo>
                  <a:lnTo>
                    <a:pt x="913" y="850"/>
                  </a:lnTo>
                  <a:lnTo>
                    <a:pt x="913" y="854"/>
                  </a:lnTo>
                  <a:lnTo>
                    <a:pt x="909" y="854"/>
                  </a:lnTo>
                  <a:lnTo>
                    <a:pt x="909" y="858"/>
                  </a:lnTo>
                  <a:lnTo>
                    <a:pt x="909" y="854"/>
                  </a:lnTo>
                  <a:lnTo>
                    <a:pt x="913" y="854"/>
                  </a:lnTo>
                  <a:lnTo>
                    <a:pt x="913" y="850"/>
                  </a:lnTo>
                  <a:lnTo>
                    <a:pt x="917" y="850"/>
                  </a:lnTo>
                  <a:lnTo>
                    <a:pt x="921" y="850"/>
                  </a:lnTo>
                  <a:lnTo>
                    <a:pt x="921" y="854"/>
                  </a:lnTo>
                  <a:lnTo>
                    <a:pt x="925" y="854"/>
                  </a:lnTo>
                  <a:lnTo>
                    <a:pt x="925" y="858"/>
                  </a:lnTo>
                  <a:lnTo>
                    <a:pt x="929" y="858"/>
                  </a:lnTo>
                  <a:lnTo>
                    <a:pt x="929" y="862"/>
                  </a:lnTo>
                  <a:lnTo>
                    <a:pt x="933" y="862"/>
                  </a:lnTo>
                  <a:lnTo>
                    <a:pt x="933" y="866"/>
                  </a:lnTo>
                  <a:lnTo>
                    <a:pt x="933" y="862"/>
                  </a:lnTo>
                  <a:lnTo>
                    <a:pt x="929" y="862"/>
                  </a:lnTo>
                  <a:lnTo>
                    <a:pt x="929" y="858"/>
                  </a:lnTo>
                  <a:lnTo>
                    <a:pt x="925" y="854"/>
                  </a:lnTo>
                  <a:lnTo>
                    <a:pt x="929" y="854"/>
                  </a:lnTo>
                  <a:lnTo>
                    <a:pt x="929" y="850"/>
                  </a:lnTo>
                  <a:lnTo>
                    <a:pt x="929" y="846"/>
                  </a:lnTo>
                  <a:lnTo>
                    <a:pt x="933" y="846"/>
                  </a:lnTo>
                  <a:lnTo>
                    <a:pt x="933" y="842"/>
                  </a:lnTo>
                  <a:lnTo>
                    <a:pt x="933" y="846"/>
                  </a:lnTo>
                  <a:lnTo>
                    <a:pt x="937" y="846"/>
                  </a:lnTo>
                  <a:lnTo>
                    <a:pt x="937" y="850"/>
                  </a:lnTo>
                  <a:lnTo>
                    <a:pt x="937" y="854"/>
                  </a:lnTo>
                  <a:lnTo>
                    <a:pt x="941" y="854"/>
                  </a:lnTo>
                  <a:lnTo>
                    <a:pt x="941" y="850"/>
                  </a:lnTo>
                  <a:lnTo>
                    <a:pt x="941" y="846"/>
                  </a:lnTo>
                  <a:lnTo>
                    <a:pt x="937" y="842"/>
                  </a:lnTo>
                  <a:lnTo>
                    <a:pt x="941" y="842"/>
                  </a:lnTo>
                  <a:lnTo>
                    <a:pt x="941" y="838"/>
                  </a:lnTo>
                  <a:lnTo>
                    <a:pt x="941" y="834"/>
                  </a:lnTo>
                  <a:lnTo>
                    <a:pt x="945" y="834"/>
                  </a:lnTo>
                  <a:lnTo>
                    <a:pt x="945" y="830"/>
                  </a:lnTo>
                  <a:lnTo>
                    <a:pt x="945" y="826"/>
                  </a:lnTo>
                  <a:lnTo>
                    <a:pt x="945" y="822"/>
                  </a:lnTo>
                  <a:lnTo>
                    <a:pt x="941" y="822"/>
                  </a:lnTo>
                  <a:lnTo>
                    <a:pt x="941" y="818"/>
                  </a:lnTo>
                  <a:lnTo>
                    <a:pt x="941" y="814"/>
                  </a:lnTo>
                  <a:lnTo>
                    <a:pt x="941" y="810"/>
                  </a:lnTo>
                  <a:lnTo>
                    <a:pt x="941" y="806"/>
                  </a:lnTo>
                  <a:lnTo>
                    <a:pt x="937" y="806"/>
                  </a:lnTo>
                  <a:lnTo>
                    <a:pt x="937" y="802"/>
                  </a:lnTo>
                  <a:lnTo>
                    <a:pt x="941" y="802"/>
                  </a:lnTo>
                  <a:lnTo>
                    <a:pt x="937" y="798"/>
                  </a:lnTo>
                  <a:lnTo>
                    <a:pt x="937" y="794"/>
                  </a:lnTo>
                  <a:lnTo>
                    <a:pt x="941" y="794"/>
                  </a:lnTo>
                  <a:lnTo>
                    <a:pt x="937" y="794"/>
                  </a:lnTo>
                  <a:lnTo>
                    <a:pt x="937" y="790"/>
                  </a:lnTo>
                  <a:lnTo>
                    <a:pt x="937" y="786"/>
                  </a:lnTo>
                  <a:lnTo>
                    <a:pt x="933" y="786"/>
                  </a:lnTo>
                  <a:lnTo>
                    <a:pt x="933" y="782"/>
                  </a:lnTo>
                  <a:lnTo>
                    <a:pt x="929" y="782"/>
                  </a:lnTo>
                  <a:lnTo>
                    <a:pt x="929" y="778"/>
                  </a:lnTo>
                  <a:lnTo>
                    <a:pt x="929" y="774"/>
                  </a:lnTo>
                  <a:lnTo>
                    <a:pt x="925" y="774"/>
                  </a:lnTo>
                  <a:lnTo>
                    <a:pt x="929" y="774"/>
                  </a:lnTo>
                  <a:lnTo>
                    <a:pt x="933" y="774"/>
                  </a:lnTo>
                  <a:lnTo>
                    <a:pt x="937" y="770"/>
                  </a:lnTo>
                  <a:lnTo>
                    <a:pt x="941" y="770"/>
                  </a:lnTo>
                  <a:lnTo>
                    <a:pt x="945" y="766"/>
                  </a:lnTo>
                  <a:lnTo>
                    <a:pt x="949" y="766"/>
                  </a:lnTo>
                  <a:lnTo>
                    <a:pt x="953" y="762"/>
                  </a:lnTo>
                  <a:lnTo>
                    <a:pt x="957" y="758"/>
                  </a:lnTo>
                  <a:lnTo>
                    <a:pt x="961" y="754"/>
                  </a:lnTo>
                  <a:lnTo>
                    <a:pt x="965" y="754"/>
                  </a:lnTo>
                  <a:lnTo>
                    <a:pt x="965" y="750"/>
                  </a:lnTo>
                  <a:lnTo>
                    <a:pt x="969" y="750"/>
                  </a:lnTo>
                  <a:lnTo>
                    <a:pt x="973" y="746"/>
                  </a:lnTo>
                  <a:lnTo>
                    <a:pt x="973" y="742"/>
                  </a:lnTo>
                  <a:lnTo>
                    <a:pt x="977" y="738"/>
                  </a:lnTo>
                  <a:lnTo>
                    <a:pt x="977" y="734"/>
                  </a:lnTo>
                  <a:lnTo>
                    <a:pt x="977" y="730"/>
                  </a:lnTo>
                  <a:lnTo>
                    <a:pt x="977" y="726"/>
                  </a:lnTo>
                  <a:lnTo>
                    <a:pt x="977" y="722"/>
                  </a:lnTo>
                  <a:lnTo>
                    <a:pt x="973" y="718"/>
                  </a:lnTo>
                  <a:lnTo>
                    <a:pt x="977" y="718"/>
                  </a:lnTo>
                  <a:lnTo>
                    <a:pt x="973" y="714"/>
                  </a:lnTo>
                  <a:lnTo>
                    <a:pt x="973" y="710"/>
                  </a:lnTo>
                  <a:lnTo>
                    <a:pt x="973" y="706"/>
                  </a:lnTo>
                  <a:lnTo>
                    <a:pt x="969" y="702"/>
                  </a:lnTo>
                  <a:lnTo>
                    <a:pt x="965" y="694"/>
                  </a:lnTo>
                  <a:lnTo>
                    <a:pt x="961" y="694"/>
                  </a:lnTo>
                  <a:lnTo>
                    <a:pt x="961" y="690"/>
                  </a:lnTo>
                  <a:lnTo>
                    <a:pt x="957" y="690"/>
                  </a:lnTo>
                  <a:lnTo>
                    <a:pt x="953" y="686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5" y="678"/>
                  </a:lnTo>
                  <a:lnTo>
                    <a:pt x="945" y="674"/>
                  </a:lnTo>
                  <a:lnTo>
                    <a:pt x="949" y="674"/>
                  </a:lnTo>
                  <a:lnTo>
                    <a:pt x="949" y="670"/>
                  </a:lnTo>
                  <a:lnTo>
                    <a:pt x="953" y="670"/>
                  </a:lnTo>
                  <a:lnTo>
                    <a:pt x="953" y="666"/>
                  </a:lnTo>
                  <a:lnTo>
                    <a:pt x="957" y="666"/>
                  </a:lnTo>
                  <a:lnTo>
                    <a:pt x="957" y="662"/>
                  </a:lnTo>
                  <a:lnTo>
                    <a:pt x="953" y="662"/>
                  </a:lnTo>
                  <a:lnTo>
                    <a:pt x="957" y="658"/>
                  </a:lnTo>
                  <a:lnTo>
                    <a:pt x="957" y="654"/>
                  </a:lnTo>
                  <a:lnTo>
                    <a:pt x="961" y="654"/>
                  </a:lnTo>
                  <a:lnTo>
                    <a:pt x="961" y="658"/>
                  </a:lnTo>
                  <a:lnTo>
                    <a:pt x="965" y="658"/>
                  </a:lnTo>
                  <a:lnTo>
                    <a:pt x="961" y="658"/>
                  </a:lnTo>
                  <a:lnTo>
                    <a:pt x="961" y="654"/>
                  </a:lnTo>
                  <a:lnTo>
                    <a:pt x="965" y="654"/>
                  </a:lnTo>
                  <a:lnTo>
                    <a:pt x="961" y="650"/>
                  </a:lnTo>
                  <a:lnTo>
                    <a:pt x="965" y="646"/>
                  </a:lnTo>
                  <a:lnTo>
                    <a:pt x="969" y="646"/>
                  </a:lnTo>
                  <a:lnTo>
                    <a:pt x="973" y="646"/>
                  </a:lnTo>
                  <a:lnTo>
                    <a:pt x="973" y="642"/>
                  </a:lnTo>
                  <a:lnTo>
                    <a:pt x="969" y="642"/>
                  </a:lnTo>
                  <a:lnTo>
                    <a:pt x="969" y="646"/>
                  </a:lnTo>
                  <a:lnTo>
                    <a:pt x="965" y="646"/>
                  </a:lnTo>
                  <a:lnTo>
                    <a:pt x="961" y="646"/>
                  </a:lnTo>
                  <a:lnTo>
                    <a:pt x="961" y="642"/>
                  </a:lnTo>
                  <a:lnTo>
                    <a:pt x="961" y="638"/>
                  </a:lnTo>
                  <a:lnTo>
                    <a:pt x="957" y="638"/>
                  </a:lnTo>
                  <a:lnTo>
                    <a:pt x="961" y="634"/>
                  </a:lnTo>
                  <a:lnTo>
                    <a:pt x="957" y="634"/>
                  </a:lnTo>
                  <a:lnTo>
                    <a:pt x="957" y="630"/>
                  </a:lnTo>
                  <a:lnTo>
                    <a:pt x="961" y="626"/>
                  </a:lnTo>
                  <a:lnTo>
                    <a:pt x="957" y="630"/>
                  </a:lnTo>
                  <a:lnTo>
                    <a:pt x="953" y="630"/>
                  </a:lnTo>
                  <a:lnTo>
                    <a:pt x="953" y="626"/>
                  </a:lnTo>
                  <a:lnTo>
                    <a:pt x="953" y="630"/>
                  </a:lnTo>
                  <a:lnTo>
                    <a:pt x="949" y="630"/>
                  </a:lnTo>
                  <a:lnTo>
                    <a:pt x="949" y="626"/>
                  </a:lnTo>
                  <a:lnTo>
                    <a:pt x="953" y="622"/>
                  </a:lnTo>
                  <a:lnTo>
                    <a:pt x="957" y="622"/>
                  </a:lnTo>
                  <a:lnTo>
                    <a:pt x="957" y="618"/>
                  </a:lnTo>
                  <a:lnTo>
                    <a:pt x="957" y="614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57" y="606"/>
                  </a:lnTo>
                  <a:lnTo>
                    <a:pt x="953" y="606"/>
                  </a:lnTo>
                  <a:lnTo>
                    <a:pt x="953" y="603"/>
                  </a:lnTo>
                  <a:lnTo>
                    <a:pt x="953" y="599"/>
                  </a:lnTo>
                  <a:lnTo>
                    <a:pt x="949" y="599"/>
                  </a:lnTo>
                  <a:lnTo>
                    <a:pt x="949" y="595"/>
                  </a:lnTo>
                  <a:lnTo>
                    <a:pt x="949" y="591"/>
                  </a:lnTo>
                  <a:lnTo>
                    <a:pt x="953" y="591"/>
                  </a:lnTo>
                  <a:lnTo>
                    <a:pt x="957" y="587"/>
                  </a:lnTo>
                  <a:lnTo>
                    <a:pt x="961" y="587"/>
                  </a:lnTo>
                  <a:lnTo>
                    <a:pt x="969" y="587"/>
                  </a:lnTo>
                  <a:lnTo>
                    <a:pt x="973" y="587"/>
                  </a:lnTo>
                  <a:lnTo>
                    <a:pt x="977" y="587"/>
                  </a:lnTo>
                  <a:lnTo>
                    <a:pt x="977" y="591"/>
                  </a:lnTo>
                  <a:lnTo>
                    <a:pt x="981" y="591"/>
                  </a:lnTo>
                  <a:lnTo>
                    <a:pt x="989" y="591"/>
                  </a:lnTo>
                  <a:lnTo>
                    <a:pt x="989" y="595"/>
                  </a:lnTo>
                  <a:lnTo>
                    <a:pt x="985" y="595"/>
                  </a:lnTo>
                  <a:lnTo>
                    <a:pt x="989" y="595"/>
                  </a:lnTo>
                  <a:lnTo>
                    <a:pt x="989" y="591"/>
                  </a:lnTo>
                  <a:lnTo>
                    <a:pt x="993" y="591"/>
                  </a:lnTo>
                  <a:lnTo>
                    <a:pt x="997" y="591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9" y="595"/>
                  </a:lnTo>
                  <a:lnTo>
                    <a:pt x="1009" y="591"/>
                  </a:lnTo>
                  <a:lnTo>
                    <a:pt x="1013" y="591"/>
                  </a:lnTo>
                  <a:lnTo>
                    <a:pt x="1017" y="587"/>
                  </a:lnTo>
                  <a:lnTo>
                    <a:pt x="1021" y="587"/>
                  </a:lnTo>
                  <a:lnTo>
                    <a:pt x="1021" y="591"/>
                  </a:lnTo>
                  <a:lnTo>
                    <a:pt x="1025" y="591"/>
                  </a:lnTo>
                  <a:lnTo>
                    <a:pt x="1025" y="595"/>
                  </a:lnTo>
                  <a:lnTo>
                    <a:pt x="1029" y="595"/>
                  </a:lnTo>
                  <a:lnTo>
                    <a:pt x="1033" y="595"/>
                  </a:lnTo>
                  <a:lnTo>
                    <a:pt x="1037" y="599"/>
                  </a:lnTo>
                  <a:lnTo>
                    <a:pt x="1033" y="599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41" y="603"/>
                  </a:lnTo>
                  <a:lnTo>
                    <a:pt x="1045" y="606"/>
                  </a:lnTo>
                  <a:lnTo>
                    <a:pt x="1041" y="610"/>
                  </a:lnTo>
                  <a:lnTo>
                    <a:pt x="1041" y="606"/>
                  </a:lnTo>
                  <a:lnTo>
                    <a:pt x="1041" y="610"/>
                  </a:lnTo>
                  <a:lnTo>
                    <a:pt x="1045" y="610"/>
                  </a:lnTo>
                  <a:lnTo>
                    <a:pt x="1045" y="606"/>
                  </a:lnTo>
                  <a:lnTo>
                    <a:pt x="1049" y="606"/>
                  </a:lnTo>
                  <a:lnTo>
                    <a:pt x="1049" y="610"/>
                  </a:lnTo>
                  <a:lnTo>
                    <a:pt x="1045" y="614"/>
                  </a:lnTo>
                  <a:lnTo>
                    <a:pt x="1049" y="614"/>
                  </a:lnTo>
                  <a:lnTo>
                    <a:pt x="1049" y="618"/>
                  </a:lnTo>
                  <a:lnTo>
                    <a:pt x="1053" y="618"/>
                  </a:lnTo>
                  <a:lnTo>
                    <a:pt x="1057" y="618"/>
                  </a:lnTo>
                  <a:lnTo>
                    <a:pt x="1061" y="622"/>
                  </a:lnTo>
                  <a:lnTo>
                    <a:pt x="1065" y="622"/>
                  </a:lnTo>
                  <a:lnTo>
                    <a:pt x="1069" y="622"/>
                  </a:lnTo>
                  <a:lnTo>
                    <a:pt x="1073" y="622"/>
                  </a:lnTo>
                  <a:lnTo>
                    <a:pt x="1073" y="626"/>
                  </a:lnTo>
                  <a:lnTo>
                    <a:pt x="1077" y="626"/>
                  </a:lnTo>
                  <a:lnTo>
                    <a:pt x="1081" y="626"/>
                  </a:lnTo>
                  <a:lnTo>
                    <a:pt x="1081" y="622"/>
                  </a:lnTo>
                  <a:lnTo>
                    <a:pt x="1085" y="626"/>
                  </a:lnTo>
                  <a:lnTo>
                    <a:pt x="1085" y="630"/>
                  </a:lnTo>
                  <a:lnTo>
                    <a:pt x="1081" y="630"/>
                  </a:lnTo>
                  <a:lnTo>
                    <a:pt x="1077" y="630"/>
                  </a:lnTo>
                  <a:lnTo>
                    <a:pt x="1081" y="630"/>
                  </a:lnTo>
                  <a:lnTo>
                    <a:pt x="1081" y="634"/>
                  </a:lnTo>
                  <a:lnTo>
                    <a:pt x="1077" y="634"/>
                  </a:lnTo>
                  <a:lnTo>
                    <a:pt x="1077" y="638"/>
                  </a:lnTo>
                  <a:lnTo>
                    <a:pt x="1077" y="642"/>
                  </a:lnTo>
                  <a:lnTo>
                    <a:pt x="1081" y="642"/>
                  </a:lnTo>
                  <a:lnTo>
                    <a:pt x="1081" y="646"/>
                  </a:lnTo>
                  <a:lnTo>
                    <a:pt x="1077" y="646"/>
                  </a:lnTo>
                  <a:lnTo>
                    <a:pt x="1073" y="646"/>
                  </a:lnTo>
                  <a:lnTo>
                    <a:pt x="1069" y="646"/>
                  </a:lnTo>
                  <a:lnTo>
                    <a:pt x="1065" y="646"/>
                  </a:lnTo>
                  <a:lnTo>
                    <a:pt x="1061" y="646"/>
                  </a:lnTo>
                  <a:lnTo>
                    <a:pt x="1065" y="650"/>
                  </a:lnTo>
                  <a:lnTo>
                    <a:pt x="1069" y="650"/>
                  </a:lnTo>
                  <a:lnTo>
                    <a:pt x="1073" y="650"/>
                  </a:lnTo>
                  <a:lnTo>
                    <a:pt x="1077" y="650"/>
                  </a:lnTo>
                  <a:lnTo>
                    <a:pt x="1081" y="650"/>
                  </a:lnTo>
                  <a:lnTo>
                    <a:pt x="1081" y="654"/>
                  </a:lnTo>
                  <a:lnTo>
                    <a:pt x="1081" y="658"/>
                  </a:lnTo>
                  <a:lnTo>
                    <a:pt x="1077" y="658"/>
                  </a:lnTo>
                  <a:lnTo>
                    <a:pt x="1077" y="662"/>
                  </a:lnTo>
                  <a:lnTo>
                    <a:pt x="1081" y="662"/>
                  </a:lnTo>
                  <a:lnTo>
                    <a:pt x="1077" y="662"/>
                  </a:lnTo>
                  <a:lnTo>
                    <a:pt x="1077" y="666"/>
                  </a:lnTo>
                  <a:lnTo>
                    <a:pt x="1081" y="666"/>
                  </a:lnTo>
                  <a:lnTo>
                    <a:pt x="1081" y="662"/>
                  </a:lnTo>
                  <a:lnTo>
                    <a:pt x="1085" y="662"/>
                  </a:lnTo>
                  <a:lnTo>
                    <a:pt x="1085" y="666"/>
                  </a:lnTo>
                  <a:lnTo>
                    <a:pt x="1081" y="666"/>
                  </a:lnTo>
                  <a:lnTo>
                    <a:pt x="1081" y="670"/>
                  </a:lnTo>
                  <a:lnTo>
                    <a:pt x="1085" y="670"/>
                  </a:lnTo>
                  <a:lnTo>
                    <a:pt x="1081" y="670"/>
                  </a:lnTo>
                  <a:lnTo>
                    <a:pt x="1081" y="674"/>
                  </a:lnTo>
                  <a:lnTo>
                    <a:pt x="1081" y="678"/>
                  </a:lnTo>
                  <a:lnTo>
                    <a:pt x="1077" y="674"/>
                  </a:lnTo>
                  <a:lnTo>
                    <a:pt x="1081" y="674"/>
                  </a:lnTo>
                  <a:lnTo>
                    <a:pt x="1077" y="674"/>
                  </a:lnTo>
                  <a:lnTo>
                    <a:pt x="1077" y="670"/>
                  </a:lnTo>
                  <a:lnTo>
                    <a:pt x="1077" y="674"/>
                  </a:lnTo>
                  <a:lnTo>
                    <a:pt x="1077" y="678"/>
                  </a:lnTo>
                  <a:lnTo>
                    <a:pt x="1073" y="678"/>
                  </a:lnTo>
                  <a:lnTo>
                    <a:pt x="1077" y="678"/>
                  </a:lnTo>
                  <a:lnTo>
                    <a:pt x="1077" y="682"/>
                  </a:lnTo>
                  <a:lnTo>
                    <a:pt x="1081" y="678"/>
                  </a:lnTo>
                  <a:lnTo>
                    <a:pt x="1085" y="678"/>
                  </a:lnTo>
                  <a:lnTo>
                    <a:pt x="1085" y="674"/>
                  </a:lnTo>
                  <a:lnTo>
                    <a:pt x="1089" y="674"/>
                  </a:lnTo>
                  <a:lnTo>
                    <a:pt x="1093" y="674"/>
                  </a:lnTo>
                  <a:lnTo>
                    <a:pt x="1097" y="674"/>
                  </a:lnTo>
                  <a:lnTo>
                    <a:pt x="1097" y="678"/>
                  </a:lnTo>
                  <a:lnTo>
                    <a:pt x="1101" y="678"/>
                  </a:lnTo>
                  <a:lnTo>
                    <a:pt x="1101" y="682"/>
                  </a:lnTo>
                  <a:lnTo>
                    <a:pt x="1101" y="686"/>
                  </a:lnTo>
                  <a:lnTo>
                    <a:pt x="1101" y="690"/>
                  </a:lnTo>
                  <a:lnTo>
                    <a:pt x="1101" y="694"/>
                  </a:lnTo>
                  <a:lnTo>
                    <a:pt x="1097" y="694"/>
                  </a:lnTo>
                  <a:lnTo>
                    <a:pt x="1093" y="698"/>
                  </a:lnTo>
                  <a:lnTo>
                    <a:pt x="1089" y="698"/>
                  </a:lnTo>
                  <a:lnTo>
                    <a:pt x="1085" y="698"/>
                  </a:lnTo>
                  <a:lnTo>
                    <a:pt x="1085" y="702"/>
                  </a:lnTo>
                  <a:lnTo>
                    <a:pt x="1085" y="698"/>
                  </a:lnTo>
                  <a:lnTo>
                    <a:pt x="1089" y="698"/>
                  </a:lnTo>
                  <a:lnTo>
                    <a:pt x="1093" y="698"/>
                  </a:lnTo>
                  <a:lnTo>
                    <a:pt x="1097" y="698"/>
                  </a:lnTo>
                  <a:lnTo>
                    <a:pt x="1097" y="694"/>
                  </a:lnTo>
                  <a:lnTo>
                    <a:pt x="1101" y="694"/>
                  </a:lnTo>
                  <a:lnTo>
                    <a:pt x="1101" y="690"/>
                  </a:lnTo>
                  <a:lnTo>
                    <a:pt x="1101" y="686"/>
                  </a:lnTo>
                  <a:lnTo>
                    <a:pt x="1101" y="682"/>
                  </a:lnTo>
                  <a:lnTo>
                    <a:pt x="1105" y="682"/>
                  </a:lnTo>
                  <a:lnTo>
                    <a:pt x="1105" y="686"/>
                  </a:lnTo>
                  <a:lnTo>
                    <a:pt x="1105" y="690"/>
                  </a:lnTo>
                  <a:lnTo>
                    <a:pt x="1105" y="694"/>
                  </a:lnTo>
                  <a:lnTo>
                    <a:pt x="1105" y="690"/>
                  </a:lnTo>
                  <a:lnTo>
                    <a:pt x="1109" y="690"/>
                  </a:lnTo>
                  <a:lnTo>
                    <a:pt x="1109" y="686"/>
                  </a:lnTo>
                  <a:lnTo>
                    <a:pt x="1109" y="690"/>
                  </a:lnTo>
                  <a:lnTo>
                    <a:pt x="1109" y="698"/>
                  </a:lnTo>
                  <a:lnTo>
                    <a:pt x="1109" y="694"/>
                  </a:lnTo>
                  <a:lnTo>
                    <a:pt x="1113" y="690"/>
                  </a:lnTo>
                  <a:lnTo>
                    <a:pt x="1117" y="686"/>
                  </a:lnTo>
                  <a:lnTo>
                    <a:pt x="1121" y="686"/>
                  </a:lnTo>
                  <a:lnTo>
                    <a:pt x="1125" y="686"/>
                  </a:lnTo>
                  <a:lnTo>
                    <a:pt x="1125" y="682"/>
                  </a:lnTo>
                  <a:lnTo>
                    <a:pt x="1125" y="678"/>
                  </a:lnTo>
                  <a:lnTo>
                    <a:pt x="1129" y="678"/>
                  </a:lnTo>
                  <a:lnTo>
                    <a:pt x="1129" y="674"/>
                  </a:lnTo>
                  <a:lnTo>
                    <a:pt x="1133" y="678"/>
                  </a:lnTo>
                  <a:lnTo>
                    <a:pt x="1133" y="682"/>
                  </a:lnTo>
                  <a:lnTo>
                    <a:pt x="1137" y="682"/>
                  </a:lnTo>
                  <a:lnTo>
                    <a:pt x="1133" y="686"/>
                  </a:lnTo>
                  <a:lnTo>
                    <a:pt x="1133" y="690"/>
                  </a:lnTo>
                  <a:lnTo>
                    <a:pt x="1133" y="686"/>
                  </a:lnTo>
                  <a:lnTo>
                    <a:pt x="1137" y="686"/>
                  </a:lnTo>
                  <a:lnTo>
                    <a:pt x="1137" y="682"/>
                  </a:lnTo>
                  <a:lnTo>
                    <a:pt x="1133" y="678"/>
                  </a:lnTo>
                  <a:lnTo>
                    <a:pt x="1133" y="674"/>
                  </a:lnTo>
                  <a:lnTo>
                    <a:pt x="1137" y="674"/>
                  </a:lnTo>
                  <a:lnTo>
                    <a:pt x="1137" y="678"/>
                  </a:lnTo>
                  <a:lnTo>
                    <a:pt x="1137" y="674"/>
                  </a:lnTo>
                  <a:lnTo>
                    <a:pt x="1137" y="670"/>
                  </a:lnTo>
                  <a:lnTo>
                    <a:pt x="1141" y="670"/>
                  </a:lnTo>
                  <a:lnTo>
                    <a:pt x="1141" y="674"/>
                  </a:lnTo>
                  <a:lnTo>
                    <a:pt x="1141" y="670"/>
                  </a:lnTo>
                  <a:lnTo>
                    <a:pt x="1145" y="670"/>
                  </a:lnTo>
                  <a:lnTo>
                    <a:pt x="1141" y="670"/>
                  </a:lnTo>
                  <a:lnTo>
                    <a:pt x="1141" y="666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5" y="666"/>
                  </a:lnTo>
                  <a:lnTo>
                    <a:pt x="1145" y="662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8" y="662"/>
                  </a:lnTo>
                  <a:lnTo>
                    <a:pt x="1145" y="662"/>
                  </a:lnTo>
                  <a:lnTo>
                    <a:pt x="1145" y="658"/>
                  </a:lnTo>
                  <a:lnTo>
                    <a:pt x="1141" y="658"/>
                  </a:lnTo>
                  <a:lnTo>
                    <a:pt x="1141" y="654"/>
                  </a:lnTo>
                  <a:lnTo>
                    <a:pt x="1145" y="654"/>
                  </a:lnTo>
                  <a:lnTo>
                    <a:pt x="1145" y="650"/>
                  </a:lnTo>
                  <a:lnTo>
                    <a:pt x="1145" y="654"/>
                  </a:lnTo>
                  <a:lnTo>
                    <a:pt x="1148" y="654"/>
                  </a:lnTo>
                  <a:lnTo>
                    <a:pt x="1148" y="650"/>
                  </a:lnTo>
                  <a:lnTo>
                    <a:pt x="1145" y="650"/>
                  </a:lnTo>
                  <a:lnTo>
                    <a:pt x="1148" y="650"/>
                  </a:lnTo>
                  <a:lnTo>
                    <a:pt x="1148" y="646"/>
                  </a:lnTo>
                  <a:lnTo>
                    <a:pt x="1152" y="642"/>
                  </a:lnTo>
                  <a:lnTo>
                    <a:pt x="1152" y="638"/>
                  </a:lnTo>
                  <a:lnTo>
                    <a:pt x="1156" y="638"/>
                  </a:lnTo>
                  <a:lnTo>
                    <a:pt x="1156" y="642"/>
                  </a:lnTo>
                  <a:lnTo>
                    <a:pt x="1152" y="642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6"/>
                  </a:lnTo>
                  <a:lnTo>
                    <a:pt x="1152" y="646"/>
                  </a:lnTo>
                  <a:lnTo>
                    <a:pt x="1152" y="650"/>
                  </a:lnTo>
                  <a:lnTo>
                    <a:pt x="1152" y="646"/>
                  </a:lnTo>
                  <a:lnTo>
                    <a:pt x="1156" y="646"/>
                  </a:lnTo>
                  <a:lnTo>
                    <a:pt x="1160" y="646"/>
                  </a:lnTo>
                  <a:lnTo>
                    <a:pt x="1160" y="650"/>
                  </a:lnTo>
                  <a:lnTo>
                    <a:pt x="1156" y="650"/>
                  </a:lnTo>
                  <a:lnTo>
                    <a:pt x="1160" y="650"/>
                  </a:lnTo>
                  <a:lnTo>
                    <a:pt x="1160" y="646"/>
                  </a:lnTo>
                  <a:lnTo>
                    <a:pt x="1164" y="646"/>
                  </a:lnTo>
                  <a:lnTo>
                    <a:pt x="1164" y="650"/>
                  </a:lnTo>
                  <a:lnTo>
                    <a:pt x="1160" y="654"/>
                  </a:lnTo>
                  <a:lnTo>
                    <a:pt x="1164" y="654"/>
                  </a:lnTo>
                  <a:lnTo>
                    <a:pt x="1164" y="658"/>
                  </a:lnTo>
                  <a:lnTo>
                    <a:pt x="1168" y="658"/>
                  </a:lnTo>
                  <a:lnTo>
                    <a:pt x="1168" y="662"/>
                  </a:lnTo>
                  <a:lnTo>
                    <a:pt x="1164" y="662"/>
                  </a:lnTo>
                  <a:lnTo>
                    <a:pt x="1168" y="662"/>
                  </a:lnTo>
                  <a:lnTo>
                    <a:pt x="1168" y="666"/>
                  </a:lnTo>
                  <a:lnTo>
                    <a:pt x="1168" y="662"/>
                  </a:lnTo>
                  <a:lnTo>
                    <a:pt x="1172" y="662"/>
                  </a:lnTo>
                  <a:lnTo>
                    <a:pt x="1172" y="666"/>
                  </a:lnTo>
                  <a:lnTo>
                    <a:pt x="1176" y="666"/>
                  </a:lnTo>
                  <a:lnTo>
                    <a:pt x="1172" y="670"/>
                  </a:lnTo>
                  <a:lnTo>
                    <a:pt x="1168" y="670"/>
                  </a:lnTo>
                  <a:lnTo>
                    <a:pt x="1164" y="670"/>
                  </a:lnTo>
                  <a:lnTo>
                    <a:pt x="1164" y="674"/>
                  </a:lnTo>
                  <a:lnTo>
                    <a:pt x="1168" y="670"/>
                  </a:lnTo>
                  <a:lnTo>
                    <a:pt x="1172" y="670"/>
                  </a:lnTo>
                  <a:lnTo>
                    <a:pt x="1176" y="670"/>
                  </a:lnTo>
                  <a:lnTo>
                    <a:pt x="1176" y="674"/>
                  </a:lnTo>
                  <a:lnTo>
                    <a:pt x="1180" y="674"/>
                  </a:lnTo>
                  <a:lnTo>
                    <a:pt x="1180" y="678"/>
                  </a:lnTo>
                  <a:lnTo>
                    <a:pt x="1184" y="678"/>
                  </a:lnTo>
                  <a:lnTo>
                    <a:pt x="1184" y="682"/>
                  </a:lnTo>
                  <a:lnTo>
                    <a:pt x="1180" y="682"/>
                  </a:lnTo>
                  <a:lnTo>
                    <a:pt x="1176" y="686"/>
                  </a:lnTo>
                  <a:lnTo>
                    <a:pt x="1172" y="686"/>
                  </a:lnTo>
                  <a:lnTo>
                    <a:pt x="1172" y="690"/>
                  </a:lnTo>
                  <a:lnTo>
                    <a:pt x="1172" y="686"/>
                  </a:lnTo>
                  <a:lnTo>
                    <a:pt x="1176" y="686"/>
                  </a:lnTo>
                  <a:lnTo>
                    <a:pt x="1180" y="686"/>
                  </a:lnTo>
                  <a:lnTo>
                    <a:pt x="1184" y="686"/>
                  </a:lnTo>
                  <a:lnTo>
                    <a:pt x="1188" y="686"/>
                  </a:lnTo>
                  <a:lnTo>
                    <a:pt x="1184" y="686"/>
                  </a:lnTo>
                  <a:lnTo>
                    <a:pt x="1184" y="690"/>
                  </a:lnTo>
                  <a:lnTo>
                    <a:pt x="1188" y="690"/>
                  </a:lnTo>
                  <a:lnTo>
                    <a:pt x="1184" y="690"/>
                  </a:lnTo>
                  <a:lnTo>
                    <a:pt x="1184" y="694"/>
                  </a:lnTo>
                  <a:lnTo>
                    <a:pt x="1184" y="690"/>
                  </a:lnTo>
                  <a:lnTo>
                    <a:pt x="1180" y="694"/>
                  </a:lnTo>
                  <a:lnTo>
                    <a:pt x="1176" y="694"/>
                  </a:lnTo>
                  <a:lnTo>
                    <a:pt x="1176" y="698"/>
                  </a:lnTo>
                  <a:lnTo>
                    <a:pt x="1180" y="694"/>
                  </a:lnTo>
                  <a:lnTo>
                    <a:pt x="1184" y="694"/>
                  </a:lnTo>
                  <a:lnTo>
                    <a:pt x="1188" y="694"/>
                  </a:lnTo>
                  <a:lnTo>
                    <a:pt x="1188" y="690"/>
                  </a:lnTo>
                  <a:lnTo>
                    <a:pt x="1188" y="694"/>
                  </a:lnTo>
                  <a:lnTo>
                    <a:pt x="1192" y="694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4" y="698"/>
                  </a:lnTo>
                  <a:lnTo>
                    <a:pt x="1188" y="698"/>
                  </a:lnTo>
                  <a:lnTo>
                    <a:pt x="1192" y="698"/>
                  </a:lnTo>
                  <a:lnTo>
                    <a:pt x="1192" y="702"/>
                  </a:lnTo>
                  <a:lnTo>
                    <a:pt x="1196" y="702"/>
                  </a:lnTo>
                  <a:lnTo>
                    <a:pt x="1196" y="706"/>
                  </a:lnTo>
                  <a:lnTo>
                    <a:pt x="1192" y="706"/>
                  </a:lnTo>
                  <a:lnTo>
                    <a:pt x="1192" y="710"/>
                  </a:lnTo>
                  <a:lnTo>
                    <a:pt x="1188" y="710"/>
                  </a:lnTo>
                  <a:lnTo>
                    <a:pt x="1188" y="706"/>
                  </a:lnTo>
                  <a:lnTo>
                    <a:pt x="1188" y="710"/>
                  </a:lnTo>
                  <a:lnTo>
                    <a:pt x="1192" y="710"/>
                  </a:lnTo>
                  <a:lnTo>
                    <a:pt x="1196" y="710"/>
                  </a:lnTo>
                  <a:lnTo>
                    <a:pt x="1196" y="714"/>
                  </a:lnTo>
                  <a:lnTo>
                    <a:pt x="1196" y="718"/>
                  </a:lnTo>
                  <a:lnTo>
                    <a:pt x="1200" y="718"/>
                  </a:lnTo>
                  <a:lnTo>
                    <a:pt x="1204" y="718"/>
                  </a:lnTo>
                  <a:lnTo>
                    <a:pt x="1204" y="722"/>
                  </a:lnTo>
                  <a:lnTo>
                    <a:pt x="1200" y="722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200" y="730"/>
                  </a:lnTo>
                  <a:lnTo>
                    <a:pt x="1196" y="730"/>
                  </a:lnTo>
                  <a:lnTo>
                    <a:pt x="1196" y="726"/>
                  </a:lnTo>
                  <a:lnTo>
                    <a:pt x="1192" y="726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2" y="722"/>
                  </a:lnTo>
                  <a:lnTo>
                    <a:pt x="1188" y="722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6" y="730"/>
                  </a:lnTo>
                  <a:lnTo>
                    <a:pt x="1192" y="730"/>
                  </a:lnTo>
                  <a:lnTo>
                    <a:pt x="1196" y="730"/>
                  </a:lnTo>
                  <a:lnTo>
                    <a:pt x="1200" y="730"/>
                  </a:lnTo>
                  <a:lnTo>
                    <a:pt x="1200" y="734"/>
                  </a:lnTo>
                  <a:lnTo>
                    <a:pt x="1196" y="734"/>
                  </a:lnTo>
                  <a:lnTo>
                    <a:pt x="1196" y="730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200" y="734"/>
                  </a:lnTo>
                  <a:lnTo>
                    <a:pt x="1200" y="738"/>
                  </a:lnTo>
                  <a:lnTo>
                    <a:pt x="1196" y="738"/>
                  </a:lnTo>
                  <a:lnTo>
                    <a:pt x="1192" y="738"/>
                  </a:lnTo>
                  <a:lnTo>
                    <a:pt x="1196" y="738"/>
                  </a:lnTo>
                  <a:lnTo>
                    <a:pt x="1200" y="738"/>
                  </a:lnTo>
                  <a:lnTo>
                    <a:pt x="1204" y="738"/>
                  </a:lnTo>
                  <a:lnTo>
                    <a:pt x="1204" y="742"/>
                  </a:lnTo>
                  <a:lnTo>
                    <a:pt x="1208" y="742"/>
                  </a:lnTo>
                  <a:lnTo>
                    <a:pt x="1204" y="742"/>
                  </a:lnTo>
                  <a:lnTo>
                    <a:pt x="1204" y="746"/>
                  </a:lnTo>
                  <a:lnTo>
                    <a:pt x="1208" y="746"/>
                  </a:lnTo>
                  <a:lnTo>
                    <a:pt x="1212" y="746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2" y="750"/>
                  </a:lnTo>
                  <a:lnTo>
                    <a:pt x="1216" y="750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16" y="750"/>
                  </a:lnTo>
                  <a:lnTo>
                    <a:pt x="1220" y="750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20" y="754"/>
                  </a:lnTo>
                  <a:lnTo>
                    <a:pt x="1220" y="758"/>
                  </a:lnTo>
                  <a:lnTo>
                    <a:pt x="1216" y="758"/>
                  </a:lnTo>
                  <a:lnTo>
                    <a:pt x="1220" y="758"/>
                  </a:lnTo>
                  <a:lnTo>
                    <a:pt x="1220" y="754"/>
                  </a:lnTo>
                  <a:lnTo>
                    <a:pt x="1224" y="754"/>
                  </a:lnTo>
                  <a:lnTo>
                    <a:pt x="1224" y="758"/>
                  </a:lnTo>
                  <a:lnTo>
                    <a:pt x="1220" y="758"/>
                  </a:lnTo>
                  <a:lnTo>
                    <a:pt x="1220" y="762"/>
                  </a:lnTo>
                  <a:lnTo>
                    <a:pt x="1216" y="762"/>
                  </a:lnTo>
                  <a:lnTo>
                    <a:pt x="1220" y="762"/>
                  </a:lnTo>
                  <a:lnTo>
                    <a:pt x="1216" y="766"/>
                  </a:lnTo>
                  <a:lnTo>
                    <a:pt x="1220" y="766"/>
                  </a:lnTo>
                  <a:lnTo>
                    <a:pt x="1220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0" y="766"/>
                  </a:lnTo>
                  <a:lnTo>
                    <a:pt x="1224" y="766"/>
                  </a:lnTo>
                  <a:lnTo>
                    <a:pt x="1224" y="762"/>
                  </a:lnTo>
                  <a:lnTo>
                    <a:pt x="1228" y="762"/>
                  </a:lnTo>
                  <a:lnTo>
                    <a:pt x="1228" y="758"/>
                  </a:lnTo>
                  <a:lnTo>
                    <a:pt x="1228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8" y="766"/>
                  </a:lnTo>
                  <a:lnTo>
                    <a:pt x="1232" y="762"/>
                  </a:lnTo>
                  <a:lnTo>
                    <a:pt x="1232" y="766"/>
                  </a:lnTo>
                  <a:lnTo>
                    <a:pt x="1228" y="770"/>
                  </a:lnTo>
                  <a:lnTo>
                    <a:pt x="1228" y="774"/>
                  </a:lnTo>
                  <a:lnTo>
                    <a:pt x="1228" y="770"/>
                  </a:lnTo>
                  <a:lnTo>
                    <a:pt x="1232" y="770"/>
                  </a:lnTo>
                  <a:lnTo>
                    <a:pt x="1236" y="766"/>
                  </a:lnTo>
                  <a:lnTo>
                    <a:pt x="1236" y="762"/>
                  </a:lnTo>
                  <a:lnTo>
                    <a:pt x="1240" y="762"/>
                  </a:lnTo>
                  <a:lnTo>
                    <a:pt x="1236" y="762"/>
                  </a:lnTo>
                  <a:lnTo>
                    <a:pt x="1236" y="766"/>
                  </a:lnTo>
                  <a:lnTo>
                    <a:pt x="1240" y="766"/>
                  </a:lnTo>
                  <a:lnTo>
                    <a:pt x="1240" y="762"/>
                  </a:lnTo>
                  <a:lnTo>
                    <a:pt x="1240" y="766"/>
                  </a:lnTo>
                  <a:lnTo>
                    <a:pt x="1240" y="770"/>
                  </a:lnTo>
                  <a:lnTo>
                    <a:pt x="1244" y="770"/>
                  </a:lnTo>
                  <a:lnTo>
                    <a:pt x="1248" y="774"/>
                  </a:lnTo>
                  <a:lnTo>
                    <a:pt x="1248" y="770"/>
                  </a:lnTo>
                  <a:lnTo>
                    <a:pt x="1252" y="770"/>
                  </a:lnTo>
                  <a:lnTo>
                    <a:pt x="1252" y="774"/>
                  </a:lnTo>
                  <a:lnTo>
                    <a:pt x="1256" y="774"/>
                  </a:lnTo>
                  <a:lnTo>
                    <a:pt x="1260" y="774"/>
                  </a:lnTo>
                  <a:lnTo>
                    <a:pt x="1264" y="774"/>
                  </a:lnTo>
                  <a:lnTo>
                    <a:pt x="1264" y="778"/>
                  </a:lnTo>
                  <a:lnTo>
                    <a:pt x="1260" y="778"/>
                  </a:lnTo>
                  <a:lnTo>
                    <a:pt x="1264" y="778"/>
                  </a:lnTo>
                  <a:lnTo>
                    <a:pt x="1264" y="782"/>
                  </a:lnTo>
                  <a:lnTo>
                    <a:pt x="1260" y="782"/>
                  </a:lnTo>
                  <a:lnTo>
                    <a:pt x="1256" y="782"/>
                  </a:lnTo>
                  <a:lnTo>
                    <a:pt x="1252" y="782"/>
                  </a:lnTo>
                  <a:lnTo>
                    <a:pt x="1256" y="782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44" y="786"/>
                  </a:lnTo>
                  <a:lnTo>
                    <a:pt x="1240" y="786"/>
                  </a:lnTo>
                  <a:lnTo>
                    <a:pt x="1236" y="790"/>
                  </a:lnTo>
                  <a:lnTo>
                    <a:pt x="1232" y="790"/>
                  </a:lnTo>
                  <a:lnTo>
                    <a:pt x="1236" y="790"/>
                  </a:lnTo>
                  <a:lnTo>
                    <a:pt x="1240" y="790"/>
                  </a:lnTo>
                  <a:lnTo>
                    <a:pt x="1244" y="786"/>
                  </a:lnTo>
                  <a:lnTo>
                    <a:pt x="1248" y="786"/>
                  </a:lnTo>
                  <a:lnTo>
                    <a:pt x="1248" y="790"/>
                  </a:lnTo>
                  <a:lnTo>
                    <a:pt x="1244" y="790"/>
                  </a:lnTo>
                  <a:lnTo>
                    <a:pt x="1240" y="790"/>
                  </a:lnTo>
                  <a:lnTo>
                    <a:pt x="1236" y="790"/>
                  </a:lnTo>
                  <a:lnTo>
                    <a:pt x="1236" y="794"/>
                  </a:lnTo>
                  <a:lnTo>
                    <a:pt x="1232" y="794"/>
                  </a:lnTo>
                  <a:lnTo>
                    <a:pt x="1228" y="794"/>
                  </a:lnTo>
                  <a:lnTo>
                    <a:pt x="1224" y="794"/>
                  </a:lnTo>
                  <a:lnTo>
                    <a:pt x="1224" y="798"/>
                  </a:lnTo>
                  <a:lnTo>
                    <a:pt x="1224" y="802"/>
                  </a:lnTo>
                  <a:lnTo>
                    <a:pt x="1220" y="798"/>
                  </a:lnTo>
                  <a:lnTo>
                    <a:pt x="1216" y="798"/>
                  </a:lnTo>
                  <a:lnTo>
                    <a:pt x="1212" y="794"/>
                  </a:lnTo>
                  <a:lnTo>
                    <a:pt x="1212" y="798"/>
                  </a:lnTo>
                  <a:lnTo>
                    <a:pt x="1216" y="798"/>
                  </a:lnTo>
                  <a:lnTo>
                    <a:pt x="1220" y="798"/>
                  </a:lnTo>
                  <a:lnTo>
                    <a:pt x="1220" y="802"/>
                  </a:lnTo>
                  <a:lnTo>
                    <a:pt x="1224" y="802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4" y="802"/>
                  </a:lnTo>
                  <a:lnTo>
                    <a:pt x="1228" y="802"/>
                  </a:lnTo>
                  <a:lnTo>
                    <a:pt x="1232" y="802"/>
                  </a:lnTo>
                  <a:lnTo>
                    <a:pt x="1232" y="798"/>
                  </a:lnTo>
                  <a:lnTo>
                    <a:pt x="1236" y="798"/>
                  </a:lnTo>
                  <a:lnTo>
                    <a:pt x="1240" y="798"/>
                  </a:lnTo>
                  <a:lnTo>
                    <a:pt x="1240" y="794"/>
                  </a:lnTo>
                  <a:lnTo>
                    <a:pt x="1244" y="794"/>
                  </a:lnTo>
                  <a:lnTo>
                    <a:pt x="1248" y="790"/>
                  </a:lnTo>
                  <a:lnTo>
                    <a:pt x="1252" y="790"/>
                  </a:lnTo>
                  <a:lnTo>
                    <a:pt x="1256" y="790"/>
                  </a:lnTo>
                  <a:lnTo>
                    <a:pt x="1260" y="790"/>
                  </a:lnTo>
                  <a:lnTo>
                    <a:pt x="1256" y="786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52" y="786"/>
                  </a:lnTo>
                  <a:lnTo>
                    <a:pt x="1256" y="786"/>
                  </a:lnTo>
                  <a:lnTo>
                    <a:pt x="1260" y="786"/>
                  </a:lnTo>
                  <a:lnTo>
                    <a:pt x="1264" y="786"/>
                  </a:lnTo>
                  <a:lnTo>
                    <a:pt x="1264" y="790"/>
                  </a:lnTo>
                  <a:lnTo>
                    <a:pt x="1268" y="794"/>
                  </a:lnTo>
                  <a:lnTo>
                    <a:pt x="1268" y="798"/>
                  </a:lnTo>
                  <a:lnTo>
                    <a:pt x="1264" y="798"/>
                  </a:lnTo>
                  <a:lnTo>
                    <a:pt x="1268" y="802"/>
                  </a:lnTo>
                  <a:lnTo>
                    <a:pt x="1264" y="802"/>
                  </a:lnTo>
                  <a:lnTo>
                    <a:pt x="1268" y="802"/>
                  </a:lnTo>
                  <a:lnTo>
                    <a:pt x="1268" y="798"/>
                  </a:lnTo>
                  <a:lnTo>
                    <a:pt x="1272" y="798"/>
                  </a:lnTo>
                  <a:lnTo>
                    <a:pt x="1276" y="798"/>
                  </a:lnTo>
                  <a:lnTo>
                    <a:pt x="1276" y="794"/>
                  </a:lnTo>
                  <a:lnTo>
                    <a:pt x="1280" y="794"/>
                  </a:lnTo>
                  <a:lnTo>
                    <a:pt x="1280" y="798"/>
                  </a:lnTo>
                  <a:lnTo>
                    <a:pt x="1276" y="798"/>
                  </a:lnTo>
                  <a:lnTo>
                    <a:pt x="1280" y="798"/>
                  </a:lnTo>
                  <a:lnTo>
                    <a:pt x="1284" y="798"/>
                  </a:lnTo>
                  <a:lnTo>
                    <a:pt x="1288" y="802"/>
                  </a:lnTo>
                  <a:lnTo>
                    <a:pt x="1284" y="802"/>
                  </a:lnTo>
                  <a:lnTo>
                    <a:pt x="1288" y="802"/>
                  </a:lnTo>
                  <a:lnTo>
                    <a:pt x="1284" y="806"/>
                  </a:lnTo>
                  <a:lnTo>
                    <a:pt x="1288" y="806"/>
                  </a:lnTo>
                  <a:lnTo>
                    <a:pt x="1288" y="810"/>
                  </a:lnTo>
                  <a:lnTo>
                    <a:pt x="1288" y="814"/>
                  </a:lnTo>
                  <a:lnTo>
                    <a:pt x="1284" y="814"/>
                  </a:lnTo>
                  <a:lnTo>
                    <a:pt x="1288" y="814"/>
                  </a:lnTo>
                  <a:lnTo>
                    <a:pt x="1288" y="818"/>
                  </a:lnTo>
                  <a:lnTo>
                    <a:pt x="1284" y="818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0" y="822"/>
                  </a:lnTo>
                  <a:lnTo>
                    <a:pt x="1284" y="822"/>
                  </a:lnTo>
                  <a:lnTo>
                    <a:pt x="1288" y="826"/>
                  </a:lnTo>
                  <a:lnTo>
                    <a:pt x="1292" y="826"/>
                  </a:lnTo>
                  <a:lnTo>
                    <a:pt x="1288" y="830"/>
                  </a:lnTo>
                  <a:lnTo>
                    <a:pt x="1288" y="826"/>
                  </a:lnTo>
                  <a:lnTo>
                    <a:pt x="1284" y="826"/>
                  </a:lnTo>
                  <a:lnTo>
                    <a:pt x="1288" y="826"/>
                  </a:lnTo>
                  <a:lnTo>
                    <a:pt x="1288" y="830"/>
                  </a:lnTo>
                  <a:lnTo>
                    <a:pt x="1292" y="830"/>
                  </a:lnTo>
                  <a:lnTo>
                    <a:pt x="1292" y="834"/>
                  </a:lnTo>
                  <a:lnTo>
                    <a:pt x="1288" y="838"/>
                  </a:lnTo>
                  <a:lnTo>
                    <a:pt x="1284" y="838"/>
                  </a:lnTo>
                  <a:lnTo>
                    <a:pt x="1284" y="842"/>
                  </a:lnTo>
                  <a:lnTo>
                    <a:pt x="1280" y="842"/>
                  </a:lnTo>
                  <a:lnTo>
                    <a:pt x="1276" y="846"/>
                  </a:lnTo>
                  <a:lnTo>
                    <a:pt x="1272" y="846"/>
                  </a:lnTo>
                  <a:lnTo>
                    <a:pt x="1272" y="850"/>
                  </a:lnTo>
                  <a:lnTo>
                    <a:pt x="1268" y="850"/>
                  </a:lnTo>
                  <a:lnTo>
                    <a:pt x="1268" y="846"/>
                  </a:lnTo>
                  <a:lnTo>
                    <a:pt x="1264" y="846"/>
                  </a:lnTo>
                  <a:lnTo>
                    <a:pt x="1264" y="850"/>
                  </a:lnTo>
                  <a:lnTo>
                    <a:pt x="1260" y="850"/>
                  </a:lnTo>
                  <a:lnTo>
                    <a:pt x="1260" y="846"/>
                  </a:lnTo>
                  <a:lnTo>
                    <a:pt x="1256" y="850"/>
                  </a:lnTo>
                  <a:lnTo>
                    <a:pt x="1252" y="854"/>
                  </a:lnTo>
                  <a:lnTo>
                    <a:pt x="1248" y="850"/>
                  </a:lnTo>
                  <a:lnTo>
                    <a:pt x="1248" y="854"/>
                  </a:lnTo>
                  <a:lnTo>
                    <a:pt x="1244" y="854"/>
                  </a:lnTo>
                  <a:lnTo>
                    <a:pt x="1248" y="854"/>
                  </a:lnTo>
                  <a:lnTo>
                    <a:pt x="1244" y="858"/>
                  </a:lnTo>
                  <a:lnTo>
                    <a:pt x="1240" y="858"/>
                  </a:lnTo>
                  <a:lnTo>
                    <a:pt x="1240" y="862"/>
                  </a:lnTo>
                  <a:lnTo>
                    <a:pt x="1240" y="866"/>
                  </a:lnTo>
                  <a:lnTo>
                    <a:pt x="1240" y="862"/>
                  </a:lnTo>
                  <a:lnTo>
                    <a:pt x="1236" y="866"/>
                  </a:lnTo>
                  <a:lnTo>
                    <a:pt x="1232" y="866"/>
                  </a:lnTo>
                  <a:lnTo>
                    <a:pt x="1232" y="870"/>
                  </a:lnTo>
                  <a:lnTo>
                    <a:pt x="1228" y="870"/>
                  </a:lnTo>
                  <a:lnTo>
                    <a:pt x="1228" y="874"/>
                  </a:lnTo>
                  <a:lnTo>
                    <a:pt x="1224" y="874"/>
                  </a:lnTo>
                  <a:lnTo>
                    <a:pt x="1220" y="874"/>
                  </a:lnTo>
                  <a:lnTo>
                    <a:pt x="1216" y="874"/>
                  </a:lnTo>
                  <a:lnTo>
                    <a:pt x="1216" y="878"/>
                  </a:lnTo>
                  <a:lnTo>
                    <a:pt x="1216" y="874"/>
                  </a:lnTo>
                  <a:lnTo>
                    <a:pt x="1212" y="878"/>
                  </a:lnTo>
                  <a:lnTo>
                    <a:pt x="1208" y="878"/>
                  </a:lnTo>
                  <a:lnTo>
                    <a:pt x="1204" y="878"/>
                  </a:lnTo>
                  <a:lnTo>
                    <a:pt x="1200" y="878"/>
                  </a:lnTo>
                  <a:lnTo>
                    <a:pt x="1196" y="878"/>
                  </a:lnTo>
                  <a:lnTo>
                    <a:pt x="1196" y="874"/>
                  </a:lnTo>
                  <a:lnTo>
                    <a:pt x="1192" y="874"/>
                  </a:lnTo>
                  <a:lnTo>
                    <a:pt x="1188" y="874"/>
                  </a:lnTo>
                  <a:lnTo>
                    <a:pt x="1184" y="874"/>
                  </a:lnTo>
                  <a:lnTo>
                    <a:pt x="1176" y="874"/>
                  </a:lnTo>
                  <a:lnTo>
                    <a:pt x="1172" y="874"/>
                  </a:lnTo>
                  <a:lnTo>
                    <a:pt x="1168" y="874"/>
                  </a:lnTo>
                  <a:lnTo>
                    <a:pt x="1164" y="874"/>
                  </a:lnTo>
                  <a:lnTo>
                    <a:pt x="1160" y="874"/>
                  </a:lnTo>
                  <a:lnTo>
                    <a:pt x="1156" y="874"/>
                  </a:lnTo>
                  <a:lnTo>
                    <a:pt x="1152" y="874"/>
                  </a:lnTo>
                  <a:lnTo>
                    <a:pt x="1148" y="874"/>
                  </a:lnTo>
                  <a:lnTo>
                    <a:pt x="1145" y="874"/>
                  </a:lnTo>
                  <a:lnTo>
                    <a:pt x="1141" y="874"/>
                  </a:lnTo>
                  <a:lnTo>
                    <a:pt x="1137" y="874"/>
                  </a:lnTo>
                  <a:lnTo>
                    <a:pt x="1133" y="874"/>
                  </a:lnTo>
                  <a:lnTo>
                    <a:pt x="1133" y="878"/>
                  </a:lnTo>
                  <a:lnTo>
                    <a:pt x="1129" y="878"/>
                  </a:lnTo>
                  <a:lnTo>
                    <a:pt x="1129" y="874"/>
                  </a:lnTo>
                  <a:lnTo>
                    <a:pt x="1125" y="878"/>
                  </a:lnTo>
                  <a:lnTo>
                    <a:pt x="1121" y="882"/>
                  </a:lnTo>
                  <a:lnTo>
                    <a:pt x="1121" y="886"/>
                  </a:lnTo>
                  <a:lnTo>
                    <a:pt x="1117" y="886"/>
                  </a:lnTo>
                  <a:lnTo>
                    <a:pt x="1117" y="890"/>
                  </a:lnTo>
                  <a:lnTo>
                    <a:pt x="1117" y="894"/>
                  </a:lnTo>
                  <a:lnTo>
                    <a:pt x="1113" y="894"/>
                  </a:lnTo>
                  <a:lnTo>
                    <a:pt x="1109" y="898"/>
                  </a:lnTo>
                  <a:lnTo>
                    <a:pt x="1105" y="898"/>
                  </a:lnTo>
                  <a:lnTo>
                    <a:pt x="1101" y="898"/>
                  </a:lnTo>
                  <a:lnTo>
                    <a:pt x="1101" y="902"/>
                  </a:lnTo>
                  <a:lnTo>
                    <a:pt x="1097" y="902"/>
                  </a:lnTo>
                  <a:lnTo>
                    <a:pt x="1093" y="906"/>
                  </a:lnTo>
                  <a:lnTo>
                    <a:pt x="1089" y="910"/>
                  </a:lnTo>
                  <a:lnTo>
                    <a:pt x="1089" y="914"/>
                  </a:lnTo>
                  <a:lnTo>
                    <a:pt x="1085" y="914"/>
                  </a:lnTo>
                  <a:lnTo>
                    <a:pt x="1085" y="918"/>
                  </a:lnTo>
                  <a:lnTo>
                    <a:pt x="1081" y="918"/>
                  </a:lnTo>
                  <a:lnTo>
                    <a:pt x="1081" y="922"/>
                  </a:lnTo>
                  <a:lnTo>
                    <a:pt x="1077" y="922"/>
                  </a:lnTo>
                  <a:lnTo>
                    <a:pt x="1073" y="918"/>
                  </a:lnTo>
                  <a:lnTo>
                    <a:pt x="1069" y="918"/>
                  </a:lnTo>
                  <a:lnTo>
                    <a:pt x="1065" y="918"/>
                  </a:lnTo>
                  <a:lnTo>
                    <a:pt x="1065" y="914"/>
                  </a:lnTo>
                  <a:lnTo>
                    <a:pt x="1061" y="914"/>
                  </a:lnTo>
                  <a:lnTo>
                    <a:pt x="1057" y="914"/>
                  </a:lnTo>
                  <a:lnTo>
                    <a:pt x="1061" y="914"/>
                  </a:lnTo>
                  <a:lnTo>
                    <a:pt x="1061" y="918"/>
                  </a:lnTo>
                  <a:lnTo>
                    <a:pt x="1065" y="918"/>
                  </a:lnTo>
                  <a:lnTo>
                    <a:pt x="1069" y="918"/>
                  </a:lnTo>
                  <a:lnTo>
                    <a:pt x="1073" y="918"/>
                  </a:lnTo>
                  <a:lnTo>
                    <a:pt x="1077" y="922"/>
                  </a:lnTo>
                  <a:lnTo>
                    <a:pt x="1077" y="926"/>
                  </a:lnTo>
                  <a:lnTo>
                    <a:pt x="1077" y="930"/>
                  </a:lnTo>
                  <a:lnTo>
                    <a:pt x="1073" y="930"/>
                  </a:lnTo>
                  <a:lnTo>
                    <a:pt x="1073" y="934"/>
                  </a:lnTo>
                  <a:lnTo>
                    <a:pt x="1073" y="938"/>
                  </a:lnTo>
                  <a:lnTo>
                    <a:pt x="1069" y="938"/>
                  </a:lnTo>
                  <a:lnTo>
                    <a:pt x="1065" y="938"/>
                  </a:lnTo>
                  <a:lnTo>
                    <a:pt x="1065" y="942"/>
                  </a:lnTo>
                  <a:lnTo>
                    <a:pt x="1065" y="946"/>
                  </a:lnTo>
                  <a:lnTo>
                    <a:pt x="1061" y="946"/>
                  </a:lnTo>
                  <a:lnTo>
                    <a:pt x="1057" y="950"/>
                  </a:lnTo>
                  <a:lnTo>
                    <a:pt x="1053" y="954"/>
                  </a:lnTo>
                  <a:lnTo>
                    <a:pt x="1057" y="950"/>
                  </a:lnTo>
                  <a:lnTo>
                    <a:pt x="1061" y="950"/>
                  </a:lnTo>
                  <a:lnTo>
                    <a:pt x="1065" y="950"/>
                  </a:lnTo>
                  <a:lnTo>
                    <a:pt x="1065" y="946"/>
                  </a:lnTo>
                  <a:lnTo>
                    <a:pt x="1069" y="946"/>
                  </a:lnTo>
                  <a:lnTo>
                    <a:pt x="1069" y="942"/>
                  </a:lnTo>
                  <a:lnTo>
                    <a:pt x="1073" y="938"/>
                  </a:lnTo>
                  <a:lnTo>
                    <a:pt x="1073" y="934"/>
                  </a:lnTo>
                  <a:lnTo>
                    <a:pt x="1077" y="934"/>
                  </a:lnTo>
                  <a:lnTo>
                    <a:pt x="1081" y="930"/>
                  </a:lnTo>
                  <a:lnTo>
                    <a:pt x="1081" y="926"/>
                  </a:lnTo>
                  <a:lnTo>
                    <a:pt x="1085" y="926"/>
                  </a:lnTo>
                  <a:lnTo>
                    <a:pt x="1085" y="922"/>
                  </a:lnTo>
                  <a:lnTo>
                    <a:pt x="1089" y="922"/>
                  </a:lnTo>
                  <a:lnTo>
                    <a:pt x="1089" y="918"/>
                  </a:lnTo>
                  <a:lnTo>
                    <a:pt x="1093" y="918"/>
                  </a:lnTo>
                  <a:lnTo>
                    <a:pt x="1097" y="914"/>
                  </a:lnTo>
                  <a:lnTo>
                    <a:pt x="1101" y="914"/>
                  </a:lnTo>
                  <a:lnTo>
                    <a:pt x="1101" y="910"/>
                  </a:lnTo>
                  <a:lnTo>
                    <a:pt x="1105" y="910"/>
                  </a:lnTo>
                  <a:lnTo>
                    <a:pt x="1109" y="906"/>
                  </a:lnTo>
                  <a:lnTo>
                    <a:pt x="1113" y="906"/>
                  </a:lnTo>
                  <a:lnTo>
                    <a:pt x="1117" y="906"/>
                  </a:lnTo>
                  <a:lnTo>
                    <a:pt x="1117" y="902"/>
                  </a:lnTo>
                  <a:lnTo>
                    <a:pt x="1121" y="902"/>
                  </a:lnTo>
                  <a:lnTo>
                    <a:pt x="1125" y="902"/>
                  </a:lnTo>
                  <a:lnTo>
                    <a:pt x="1129" y="898"/>
                  </a:lnTo>
                  <a:lnTo>
                    <a:pt x="1133" y="898"/>
                  </a:lnTo>
                  <a:lnTo>
                    <a:pt x="1137" y="898"/>
                  </a:lnTo>
                  <a:lnTo>
                    <a:pt x="1141" y="898"/>
                  </a:lnTo>
                  <a:lnTo>
                    <a:pt x="1145" y="898"/>
                  </a:lnTo>
                  <a:lnTo>
                    <a:pt x="1148" y="898"/>
                  </a:lnTo>
                  <a:lnTo>
                    <a:pt x="1152" y="898"/>
                  </a:lnTo>
                  <a:lnTo>
                    <a:pt x="1156" y="902"/>
                  </a:lnTo>
                  <a:lnTo>
                    <a:pt x="1160" y="902"/>
                  </a:lnTo>
                  <a:lnTo>
                    <a:pt x="1160" y="906"/>
                  </a:lnTo>
                  <a:lnTo>
                    <a:pt x="1164" y="910"/>
                  </a:lnTo>
                  <a:lnTo>
                    <a:pt x="1160" y="906"/>
                  </a:lnTo>
                  <a:lnTo>
                    <a:pt x="1156" y="906"/>
                  </a:lnTo>
                  <a:lnTo>
                    <a:pt x="1160" y="906"/>
                  </a:lnTo>
                  <a:lnTo>
                    <a:pt x="1160" y="910"/>
                  </a:lnTo>
                  <a:lnTo>
                    <a:pt x="1164" y="910"/>
                  </a:lnTo>
                  <a:lnTo>
                    <a:pt x="1160" y="910"/>
                  </a:lnTo>
                  <a:lnTo>
                    <a:pt x="1160" y="914"/>
                  </a:lnTo>
                  <a:lnTo>
                    <a:pt x="1160" y="918"/>
                  </a:lnTo>
                  <a:lnTo>
                    <a:pt x="1156" y="918"/>
                  </a:lnTo>
                  <a:lnTo>
                    <a:pt x="1152" y="918"/>
                  </a:lnTo>
                  <a:lnTo>
                    <a:pt x="1152" y="922"/>
                  </a:lnTo>
                  <a:lnTo>
                    <a:pt x="1148" y="922"/>
                  </a:lnTo>
                  <a:lnTo>
                    <a:pt x="1148" y="926"/>
                  </a:lnTo>
                  <a:lnTo>
                    <a:pt x="1145" y="926"/>
                  </a:lnTo>
                  <a:lnTo>
                    <a:pt x="1141" y="926"/>
                  </a:lnTo>
                  <a:lnTo>
                    <a:pt x="1141" y="922"/>
                  </a:lnTo>
                  <a:lnTo>
                    <a:pt x="1137" y="922"/>
                  </a:lnTo>
                  <a:lnTo>
                    <a:pt x="1133" y="922"/>
                  </a:lnTo>
                  <a:lnTo>
                    <a:pt x="1129" y="922"/>
                  </a:lnTo>
                  <a:lnTo>
                    <a:pt x="1125" y="926"/>
                  </a:lnTo>
                  <a:lnTo>
                    <a:pt x="1121" y="926"/>
                  </a:lnTo>
                  <a:lnTo>
                    <a:pt x="1125" y="926"/>
                  </a:lnTo>
                  <a:lnTo>
                    <a:pt x="1129" y="922"/>
                  </a:lnTo>
                  <a:lnTo>
                    <a:pt x="1133" y="926"/>
                  </a:lnTo>
                  <a:lnTo>
                    <a:pt x="1137" y="926"/>
                  </a:lnTo>
                  <a:lnTo>
                    <a:pt x="1141" y="930"/>
                  </a:lnTo>
                  <a:lnTo>
                    <a:pt x="1141" y="934"/>
                  </a:lnTo>
                  <a:lnTo>
                    <a:pt x="1145" y="930"/>
                  </a:lnTo>
                  <a:lnTo>
                    <a:pt x="1148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2" y="930"/>
                  </a:lnTo>
                  <a:lnTo>
                    <a:pt x="1152" y="934"/>
                  </a:lnTo>
                  <a:lnTo>
                    <a:pt x="1152" y="938"/>
                  </a:lnTo>
                  <a:lnTo>
                    <a:pt x="1148" y="942"/>
                  </a:lnTo>
                  <a:lnTo>
                    <a:pt x="1145" y="946"/>
                  </a:lnTo>
                  <a:lnTo>
                    <a:pt x="1148" y="946"/>
                  </a:lnTo>
                  <a:lnTo>
                    <a:pt x="1152" y="946"/>
                  </a:lnTo>
                  <a:lnTo>
                    <a:pt x="1152" y="950"/>
                  </a:lnTo>
                  <a:lnTo>
                    <a:pt x="1152" y="954"/>
                  </a:lnTo>
                  <a:lnTo>
                    <a:pt x="1156" y="958"/>
                  </a:lnTo>
                  <a:lnTo>
                    <a:pt x="1156" y="962"/>
                  </a:lnTo>
                  <a:lnTo>
                    <a:pt x="1160" y="962"/>
                  </a:lnTo>
                  <a:lnTo>
                    <a:pt x="1164" y="966"/>
                  </a:lnTo>
                  <a:lnTo>
                    <a:pt x="1168" y="966"/>
                  </a:lnTo>
                  <a:lnTo>
                    <a:pt x="1164" y="966"/>
                  </a:lnTo>
                  <a:lnTo>
                    <a:pt x="1164" y="970"/>
                  </a:lnTo>
                  <a:lnTo>
                    <a:pt x="1168" y="970"/>
                  </a:lnTo>
                  <a:lnTo>
                    <a:pt x="1168" y="974"/>
                  </a:lnTo>
                  <a:lnTo>
                    <a:pt x="1172" y="970"/>
                  </a:lnTo>
                  <a:lnTo>
                    <a:pt x="1172" y="974"/>
                  </a:lnTo>
                  <a:lnTo>
                    <a:pt x="1176" y="974"/>
                  </a:lnTo>
                  <a:lnTo>
                    <a:pt x="1180" y="974"/>
                  </a:lnTo>
                  <a:lnTo>
                    <a:pt x="1184" y="974"/>
                  </a:lnTo>
                  <a:lnTo>
                    <a:pt x="1188" y="974"/>
                  </a:lnTo>
                  <a:lnTo>
                    <a:pt x="1188" y="978"/>
                  </a:lnTo>
                  <a:lnTo>
                    <a:pt x="1192" y="974"/>
                  </a:lnTo>
                  <a:lnTo>
                    <a:pt x="1196" y="974"/>
                  </a:lnTo>
                  <a:lnTo>
                    <a:pt x="1196" y="970"/>
                  </a:lnTo>
                  <a:lnTo>
                    <a:pt x="1196" y="974"/>
                  </a:lnTo>
                  <a:lnTo>
                    <a:pt x="1200" y="978"/>
                  </a:lnTo>
                  <a:lnTo>
                    <a:pt x="1200" y="974"/>
                  </a:lnTo>
                  <a:lnTo>
                    <a:pt x="1204" y="974"/>
                  </a:lnTo>
                  <a:lnTo>
                    <a:pt x="1204" y="978"/>
                  </a:lnTo>
                  <a:lnTo>
                    <a:pt x="1208" y="978"/>
                  </a:lnTo>
                  <a:lnTo>
                    <a:pt x="1208" y="982"/>
                  </a:lnTo>
                  <a:lnTo>
                    <a:pt x="1204" y="982"/>
                  </a:lnTo>
                  <a:lnTo>
                    <a:pt x="1208" y="982"/>
                  </a:lnTo>
                  <a:lnTo>
                    <a:pt x="1212" y="982"/>
                  </a:lnTo>
                  <a:lnTo>
                    <a:pt x="1212" y="986"/>
                  </a:lnTo>
                  <a:lnTo>
                    <a:pt x="1208" y="986"/>
                  </a:lnTo>
                  <a:lnTo>
                    <a:pt x="1204" y="986"/>
                  </a:lnTo>
                  <a:lnTo>
                    <a:pt x="1200" y="986"/>
                  </a:lnTo>
                  <a:lnTo>
                    <a:pt x="1200" y="990"/>
                  </a:lnTo>
                  <a:lnTo>
                    <a:pt x="1196" y="990"/>
                  </a:lnTo>
                  <a:lnTo>
                    <a:pt x="1192" y="990"/>
                  </a:lnTo>
                  <a:lnTo>
                    <a:pt x="1188" y="994"/>
                  </a:lnTo>
                  <a:lnTo>
                    <a:pt x="1184" y="994"/>
                  </a:lnTo>
                  <a:lnTo>
                    <a:pt x="1180" y="998"/>
                  </a:lnTo>
                  <a:lnTo>
                    <a:pt x="1180" y="994"/>
                  </a:lnTo>
                  <a:lnTo>
                    <a:pt x="1180" y="998"/>
                  </a:lnTo>
                  <a:lnTo>
                    <a:pt x="1176" y="998"/>
                  </a:lnTo>
                  <a:lnTo>
                    <a:pt x="1172" y="998"/>
                  </a:lnTo>
                  <a:lnTo>
                    <a:pt x="1168" y="998"/>
                  </a:lnTo>
                  <a:lnTo>
                    <a:pt x="1172" y="998"/>
                  </a:lnTo>
                  <a:lnTo>
                    <a:pt x="1172" y="1002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0" y="998"/>
                  </a:lnTo>
                  <a:lnTo>
                    <a:pt x="1160" y="1002"/>
                  </a:lnTo>
                  <a:lnTo>
                    <a:pt x="1160" y="1006"/>
                  </a:lnTo>
                  <a:lnTo>
                    <a:pt x="1156" y="1006"/>
                  </a:lnTo>
                  <a:lnTo>
                    <a:pt x="1156" y="1010"/>
                  </a:lnTo>
                  <a:lnTo>
                    <a:pt x="1152" y="1014"/>
                  </a:lnTo>
                  <a:lnTo>
                    <a:pt x="1148" y="1018"/>
                  </a:lnTo>
                  <a:lnTo>
                    <a:pt x="1145" y="1018"/>
                  </a:lnTo>
                  <a:lnTo>
                    <a:pt x="1145" y="1022"/>
                  </a:lnTo>
                  <a:lnTo>
                    <a:pt x="1141" y="1022"/>
                  </a:lnTo>
                  <a:lnTo>
                    <a:pt x="1137" y="1022"/>
                  </a:lnTo>
                  <a:lnTo>
                    <a:pt x="1137" y="1018"/>
                  </a:lnTo>
                  <a:lnTo>
                    <a:pt x="1137" y="1014"/>
                  </a:lnTo>
                  <a:lnTo>
                    <a:pt x="1137" y="1018"/>
                  </a:lnTo>
                  <a:lnTo>
                    <a:pt x="1133" y="1018"/>
                  </a:lnTo>
                  <a:lnTo>
                    <a:pt x="1133" y="1014"/>
                  </a:lnTo>
                  <a:lnTo>
                    <a:pt x="1133" y="1010"/>
                  </a:lnTo>
                  <a:lnTo>
                    <a:pt x="1133" y="1006"/>
                  </a:lnTo>
                  <a:lnTo>
                    <a:pt x="1133" y="1002"/>
                  </a:lnTo>
                  <a:lnTo>
                    <a:pt x="1137" y="1002"/>
                  </a:lnTo>
                  <a:lnTo>
                    <a:pt x="1137" y="998"/>
                  </a:lnTo>
                  <a:lnTo>
                    <a:pt x="1137" y="1002"/>
                  </a:lnTo>
                  <a:lnTo>
                    <a:pt x="1133" y="1002"/>
                  </a:lnTo>
                  <a:lnTo>
                    <a:pt x="1137" y="998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5" y="990"/>
                  </a:lnTo>
                  <a:lnTo>
                    <a:pt x="1148" y="990"/>
                  </a:lnTo>
                  <a:lnTo>
                    <a:pt x="1152" y="990"/>
                  </a:lnTo>
                  <a:lnTo>
                    <a:pt x="1152" y="986"/>
                  </a:lnTo>
                  <a:lnTo>
                    <a:pt x="1156" y="986"/>
                  </a:lnTo>
                  <a:lnTo>
                    <a:pt x="1160" y="986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60" y="982"/>
                  </a:lnTo>
                  <a:lnTo>
                    <a:pt x="1160" y="986"/>
                  </a:lnTo>
                  <a:lnTo>
                    <a:pt x="1160" y="990"/>
                  </a:lnTo>
                  <a:lnTo>
                    <a:pt x="1160" y="986"/>
                  </a:lnTo>
                  <a:lnTo>
                    <a:pt x="1164" y="990"/>
                  </a:lnTo>
                  <a:lnTo>
                    <a:pt x="1160" y="986"/>
                  </a:lnTo>
                  <a:lnTo>
                    <a:pt x="1164" y="986"/>
                  </a:lnTo>
                  <a:lnTo>
                    <a:pt x="1168" y="982"/>
                  </a:lnTo>
                  <a:lnTo>
                    <a:pt x="1172" y="982"/>
                  </a:lnTo>
                  <a:lnTo>
                    <a:pt x="1176" y="982"/>
                  </a:lnTo>
                  <a:lnTo>
                    <a:pt x="1168" y="982"/>
                  </a:lnTo>
                  <a:lnTo>
                    <a:pt x="1164" y="982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52" y="982"/>
                  </a:lnTo>
                  <a:lnTo>
                    <a:pt x="1152" y="978"/>
                  </a:lnTo>
                  <a:lnTo>
                    <a:pt x="1156" y="978"/>
                  </a:lnTo>
                  <a:lnTo>
                    <a:pt x="1156" y="974"/>
                  </a:lnTo>
                  <a:lnTo>
                    <a:pt x="1160" y="974"/>
                  </a:lnTo>
                  <a:lnTo>
                    <a:pt x="1160" y="970"/>
                  </a:lnTo>
                  <a:lnTo>
                    <a:pt x="1160" y="974"/>
                  </a:lnTo>
                  <a:lnTo>
                    <a:pt x="1156" y="974"/>
                  </a:lnTo>
                  <a:lnTo>
                    <a:pt x="1156" y="970"/>
                  </a:lnTo>
                  <a:lnTo>
                    <a:pt x="1156" y="966"/>
                  </a:lnTo>
                  <a:lnTo>
                    <a:pt x="1152" y="966"/>
                  </a:lnTo>
                  <a:lnTo>
                    <a:pt x="1152" y="970"/>
                  </a:lnTo>
                  <a:lnTo>
                    <a:pt x="1156" y="970"/>
                  </a:lnTo>
                  <a:lnTo>
                    <a:pt x="1156" y="974"/>
                  </a:lnTo>
                  <a:lnTo>
                    <a:pt x="1152" y="978"/>
                  </a:lnTo>
                  <a:lnTo>
                    <a:pt x="1148" y="978"/>
                  </a:lnTo>
                  <a:lnTo>
                    <a:pt x="1145" y="982"/>
                  </a:lnTo>
                  <a:lnTo>
                    <a:pt x="1141" y="982"/>
                  </a:lnTo>
                  <a:lnTo>
                    <a:pt x="1137" y="986"/>
                  </a:lnTo>
                  <a:lnTo>
                    <a:pt x="1133" y="982"/>
                  </a:lnTo>
                  <a:lnTo>
                    <a:pt x="1137" y="982"/>
                  </a:lnTo>
                  <a:lnTo>
                    <a:pt x="1133" y="982"/>
                  </a:lnTo>
                  <a:lnTo>
                    <a:pt x="1133" y="986"/>
                  </a:lnTo>
                  <a:lnTo>
                    <a:pt x="1129" y="990"/>
                  </a:lnTo>
                  <a:lnTo>
                    <a:pt x="1129" y="986"/>
                  </a:lnTo>
                  <a:lnTo>
                    <a:pt x="1125" y="986"/>
                  </a:lnTo>
                  <a:lnTo>
                    <a:pt x="1125" y="990"/>
                  </a:lnTo>
                  <a:lnTo>
                    <a:pt x="1121" y="986"/>
                  </a:lnTo>
                  <a:lnTo>
                    <a:pt x="1117" y="986"/>
                  </a:lnTo>
                  <a:lnTo>
                    <a:pt x="1113" y="986"/>
                  </a:lnTo>
                  <a:lnTo>
                    <a:pt x="1113" y="982"/>
                  </a:lnTo>
                  <a:lnTo>
                    <a:pt x="1113" y="978"/>
                  </a:lnTo>
                  <a:lnTo>
                    <a:pt x="1109" y="978"/>
                  </a:lnTo>
                  <a:lnTo>
                    <a:pt x="1109" y="974"/>
                  </a:lnTo>
                  <a:lnTo>
                    <a:pt x="1109" y="970"/>
                  </a:lnTo>
                  <a:lnTo>
                    <a:pt x="1109" y="962"/>
                  </a:lnTo>
                  <a:lnTo>
                    <a:pt x="1109" y="950"/>
                  </a:lnTo>
                  <a:lnTo>
                    <a:pt x="1109" y="946"/>
                  </a:lnTo>
                  <a:lnTo>
                    <a:pt x="1105" y="946"/>
                  </a:lnTo>
                  <a:lnTo>
                    <a:pt x="1105" y="942"/>
                  </a:lnTo>
                  <a:lnTo>
                    <a:pt x="1101" y="938"/>
                  </a:lnTo>
                  <a:lnTo>
                    <a:pt x="1097" y="942"/>
                  </a:lnTo>
                  <a:lnTo>
                    <a:pt x="1093" y="942"/>
                  </a:lnTo>
                  <a:lnTo>
                    <a:pt x="1089" y="942"/>
                  </a:lnTo>
                  <a:lnTo>
                    <a:pt x="1089" y="938"/>
                  </a:lnTo>
                  <a:lnTo>
                    <a:pt x="1085" y="938"/>
                  </a:lnTo>
                  <a:lnTo>
                    <a:pt x="1085" y="942"/>
                  </a:lnTo>
                  <a:lnTo>
                    <a:pt x="1081" y="946"/>
                  </a:lnTo>
                  <a:lnTo>
                    <a:pt x="1077" y="946"/>
                  </a:lnTo>
                  <a:lnTo>
                    <a:pt x="1077" y="950"/>
                  </a:lnTo>
                  <a:lnTo>
                    <a:pt x="1073" y="954"/>
                  </a:lnTo>
                  <a:lnTo>
                    <a:pt x="1073" y="958"/>
                  </a:lnTo>
                  <a:lnTo>
                    <a:pt x="1073" y="962"/>
                  </a:lnTo>
                  <a:lnTo>
                    <a:pt x="1069" y="962"/>
                  </a:lnTo>
                  <a:lnTo>
                    <a:pt x="1069" y="966"/>
                  </a:lnTo>
                  <a:lnTo>
                    <a:pt x="1069" y="970"/>
                  </a:lnTo>
                  <a:lnTo>
                    <a:pt x="1069" y="974"/>
                  </a:lnTo>
                  <a:lnTo>
                    <a:pt x="1065" y="974"/>
                  </a:lnTo>
                  <a:lnTo>
                    <a:pt x="1065" y="978"/>
                  </a:lnTo>
                  <a:lnTo>
                    <a:pt x="1065" y="982"/>
                  </a:lnTo>
                  <a:lnTo>
                    <a:pt x="1061" y="986"/>
                  </a:lnTo>
                  <a:lnTo>
                    <a:pt x="1057" y="982"/>
                  </a:lnTo>
                  <a:lnTo>
                    <a:pt x="1057" y="986"/>
                  </a:lnTo>
                  <a:lnTo>
                    <a:pt x="1057" y="982"/>
                  </a:lnTo>
                  <a:lnTo>
                    <a:pt x="1053" y="982"/>
                  </a:lnTo>
                  <a:lnTo>
                    <a:pt x="1053" y="986"/>
                  </a:lnTo>
                  <a:lnTo>
                    <a:pt x="1053" y="990"/>
                  </a:lnTo>
                  <a:lnTo>
                    <a:pt x="1049" y="990"/>
                  </a:lnTo>
                  <a:lnTo>
                    <a:pt x="1045" y="990"/>
                  </a:lnTo>
                  <a:lnTo>
                    <a:pt x="1041" y="990"/>
                  </a:lnTo>
                  <a:lnTo>
                    <a:pt x="1037" y="990"/>
                  </a:lnTo>
                  <a:lnTo>
                    <a:pt x="1033" y="990"/>
                  </a:lnTo>
                  <a:lnTo>
                    <a:pt x="1029" y="990"/>
                  </a:lnTo>
                  <a:lnTo>
                    <a:pt x="1025" y="990"/>
                  </a:lnTo>
                  <a:lnTo>
                    <a:pt x="1021" y="990"/>
                  </a:lnTo>
                  <a:lnTo>
                    <a:pt x="1017" y="990"/>
                  </a:lnTo>
                  <a:lnTo>
                    <a:pt x="1009" y="990"/>
                  </a:lnTo>
                  <a:lnTo>
                    <a:pt x="1005" y="990"/>
                  </a:lnTo>
                  <a:lnTo>
                    <a:pt x="1001" y="990"/>
                  </a:lnTo>
                  <a:lnTo>
                    <a:pt x="997" y="990"/>
                  </a:lnTo>
                  <a:lnTo>
                    <a:pt x="997" y="994"/>
                  </a:lnTo>
                  <a:lnTo>
                    <a:pt x="993" y="994"/>
                  </a:lnTo>
                  <a:lnTo>
                    <a:pt x="989" y="998"/>
                  </a:lnTo>
                  <a:lnTo>
                    <a:pt x="989" y="1002"/>
                  </a:lnTo>
                  <a:lnTo>
                    <a:pt x="985" y="1002"/>
                  </a:lnTo>
                  <a:lnTo>
                    <a:pt x="985" y="1006"/>
                  </a:lnTo>
                  <a:lnTo>
                    <a:pt x="981" y="1006"/>
                  </a:lnTo>
                  <a:lnTo>
                    <a:pt x="977" y="1010"/>
                  </a:lnTo>
                  <a:lnTo>
                    <a:pt x="977" y="1014"/>
                  </a:lnTo>
                  <a:lnTo>
                    <a:pt x="973" y="1014"/>
                  </a:lnTo>
                  <a:lnTo>
                    <a:pt x="973" y="1018"/>
                  </a:lnTo>
                  <a:lnTo>
                    <a:pt x="969" y="1018"/>
                  </a:lnTo>
                  <a:lnTo>
                    <a:pt x="965" y="1018"/>
                  </a:lnTo>
                  <a:lnTo>
                    <a:pt x="961" y="1018"/>
                  </a:lnTo>
                  <a:lnTo>
                    <a:pt x="957" y="1018"/>
                  </a:lnTo>
                  <a:lnTo>
                    <a:pt x="953" y="1018"/>
                  </a:lnTo>
                  <a:lnTo>
                    <a:pt x="949" y="1018"/>
                  </a:lnTo>
                  <a:lnTo>
                    <a:pt x="941" y="1018"/>
                  </a:lnTo>
                  <a:lnTo>
                    <a:pt x="937" y="1022"/>
                  </a:lnTo>
                  <a:lnTo>
                    <a:pt x="937" y="1026"/>
                  </a:lnTo>
                  <a:lnTo>
                    <a:pt x="937" y="1030"/>
                  </a:lnTo>
                  <a:lnTo>
                    <a:pt x="937" y="1034"/>
                  </a:lnTo>
                  <a:lnTo>
                    <a:pt x="941" y="1034"/>
                  </a:lnTo>
                  <a:lnTo>
                    <a:pt x="937" y="1034"/>
                  </a:lnTo>
                  <a:lnTo>
                    <a:pt x="937" y="1038"/>
                  </a:lnTo>
                  <a:lnTo>
                    <a:pt x="933" y="1038"/>
                  </a:lnTo>
                  <a:lnTo>
                    <a:pt x="929" y="1042"/>
                  </a:lnTo>
                  <a:lnTo>
                    <a:pt x="925" y="1042"/>
                  </a:lnTo>
                  <a:lnTo>
                    <a:pt x="921" y="1045"/>
                  </a:lnTo>
                  <a:lnTo>
                    <a:pt x="913" y="1045"/>
                  </a:lnTo>
                  <a:lnTo>
                    <a:pt x="909" y="1049"/>
                  </a:lnTo>
                  <a:lnTo>
                    <a:pt x="905" y="1049"/>
                  </a:lnTo>
                  <a:lnTo>
                    <a:pt x="901" y="1049"/>
                  </a:lnTo>
                  <a:lnTo>
                    <a:pt x="897" y="1053"/>
                  </a:lnTo>
                  <a:lnTo>
                    <a:pt x="893" y="1053"/>
                  </a:lnTo>
                  <a:lnTo>
                    <a:pt x="889" y="1057"/>
                  </a:lnTo>
                  <a:lnTo>
                    <a:pt x="885" y="1061"/>
                  </a:lnTo>
                  <a:lnTo>
                    <a:pt x="881" y="1061"/>
                  </a:lnTo>
                  <a:lnTo>
                    <a:pt x="877" y="1057"/>
                  </a:lnTo>
                  <a:lnTo>
                    <a:pt x="877" y="1053"/>
                  </a:lnTo>
                  <a:lnTo>
                    <a:pt x="873" y="1053"/>
                  </a:lnTo>
                  <a:lnTo>
                    <a:pt x="877" y="1049"/>
                  </a:lnTo>
                  <a:lnTo>
                    <a:pt x="877" y="1045"/>
                  </a:lnTo>
                  <a:lnTo>
                    <a:pt x="881" y="1045"/>
                  </a:lnTo>
                  <a:lnTo>
                    <a:pt x="881" y="1042"/>
                  </a:lnTo>
                  <a:lnTo>
                    <a:pt x="885" y="1042"/>
                  </a:lnTo>
                  <a:lnTo>
                    <a:pt x="885" y="1038"/>
                  </a:lnTo>
                  <a:lnTo>
                    <a:pt x="885" y="1034"/>
                  </a:lnTo>
                  <a:lnTo>
                    <a:pt x="885" y="1030"/>
                  </a:lnTo>
                  <a:lnTo>
                    <a:pt x="889" y="1030"/>
                  </a:lnTo>
                  <a:lnTo>
                    <a:pt x="889" y="1026"/>
                  </a:lnTo>
                  <a:lnTo>
                    <a:pt x="889" y="1022"/>
                  </a:lnTo>
                  <a:lnTo>
                    <a:pt x="889" y="1014"/>
                  </a:lnTo>
                  <a:lnTo>
                    <a:pt x="889" y="1002"/>
                  </a:lnTo>
                  <a:lnTo>
                    <a:pt x="885" y="994"/>
                  </a:lnTo>
                  <a:lnTo>
                    <a:pt x="885" y="982"/>
                  </a:lnTo>
                  <a:lnTo>
                    <a:pt x="881" y="982"/>
                  </a:lnTo>
                  <a:lnTo>
                    <a:pt x="877" y="978"/>
                  </a:lnTo>
                  <a:lnTo>
                    <a:pt x="873" y="974"/>
                  </a:lnTo>
                  <a:lnTo>
                    <a:pt x="869" y="974"/>
                  </a:lnTo>
                  <a:lnTo>
                    <a:pt x="869" y="970"/>
                  </a:lnTo>
                  <a:lnTo>
                    <a:pt x="869" y="966"/>
                  </a:lnTo>
                  <a:lnTo>
                    <a:pt x="865" y="966"/>
                  </a:lnTo>
                  <a:lnTo>
                    <a:pt x="861" y="966"/>
                  </a:lnTo>
                  <a:lnTo>
                    <a:pt x="861" y="962"/>
                  </a:lnTo>
                  <a:lnTo>
                    <a:pt x="861" y="958"/>
                  </a:lnTo>
                  <a:lnTo>
                    <a:pt x="857" y="958"/>
                  </a:lnTo>
                  <a:lnTo>
                    <a:pt x="853" y="958"/>
                  </a:lnTo>
                  <a:lnTo>
                    <a:pt x="849" y="954"/>
                  </a:lnTo>
                  <a:lnTo>
                    <a:pt x="849" y="950"/>
                  </a:lnTo>
                  <a:lnTo>
                    <a:pt x="841" y="946"/>
                  </a:lnTo>
                  <a:lnTo>
                    <a:pt x="841" y="942"/>
                  </a:lnTo>
                  <a:lnTo>
                    <a:pt x="837" y="942"/>
                  </a:lnTo>
                  <a:lnTo>
                    <a:pt x="833" y="942"/>
                  </a:lnTo>
                  <a:lnTo>
                    <a:pt x="833" y="938"/>
                  </a:lnTo>
                  <a:lnTo>
                    <a:pt x="829" y="938"/>
                  </a:lnTo>
                  <a:lnTo>
                    <a:pt x="825" y="934"/>
                  </a:lnTo>
                  <a:lnTo>
                    <a:pt x="821" y="934"/>
                  </a:lnTo>
                  <a:lnTo>
                    <a:pt x="817" y="930"/>
                  </a:lnTo>
                  <a:lnTo>
                    <a:pt x="813" y="930"/>
                  </a:lnTo>
                  <a:lnTo>
                    <a:pt x="813" y="926"/>
                  </a:lnTo>
                  <a:lnTo>
                    <a:pt x="809" y="926"/>
                  </a:lnTo>
                  <a:lnTo>
                    <a:pt x="797" y="918"/>
                  </a:lnTo>
                  <a:lnTo>
                    <a:pt x="794" y="918"/>
                  </a:lnTo>
                  <a:lnTo>
                    <a:pt x="790" y="918"/>
                  </a:lnTo>
                  <a:lnTo>
                    <a:pt x="786" y="922"/>
                  </a:lnTo>
                  <a:lnTo>
                    <a:pt x="782" y="926"/>
                  </a:lnTo>
                  <a:lnTo>
                    <a:pt x="778" y="926"/>
                  </a:lnTo>
                  <a:lnTo>
                    <a:pt x="774" y="926"/>
                  </a:lnTo>
                  <a:lnTo>
                    <a:pt x="770" y="926"/>
                  </a:lnTo>
                  <a:lnTo>
                    <a:pt x="770" y="922"/>
                  </a:lnTo>
                  <a:lnTo>
                    <a:pt x="766" y="922"/>
                  </a:lnTo>
                  <a:lnTo>
                    <a:pt x="762" y="922"/>
                  </a:lnTo>
                  <a:lnTo>
                    <a:pt x="758" y="922"/>
                  </a:lnTo>
                  <a:lnTo>
                    <a:pt x="758" y="918"/>
                  </a:lnTo>
                  <a:lnTo>
                    <a:pt x="758" y="922"/>
                  </a:lnTo>
                  <a:lnTo>
                    <a:pt x="754" y="922"/>
                  </a:lnTo>
                  <a:lnTo>
                    <a:pt x="750" y="922"/>
                  </a:lnTo>
                  <a:lnTo>
                    <a:pt x="750" y="926"/>
                  </a:lnTo>
                  <a:lnTo>
                    <a:pt x="750" y="922"/>
                  </a:lnTo>
                  <a:lnTo>
                    <a:pt x="746" y="922"/>
                  </a:lnTo>
                  <a:lnTo>
                    <a:pt x="742" y="922"/>
                  </a:lnTo>
                  <a:lnTo>
                    <a:pt x="742" y="918"/>
                  </a:lnTo>
                  <a:lnTo>
                    <a:pt x="738" y="918"/>
                  </a:lnTo>
                  <a:lnTo>
                    <a:pt x="738" y="922"/>
                  </a:lnTo>
                  <a:lnTo>
                    <a:pt x="734" y="918"/>
                  </a:lnTo>
                  <a:lnTo>
                    <a:pt x="734" y="914"/>
                  </a:lnTo>
                  <a:lnTo>
                    <a:pt x="730" y="914"/>
                  </a:lnTo>
                  <a:lnTo>
                    <a:pt x="726" y="910"/>
                  </a:lnTo>
                  <a:lnTo>
                    <a:pt x="722" y="910"/>
                  </a:lnTo>
                  <a:lnTo>
                    <a:pt x="718" y="914"/>
                  </a:lnTo>
                  <a:lnTo>
                    <a:pt x="714" y="914"/>
                  </a:lnTo>
                  <a:lnTo>
                    <a:pt x="714" y="910"/>
                  </a:lnTo>
                  <a:lnTo>
                    <a:pt x="710" y="910"/>
                  </a:lnTo>
                  <a:lnTo>
                    <a:pt x="706" y="910"/>
                  </a:lnTo>
                  <a:lnTo>
                    <a:pt x="702" y="910"/>
                  </a:lnTo>
                  <a:lnTo>
                    <a:pt x="702" y="906"/>
                  </a:lnTo>
                  <a:lnTo>
                    <a:pt x="702" y="902"/>
                  </a:lnTo>
                  <a:lnTo>
                    <a:pt x="698" y="902"/>
                  </a:lnTo>
                  <a:lnTo>
                    <a:pt x="698" y="898"/>
                  </a:lnTo>
                  <a:lnTo>
                    <a:pt x="698" y="894"/>
                  </a:lnTo>
                  <a:lnTo>
                    <a:pt x="694" y="894"/>
                  </a:lnTo>
                  <a:lnTo>
                    <a:pt x="694" y="898"/>
                  </a:lnTo>
                  <a:lnTo>
                    <a:pt x="694" y="902"/>
                  </a:lnTo>
                  <a:lnTo>
                    <a:pt x="690" y="902"/>
                  </a:lnTo>
                  <a:lnTo>
                    <a:pt x="662" y="902"/>
                  </a:lnTo>
                  <a:lnTo>
                    <a:pt x="658" y="902"/>
                  </a:lnTo>
                  <a:lnTo>
                    <a:pt x="654" y="902"/>
                  </a:lnTo>
                  <a:lnTo>
                    <a:pt x="650" y="902"/>
                  </a:lnTo>
                  <a:lnTo>
                    <a:pt x="646" y="902"/>
                  </a:lnTo>
                  <a:lnTo>
                    <a:pt x="642" y="902"/>
                  </a:lnTo>
                  <a:lnTo>
                    <a:pt x="638" y="902"/>
                  </a:lnTo>
                  <a:lnTo>
                    <a:pt x="630" y="902"/>
                  </a:lnTo>
                  <a:lnTo>
                    <a:pt x="622" y="902"/>
                  </a:lnTo>
                  <a:lnTo>
                    <a:pt x="614" y="902"/>
                  </a:lnTo>
                  <a:lnTo>
                    <a:pt x="602" y="902"/>
                  </a:lnTo>
                  <a:lnTo>
                    <a:pt x="598" y="902"/>
                  </a:lnTo>
                  <a:lnTo>
                    <a:pt x="586" y="902"/>
                  </a:lnTo>
                  <a:lnTo>
                    <a:pt x="582" y="902"/>
                  </a:lnTo>
                  <a:lnTo>
                    <a:pt x="578" y="902"/>
                  </a:lnTo>
                  <a:lnTo>
                    <a:pt x="574" y="902"/>
                  </a:lnTo>
                  <a:lnTo>
                    <a:pt x="570" y="902"/>
                  </a:lnTo>
                  <a:lnTo>
                    <a:pt x="566" y="902"/>
                  </a:lnTo>
                  <a:lnTo>
                    <a:pt x="562" y="902"/>
                  </a:lnTo>
                  <a:lnTo>
                    <a:pt x="558" y="902"/>
                  </a:lnTo>
                  <a:lnTo>
                    <a:pt x="554" y="902"/>
                  </a:lnTo>
                  <a:lnTo>
                    <a:pt x="546" y="902"/>
                  </a:lnTo>
                  <a:lnTo>
                    <a:pt x="542" y="902"/>
                  </a:lnTo>
                  <a:lnTo>
                    <a:pt x="534" y="902"/>
                  </a:lnTo>
                  <a:lnTo>
                    <a:pt x="530" y="902"/>
                  </a:lnTo>
                  <a:lnTo>
                    <a:pt x="526" y="902"/>
                  </a:lnTo>
                  <a:lnTo>
                    <a:pt x="522" y="902"/>
                  </a:lnTo>
                  <a:lnTo>
                    <a:pt x="518" y="902"/>
                  </a:lnTo>
                  <a:lnTo>
                    <a:pt x="510" y="902"/>
                  </a:lnTo>
                  <a:lnTo>
                    <a:pt x="506" y="902"/>
                  </a:lnTo>
                  <a:lnTo>
                    <a:pt x="502" y="902"/>
                  </a:lnTo>
                  <a:lnTo>
                    <a:pt x="498" y="902"/>
                  </a:lnTo>
                  <a:lnTo>
                    <a:pt x="494" y="902"/>
                  </a:lnTo>
                  <a:lnTo>
                    <a:pt x="490" y="902"/>
                  </a:lnTo>
                  <a:lnTo>
                    <a:pt x="486" y="902"/>
                  </a:lnTo>
                  <a:lnTo>
                    <a:pt x="478" y="902"/>
                  </a:lnTo>
                  <a:lnTo>
                    <a:pt x="474" y="902"/>
                  </a:lnTo>
                  <a:lnTo>
                    <a:pt x="470" y="902"/>
                  </a:lnTo>
                  <a:lnTo>
                    <a:pt x="466" y="902"/>
                  </a:lnTo>
                  <a:lnTo>
                    <a:pt x="462" y="902"/>
                  </a:lnTo>
                  <a:lnTo>
                    <a:pt x="458" y="902"/>
                  </a:lnTo>
                  <a:lnTo>
                    <a:pt x="446" y="902"/>
                  </a:lnTo>
                  <a:lnTo>
                    <a:pt x="442" y="902"/>
                  </a:lnTo>
                  <a:lnTo>
                    <a:pt x="439" y="902"/>
                  </a:lnTo>
                  <a:lnTo>
                    <a:pt x="435" y="902"/>
                  </a:lnTo>
                  <a:lnTo>
                    <a:pt x="431" y="902"/>
                  </a:lnTo>
                  <a:lnTo>
                    <a:pt x="423" y="902"/>
                  </a:lnTo>
                  <a:lnTo>
                    <a:pt x="419" y="902"/>
                  </a:lnTo>
                  <a:lnTo>
                    <a:pt x="415" y="902"/>
                  </a:lnTo>
                  <a:lnTo>
                    <a:pt x="407" y="902"/>
                  </a:lnTo>
                  <a:lnTo>
                    <a:pt x="403" y="902"/>
                  </a:lnTo>
                  <a:lnTo>
                    <a:pt x="399" y="902"/>
                  </a:lnTo>
                  <a:lnTo>
                    <a:pt x="395" y="902"/>
                  </a:lnTo>
                  <a:lnTo>
                    <a:pt x="391" y="902"/>
                  </a:lnTo>
                  <a:lnTo>
                    <a:pt x="387" y="902"/>
                  </a:lnTo>
                  <a:lnTo>
                    <a:pt x="383" y="902"/>
                  </a:lnTo>
                  <a:lnTo>
                    <a:pt x="379" y="902"/>
                  </a:lnTo>
                  <a:lnTo>
                    <a:pt x="363" y="902"/>
                  </a:lnTo>
                  <a:lnTo>
                    <a:pt x="359" y="902"/>
                  </a:lnTo>
                  <a:lnTo>
                    <a:pt x="355" y="902"/>
                  </a:lnTo>
                  <a:lnTo>
                    <a:pt x="351" y="902"/>
                  </a:lnTo>
                  <a:lnTo>
                    <a:pt x="347" y="902"/>
                  </a:lnTo>
                  <a:lnTo>
                    <a:pt x="343" y="902"/>
                  </a:lnTo>
                  <a:lnTo>
                    <a:pt x="335" y="902"/>
                  </a:lnTo>
                  <a:lnTo>
                    <a:pt x="331" y="902"/>
                  </a:lnTo>
                  <a:lnTo>
                    <a:pt x="327" y="902"/>
                  </a:lnTo>
                  <a:lnTo>
                    <a:pt x="319" y="902"/>
                  </a:lnTo>
                  <a:lnTo>
                    <a:pt x="315" y="902"/>
                  </a:lnTo>
                  <a:lnTo>
                    <a:pt x="311" y="902"/>
                  </a:lnTo>
                  <a:lnTo>
                    <a:pt x="303" y="902"/>
                  </a:lnTo>
                  <a:lnTo>
                    <a:pt x="287" y="902"/>
                  </a:lnTo>
                  <a:lnTo>
                    <a:pt x="283" y="902"/>
                  </a:lnTo>
                  <a:lnTo>
                    <a:pt x="279" y="902"/>
                  </a:lnTo>
                  <a:lnTo>
                    <a:pt x="275" y="902"/>
                  </a:lnTo>
                  <a:lnTo>
                    <a:pt x="271" y="902"/>
                  </a:lnTo>
                  <a:lnTo>
                    <a:pt x="267" y="902"/>
                  </a:lnTo>
                  <a:lnTo>
                    <a:pt x="267" y="898"/>
                  </a:lnTo>
                  <a:lnTo>
                    <a:pt x="271" y="898"/>
                  </a:lnTo>
                  <a:lnTo>
                    <a:pt x="275" y="898"/>
                  </a:lnTo>
                  <a:lnTo>
                    <a:pt x="275" y="894"/>
                  </a:lnTo>
                  <a:lnTo>
                    <a:pt x="271" y="894"/>
                  </a:lnTo>
                  <a:lnTo>
                    <a:pt x="271" y="898"/>
                  </a:lnTo>
                  <a:lnTo>
                    <a:pt x="267" y="894"/>
                  </a:lnTo>
                  <a:lnTo>
                    <a:pt x="267" y="890"/>
                  </a:lnTo>
                  <a:lnTo>
                    <a:pt x="271" y="886"/>
                  </a:lnTo>
                  <a:lnTo>
                    <a:pt x="267" y="890"/>
                  </a:lnTo>
                  <a:lnTo>
                    <a:pt x="263" y="890"/>
                  </a:lnTo>
                  <a:lnTo>
                    <a:pt x="263" y="894"/>
                  </a:lnTo>
                  <a:lnTo>
                    <a:pt x="259" y="894"/>
                  </a:lnTo>
                  <a:lnTo>
                    <a:pt x="259" y="890"/>
                  </a:lnTo>
                  <a:lnTo>
                    <a:pt x="255" y="890"/>
                  </a:lnTo>
                  <a:lnTo>
                    <a:pt x="255" y="886"/>
                  </a:lnTo>
                  <a:lnTo>
                    <a:pt x="259" y="886"/>
                  </a:lnTo>
                  <a:lnTo>
                    <a:pt x="259" y="890"/>
                  </a:lnTo>
                  <a:lnTo>
                    <a:pt x="263" y="890"/>
                  </a:lnTo>
                  <a:lnTo>
                    <a:pt x="263" y="886"/>
                  </a:lnTo>
                  <a:lnTo>
                    <a:pt x="263" y="890"/>
                  </a:lnTo>
                  <a:lnTo>
                    <a:pt x="259" y="890"/>
                  </a:lnTo>
                  <a:lnTo>
                    <a:pt x="259" y="886"/>
                  </a:lnTo>
                  <a:lnTo>
                    <a:pt x="259" y="882"/>
                  </a:lnTo>
                  <a:lnTo>
                    <a:pt x="259" y="878"/>
                  </a:lnTo>
                  <a:lnTo>
                    <a:pt x="255" y="878"/>
                  </a:lnTo>
                  <a:lnTo>
                    <a:pt x="259" y="878"/>
                  </a:lnTo>
                  <a:lnTo>
                    <a:pt x="259" y="882"/>
                  </a:lnTo>
                  <a:lnTo>
                    <a:pt x="255" y="882"/>
                  </a:lnTo>
                  <a:lnTo>
                    <a:pt x="259" y="882"/>
                  </a:lnTo>
                  <a:lnTo>
                    <a:pt x="259" y="886"/>
                  </a:lnTo>
                  <a:lnTo>
                    <a:pt x="255" y="886"/>
                  </a:lnTo>
                  <a:lnTo>
                    <a:pt x="255" y="882"/>
                  </a:lnTo>
                  <a:lnTo>
                    <a:pt x="255" y="886"/>
                  </a:lnTo>
                  <a:lnTo>
                    <a:pt x="251" y="886"/>
                  </a:lnTo>
                  <a:lnTo>
                    <a:pt x="247" y="886"/>
                  </a:lnTo>
                  <a:lnTo>
                    <a:pt x="247" y="882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47" y="882"/>
                  </a:lnTo>
                  <a:lnTo>
                    <a:pt x="247" y="878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51" y="870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3" y="874"/>
                  </a:lnTo>
                  <a:lnTo>
                    <a:pt x="239" y="874"/>
                  </a:lnTo>
                  <a:lnTo>
                    <a:pt x="239" y="870"/>
                  </a:lnTo>
                  <a:lnTo>
                    <a:pt x="243" y="870"/>
                  </a:lnTo>
                  <a:lnTo>
                    <a:pt x="243" y="866"/>
                  </a:lnTo>
                  <a:lnTo>
                    <a:pt x="243" y="862"/>
                  </a:lnTo>
                  <a:lnTo>
                    <a:pt x="243" y="866"/>
                  </a:lnTo>
                  <a:lnTo>
                    <a:pt x="243" y="870"/>
                  </a:lnTo>
                  <a:lnTo>
                    <a:pt x="239" y="870"/>
                  </a:lnTo>
                  <a:lnTo>
                    <a:pt x="235" y="870"/>
                  </a:lnTo>
                  <a:lnTo>
                    <a:pt x="235" y="866"/>
                  </a:lnTo>
                  <a:lnTo>
                    <a:pt x="231" y="866"/>
                  </a:lnTo>
                  <a:lnTo>
                    <a:pt x="231" y="870"/>
                  </a:lnTo>
                  <a:lnTo>
                    <a:pt x="227" y="870"/>
                  </a:lnTo>
                  <a:lnTo>
                    <a:pt x="223" y="870"/>
                  </a:lnTo>
                  <a:lnTo>
                    <a:pt x="223" y="866"/>
                  </a:lnTo>
                  <a:lnTo>
                    <a:pt x="227" y="866"/>
                  </a:lnTo>
                  <a:lnTo>
                    <a:pt x="231" y="866"/>
                  </a:lnTo>
                  <a:lnTo>
                    <a:pt x="235" y="862"/>
                  </a:lnTo>
                  <a:lnTo>
                    <a:pt x="235" y="858"/>
                  </a:lnTo>
                  <a:lnTo>
                    <a:pt x="231" y="858"/>
                  </a:lnTo>
                  <a:lnTo>
                    <a:pt x="231" y="862"/>
                  </a:lnTo>
                  <a:lnTo>
                    <a:pt x="231" y="866"/>
                  </a:lnTo>
                  <a:lnTo>
                    <a:pt x="227" y="866"/>
                  </a:lnTo>
                  <a:lnTo>
                    <a:pt x="223" y="866"/>
                  </a:lnTo>
                  <a:lnTo>
                    <a:pt x="223" y="862"/>
                  </a:lnTo>
                  <a:lnTo>
                    <a:pt x="219" y="862"/>
                  </a:lnTo>
                  <a:lnTo>
                    <a:pt x="223" y="862"/>
                  </a:lnTo>
                  <a:lnTo>
                    <a:pt x="223" y="858"/>
                  </a:lnTo>
                  <a:lnTo>
                    <a:pt x="223" y="862"/>
                  </a:lnTo>
                  <a:lnTo>
                    <a:pt x="219" y="858"/>
                  </a:lnTo>
                  <a:lnTo>
                    <a:pt x="219" y="862"/>
                  </a:lnTo>
                  <a:lnTo>
                    <a:pt x="215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03" y="858"/>
                  </a:lnTo>
                  <a:lnTo>
                    <a:pt x="207" y="858"/>
                  </a:lnTo>
                  <a:lnTo>
                    <a:pt x="211" y="858"/>
                  </a:lnTo>
                  <a:lnTo>
                    <a:pt x="215" y="858"/>
                  </a:lnTo>
                  <a:lnTo>
                    <a:pt x="215" y="854"/>
                  </a:lnTo>
                  <a:lnTo>
                    <a:pt x="215" y="858"/>
                  </a:lnTo>
                  <a:lnTo>
                    <a:pt x="211" y="858"/>
                  </a:lnTo>
                  <a:lnTo>
                    <a:pt x="207" y="858"/>
                  </a:lnTo>
                  <a:lnTo>
                    <a:pt x="203" y="854"/>
                  </a:lnTo>
                  <a:lnTo>
                    <a:pt x="203" y="858"/>
                  </a:lnTo>
                  <a:lnTo>
                    <a:pt x="199" y="854"/>
                  </a:lnTo>
                  <a:lnTo>
                    <a:pt x="203" y="850"/>
                  </a:lnTo>
                  <a:lnTo>
                    <a:pt x="207" y="854"/>
                  </a:lnTo>
                  <a:lnTo>
                    <a:pt x="207" y="850"/>
                  </a:lnTo>
                  <a:lnTo>
                    <a:pt x="211" y="850"/>
                  </a:lnTo>
                  <a:lnTo>
                    <a:pt x="207" y="850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203" y="850"/>
                  </a:lnTo>
                  <a:lnTo>
                    <a:pt x="203" y="846"/>
                  </a:lnTo>
                  <a:lnTo>
                    <a:pt x="207" y="842"/>
                  </a:lnTo>
                  <a:lnTo>
                    <a:pt x="211" y="842"/>
                  </a:lnTo>
                  <a:lnTo>
                    <a:pt x="215" y="846"/>
                  </a:lnTo>
                  <a:lnTo>
                    <a:pt x="215" y="842"/>
                  </a:lnTo>
                  <a:lnTo>
                    <a:pt x="219" y="842"/>
                  </a:lnTo>
                  <a:lnTo>
                    <a:pt x="215" y="842"/>
                  </a:lnTo>
                  <a:lnTo>
                    <a:pt x="211" y="842"/>
                  </a:lnTo>
                  <a:lnTo>
                    <a:pt x="207" y="842"/>
                  </a:lnTo>
                  <a:lnTo>
                    <a:pt x="203" y="842"/>
                  </a:lnTo>
                  <a:lnTo>
                    <a:pt x="207" y="842"/>
                  </a:lnTo>
                  <a:lnTo>
                    <a:pt x="207" y="838"/>
                  </a:lnTo>
                  <a:lnTo>
                    <a:pt x="203" y="842"/>
                  </a:lnTo>
                  <a:lnTo>
                    <a:pt x="203" y="846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199" y="846"/>
                  </a:lnTo>
                  <a:lnTo>
                    <a:pt x="199" y="842"/>
                  </a:lnTo>
                  <a:lnTo>
                    <a:pt x="199" y="838"/>
                  </a:lnTo>
                  <a:lnTo>
                    <a:pt x="203" y="838"/>
                  </a:lnTo>
                  <a:lnTo>
                    <a:pt x="203" y="834"/>
                  </a:lnTo>
                  <a:lnTo>
                    <a:pt x="203" y="830"/>
                  </a:lnTo>
                  <a:lnTo>
                    <a:pt x="207" y="830"/>
                  </a:lnTo>
                  <a:lnTo>
                    <a:pt x="211" y="830"/>
                  </a:lnTo>
                  <a:lnTo>
                    <a:pt x="215" y="834"/>
                  </a:lnTo>
                  <a:lnTo>
                    <a:pt x="215" y="838"/>
                  </a:lnTo>
                  <a:lnTo>
                    <a:pt x="215" y="834"/>
                  </a:lnTo>
                  <a:lnTo>
                    <a:pt x="215" y="830"/>
                  </a:lnTo>
                  <a:lnTo>
                    <a:pt x="211" y="830"/>
                  </a:lnTo>
                  <a:lnTo>
                    <a:pt x="215" y="826"/>
                  </a:lnTo>
                  <a:lnTo>
                    <a:pt x="211" y="826"/>
                  </a:lnTo>
                  <a:lnTo>
                    <a:pt x="211" y="830"/>
                  </a:lnTo>
                  <a:lnTo>
                    <a:pt x="207" y="826"/>
                  </a:lnTo>
                  <a:lnTo>
                    <a:pt x="207" y="822"/>
                  </a:lnTo>
                  <a:lnTo>
                    <a:pt x="211" y="822"/>
                  </a:lnTo>
                  <a:lnTo>
                    <a:pt x="211" y="818"/>
                  </a:lnTo>
                  <a:lnTo>
                    <a:pt x="211" y="822"/>
                  </a:lnTo>
                  <a:lnTo>
                    <a:pt x="207" y="822"/>
                  </a:lnTo>
                  <a:lnTo>
                    <a:pt x="207" y="826"/>
                  </a:lnTo>
                  <a:lnTo>
                    <a:pt x="203" y="826"/>
                  </a:lnTo>
                  <a:lnTo>
                    <a:pt x="203" y="830"/>
                  </a:lnTo>
                  <a:lnTo>
                    <a:pt x="199" y="830"/>
                  </a:lnTo>
                  <a:lnTo>
                    <a:pt x="199" y="826"/>
                  </a:lnTo>
                  <a:lnTo>
                    <a:pt x="195" y="830"/>
                  </a:lnTo>
                  <a:lnTo>
                    <a:pt x="195" y="826"/>
                  </a:lnTo>
                  <a:lnTo>
                    <a:pt x="199" y="822"/>
                  </a:lnTo>
                  <a:lnTo>
                    <a:pt x="195" y="822"/>
                  </a:lnTo>
                  <a:lnTo>
                    <a:pt x="195" y="826"/>
                  </a:lnTo>
                  <a:lnTo>
                    <a:pt x="191" y="830"/>
                  </a:lnTo>
                  <a:lnTo>
                    <a:pt x="191" y="826"/>
                  </a:lnTo>
                  <a:lnTo>
                    <a:pt x="191" y="822"/>
                  </a:lnTo>
                  <a:lnTo>
                    <a:pt x="195" y="822"/>
                  </a:lnTo>
                  <a:lnTo>
                    <a:pt x="195" y="818"/>
                  </a:lnTo>
                  <a:lnTo>
                    <a:pt x="195" y="814"/>
                  </a:lnTo>
                  <a:lnTo>
                    <a:pt x="195" y="818"/>
                  </a:lnTo>
                  <a:lnTo>
                    <a:pt x="191" y="818"/>
                  </a:lnTo>
                  <a:lnTo>
                    <a:pt x="187" y="814"/>
                  </a:lnTo>
                  <a:lnTo>
                    <a:pt x="187" y="810"/>
                  </a:lnTo>
                  <a:lnTo>
                    <a:pt x="183" y="806"/>
                  </a:lnTo>
                  <a:lnTo>
                    <a:pt x="183" y="802"/>
                  </a:lnTo>
                  <a:lnTo>
                    <a:pt x="187" y="802"/>
                  </a:lnTo>
                  <a:lnTo>
                    <a:pt x="187" y="806"/>
                  </a:lnTo>
                  <a:lnTo>
                    <a:pt x="191" y="802"/>
                  </a:lnTo>
                  <a:lnTo>
                    <a:pt x="195" y="802"/>
                  </a:lnTo>
                  <a:lnTo>
                    <a:pt x="195" y="806"/>
                  </a:lnTo>
                  <a:lnTo>
                    <a:pt x="199" y="806"/>
                  </a:lnTo>
                  <a:lnTo>
                    <a:pt x="195" y="806"/>
                  </a:lnTo>
                  <a:lnTo>
                    <a:pt x="195" y="802"/>
                  </a:lnTo>
                  <a:lnTo>
                    <a:pt x="191" y="802"/>
                  </a:lnTo>
                  <a:lnTo>
                    <a:pt x="187" y="802"/>
                  </a:lnTo>
                  <a:lnTo>
                    <a:pt x="183" y="798"/>
                  </a:lnTo>
                  <a:lnTo>
                    <a:pt x="183" y="794"/>
                  </a:lnTo>
                  <a:lnTo>
                    <a:pt x="187" y="794"/>
                  </a:lnTo>
                  <a:lnTo>
                    <a:pt x="187" y="790"/>
                  </a:lnTo>
                  <a:lnTo>
                    <a:pt x="183" y="794"/>
                  </a:lnTo>
                  <a:lnTo>
                    <a:pt x="179" y="798"/>
                  </a:lnTo>
                  <a:lnTo>
                    <a:pt x="179" y="802"/>
                  </a:lnTo>
                  <a:lnTo>
                    <a:pt x="175" y="806"/>
                  </a:lnTo>
                  <a:lnTo>
                    <a:pt x="175" y="802"/>
                  </a:lnTo>
                  <a:lnTo>
                    <a:pt x="171" y="802"/>
                  </a:lnTo>
                  <a:lnTo>
                    <a:pt x="171" y="798"/>
                  </a:lnTo>
                  <a:lnTo>
                    <a:pt x="167" y="794"/>
                  </a:lnTo>
                  <a:lnTo>
                    <a:pt x="163" y="794"/>
                  </a:lnTo>
                  <a:lnTo>
                    <a:pt x="163" y="790"/>
                  </a:lnTo>
                  <a:lnTo>
                    <a:pt x="163" y="786"/>
                  </a:lnTo>
                  <a:lnTo>
                    <a:pt x="167" y="786"/>
                  </a:lnTo>
                  <a:lnTo>
                    <a:pt x="171" y="786"/>
                  </a:lnTo>
                  <a:lnTo>
                    <a:pt x="175" y="786"/>
                  </a:lnTo>
                  <a:lnTo>
                    <a:pt x="171" y="786"/>
                  </a:lnTo>
                  <a:lnTo>
                    <a:pt x="167" y="786"/>
                  </a:lnTo>
                  <a:lnTo>
                    <a:pt x="163" y="786"/>
                  </a:lnTo>
                  <a:lnTo>
                    <a:pt x="163" y="782"/>
                  </a:lnTo>
                  <a:lnTo>
                    <a:pt x="159" y="782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59" y="778"/>
                  </a:lnTo>
                  <a:lnTo>
                    <a:pt x="163" y="778"/>
                  </a:lnTo>
                  <a:lnTo>
                    <a:pt x="163" y="782"/>
                  </a:lnTo>
                  <a:lnTo>
                    <a:pt x="167" y="782"/>
                  </a:lnTo>
                  <a:lnTo>
                    <a:pt x="163" y="778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63" y="774"/>
                  </a:lnTo>
                  <a:lnTo>
                    <a:pt x="167" y="774"/>
                  </a:lnTo>
                  <a:lnTo>
                    <a:pt x="167" y="778"/>
                  </a:lnTo>
                  <a:lnTo>
                    <a:pt x="167" y="774"/>
                  </a:lnTo>
                  <a:lnTo>
                    <a:pt x="163" y="774"/>
                  </a:lnTo>
                  <a:lnTo>
                    <a:pt x="163" y="770"/>
                  </a:lnTo>
                  <a:lnTo>
                    <a:pt x="163" y="766"/>
                  </a:lnTo>
                  <a:lnTo>
                    <a:pt x="167" y="766"/>
                  </a:lnTo>
                  <a:lnTo>
                    <a:pt x="171" y="766"/>
                  </a:lnTo>
                  <a:lnTo>
                    <a:pt x="167" y="766"/>
                  </a:lnTo>
                  <a:lnTo>
                    <a:pt x="167" y="762"/>
                  </a:lnTo>
                  <a:lnTo>
                    <a:pt x="171" y="758"/>
                  </a:lnTo>
                  <a:lnTo>
                    <a:pt x="175" y="758"/>
                  </a:lnTo>
                  <a:lnTo>
                    <a:pt x="175" y="754"/>
                  </a:lnTo>
                  <a:lnTo>
                    <a:pt x="171" y="758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54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62"/>
                  </a:lnTo>
                  <a:lnTo>
                    <a:pt x="167" y="766"/>
                  </a:lnTo>
                  <a:lnTo>
                    <a:pt x="163" y="766"/>
                  </a:lnTo>
                  <a:lnTo>
                    <a:pt x="163" y="762"/>
                  </a:lnTo>
                  <a:lnTo>
                    <a:pt x="167" y="762"/>
                  </a:lnTo>
                  <a:lnTo>
                    <a:pt x="167" y="758"/>
                  </a:lnTo>
                  <a:lnTo>
                    <a:pt x="163" y="754"/>
                  </a:lnTo>
                  <a:lnTo>
                    <a:pt x="163" y="750"/>
                  </a:lnTo>
                  <a:lnTo>
                    <a:pt x="163" y="746"/>
                  </a:lnTo>
                  <a:lnTo>
                    <a:pt x="167" y="746"/>
                  </a:lnTo>
                  <a:lnTo>
                    <a:pt x="167" y="742"/>
                  </a:lnTo>
                  <a:lnTo>
                    <a:pt x="163" y="742"/>
                  </a:lnTo>
                  <a:lnTo>
                    <a:pt x="159" y="742"/>
                  </a:lnTo>
                  <a:lnTo>
                    <a:pt x="159" y="738"/>
                  </a:lnTo>
                  <a:lnTo>
                    <a:pt x="155" y="738"/>
                  </a:lnTo>
                  <a:lnTo>
                    <a:pt x="155" y="734"/>
                  </a:lnTo>
                  <a:lnTo>
                    <a:pt x="151" y="734"/>
                  </a:lnTo>
                  <a:lnTo>
                    <a:pt x="147" y="734"/>
                  </a:lnTo>
                  <a:lnTo>
                    <a:pt x="147" y="730"/>
                  </a:lnTo>
                  <a:lnTo>
                    <a:pt x="143" y="730"/>
                  </a:lnTo>
                  <a:lnTo>
                    <a:pt x="139" y="730"/>
                  </a:lnTo>
                  <a:lnTo>
                    <a:pt x="139" y="726"/>
                  </a:lnTo>
                  <a:lnTo>
                    <a:pt x="135" y="722"/>
                  </a:lnTo>
                  <a:lnTo>
                    <a:pt x="135" y="718"/>
                  </a:lnTo>
                  <a:lnTo>
                    <a:pt x="131" y="718"/>
                  </a:lnTo>
                  <a:lnTo>
                    <a:pt x="131" y="714"/>
                  </a:lnTo>
                  <a:lnTo>
                    <a:pt x="131" y="710"/>
                  </a:lnTo>
                  <a:lnTo>
                    <a:pt x="127" y="710"/>
                  </a:lnTo>
                  <a:lnTo>
                    <a:pt x="127" y="706"/>
                  </a:lnTo>
                  <a:lnTo>
                    <a:pt x="123" y="702"/>
                  </a:lnTo>
                  <a:lnTo>
                    <a:pt x="123" y="698"/>
                  </a:lnTo>
                  <a:lnTo>
                    <a:pt x="119" y="698"/>
                  </a:lnTo>
                  <a:lnTo>
                    <a:pt x="119" y="694"/>
                  </a:lnTo>
                  <a:lnTo>
                    <a:pt x="119" y="690"/>
                  </a:lnTo>
                  <a:lnTo>
                    <a:pt x="115" y="690"/>
                  </a:lnTo>
                  <a:lnTo>
                    <a:pt x="115" y="686"/>
                  </a:lnTo>
                  <a:lnTo>
                    <a:pt x="111" y="682"/>
                  </a:lnTo>
                  <a:lnTo>
                    <a:pt x="107" y="682"/>
                  </a:lnTo>
                  <a:lnTo>
                    <a:pt x="107" y="678"/>
                  </a:lnTo>
                  <a:lnTo>
                    <a:pt x="103" y="678"/>
                  </a:lnTo>
                  <a:lnTo>
                    <a:pt x="103" y="674"/>
                  </a:lnTo>
                  <a:lnTo>
                    <a:pt x="99" y="674"/>
                  </a:lnTo>
                  <a:lnTo>
                    <a:pt x="99" y="670"/>
                  </a:lnTo>
                  <a:lnTo>
                    <a:pt x="95" y="670"/>
                  </a:lnTo>
                  <a:lnTo>
                    <a:pt x="95" y="666"/>
                  </a:lnTo>
                  <a:lnTo>
                    <a:pt x="91" y="666"/>
                  </a:lnTo>
                  <a:lnTo>
                    <a:pt x="88" y="662"/>
                  </a:lnTo>
                  <a:lnTo>
                    <a:pt x="91" y="662"/>
                  </a:lnTo>
                  <a:lnTo>
                    <a:pt x="91" y="658"/>
                  </a:lnTo>
                  <a:lnTo>
                    <a:pt x="88" y="658"/>
                  </a:lnTo>
                  <a:lnTo>
                    <a:pt x="84" y="654"/>
                  </a:lnTo>
                  <a:lnTo>
                    <a:pt x="80" y="654"/>
                  </a:lnTo>
                  <a:lnTo>
                    <a:pt x="76" y="654"/>
                  </a:lnTo>
                  <a:lnTo>
                    <a:pt x="76" y="658"/>
                  </a:lnTo>
                  <a:lnTo>
                    <a:pt x="72" y="658"/>
                  </a:lnTo>
                  <a:lnTo>
                    <a:pt x="72" y="662"/>
                  </a:lnTo>
                  <a:lnTo>
                    <a:pt x="68" y="662"/>
                  </a:lnTo>
                  <a:lnTo>
                    <a:pt x="68" y="666"/>
                  </a:lnTo>
                  <a:lnTo>
                    <a:pt x="68" y="670"/>
                  </a:lnTo>
                  <a:lnTo>
                    <a:pt x="64" y="670"/>
                  </a:lnTo>
                  <a:lnTo>
                    <a:pt x="60" y="670"/>
                  </a:lnTo>
                  <a:lnTo>
                    <a:pt x="56" y="670"/>
                  </a:lnTo>
                  <a:lnTo>
                    <a:pt x="56" y="674"/>
                  </a:lnTo>
                  <a:lnTo>
                    <a:pt x="52" y="674"/>
                  </a:lnTo>
                  <a:lnTo>
                    <a:pt x="52" y="670"/>
                  </a:lnTo>
                  <a:lnTo>
                    <a:pt x="52" y="666"/>
                  </a:lnTo>
                  <a:lnTo>
                    <a:pt x="48" y="662"/>
                  </a:lnTo>
                  <a:lnTo>
                    <a:pt x="44" y="658"/>
                  </a:lnTo>
                  <a:lnTo>
                    <a:pt x="40" y="658"/>
                  </a:lnTo>
                  <a:lnTo>
                    <a:pt x="36" y="654"/>
                  </a:lnTo>
                  <a:lnTo>
                    <a:pt x="36" y="650"/>
                  </a:lnTo>
                  <a:lnTo>
                    <a:pt x="32" y="650"/>
                  </a:lnTo>
                  <a:lnTo>
                    <a:pt x="28" y="646"/>
                  </a:lnTo>
                  <a:lnTo>
                    <a:pt x="28" y="642"/>
                  </a:lnTo>
                  <a:lnTo>
                    <a:pt x="28" y="638"/>
                  </a:lnTo>
                  <a:lnTo>
                    <a:pt x="24" y="638"/>
                  </a:lnTo>
                  <a:lnTo>
                    <a:pt x="20" y="638"/>
                  </a:lnTo>
                  <a:lnTo>
                    <a:pt x="20" y="642"/>
                  </a:lnTo>
                  <a:lnTo>
                    <a:pt x="16" y="642"/>
                  </a:lnTo>
                  <a:lnTo>
                    <a:pt x="8" y="642"/>
                  </a:lnTo>
                  <a:lnTo>
                    <a:pt x="0" y="642"/>
                  </a:lnTo>
                  <a:lnTo>
                    <a:pt x="0" y="638"/>
                  </a:lnTo>
                  <a:lnTo>
                    <a:pt x="0" y="626"/>
                  </a:lnTo>
                  <a:lnTo>
                    <a:pt x="0" y="583"/>
                  </a:lnTo>
                  <a:lnTo>
                    <a:pt x="0" y="571"/>
                  </a:lnTo>
                  <a:lnTo>
                    <a:pt x="0" y="555"/>
                  </a:lnTo>
                  <a:lnTo>
                    <a:pt x="0" y="551"/>
                  </a:lnTo>
                  <a:lnTo>
                    <a:pt x="0" y="543"/>
                  </a:lnTo>
                  <a:lnTo>
                    <a:pt x="0" y="519"/>
                  </a:lnTo>
                  <a:lnTo>
                    <a:pt x="0" y="507"/>
                  </a:lnTo>
                  <a:lnTo>
                    <a:pt x="0" y="495"/>
                  </a:lnTo>
                  <a:lnTo>
                    <a:pt x="0" y="483"/>
                  </a:lnTo>
                  <a:lnTo>
                    <a:pt x="0" y="479"/>
                  </a:lnTo>
                  <a:lnTo>
                    <a:pt x="0" y="475"/>
                  </a:lnTo>
                  <a:lnTo>
                    <a:pt x="0" y="471"/>
                  </a:lnTo>
                  <a:lnTo>
                    <a:pt x="0" y="463"/>
                  </a:lnTo>
                  <a:lnTo>
                    <a:pt x="0" y="459"/>
                  </a:lnTo>
                  <a:lnTo>
                    <a:pt x="0" y="451"/>
                  </a:lnTo>
                  <a:lnTo>
                    <a:pt x="0" y="447"/>
                  </a:lnTo>
                  <a:lnTo>
                    <a:pt x="0" y="443"/>
                  </a:lnTo>
                  <a:lnTo>
                    <a:pt x="0" y="439"/>
                  </a:lnTo>
                  <a:lnTo>
                    <a:pt x="0" y="431"/>
                  </a:lnTo>
                  <a:lnTo>
                    <a:pt x="0" y="419"/>
                  </a:lnTo>
                  <a:lnTo>
                    <a:pt x="0" y="407"/>
                  </a:lnTo>
                  <a:lnTo>
                    <a:pt x="0" y="403"/>
                  </a:lnTo>
                  <a:lnTo>
                    <a:pt x="0" y="399"/>
                  </a:lnTo>
                  <a:lnTo>
                    <a:pt x="4" y="399"/>
                  </a:lnTo>
                  <a:lnTo>
                    <a:pt x="4" y="403"/>
                  </a:lnTo>
                  <a:lnTo>
                    <a:pt x="8" y="403"/>
                  </a:lnTo>
                  <a:lnTo>
                    <a:pt x="12" y="403"/>
                  </a:lnTo>
                  <a:lnTo>
                    <a:pt x="16" y="403"/>
                  </a:lnTo>
                  <a:lnTo>
                    <a:pt x="20" y="403"/>
                  </a:lnTo>
                  <a:lnTo>
                    <a:pt x="24" y="403"/>
                  </a:lnTo>
                  <a:lnTo>
                    <a:pt x="28" y="403"/>
                  </a:lnTo>
                  <a:lnTo>
                    <a:pt x="28" y="407"/>
                  </a:lnTo>
                  <a:lnTo>
                    <a:pt x="32" y="407"/>
                  </a:lnTo>
                  <a:lnTo>
                    <a:pt x="36" y="411"/>
                  </a:lnTo>
                  <a:lnTo>
                    <a:pt x="40" y="411"/>
                  </a:lnTo>
                  <a:lnTo>
                    <a:pt x="40" y="415"/>
                  </a:lnTo>
                  <a:lnTo>
                    <a:pt x="44" y="415"/>
                  </a:lnTo>
                  <a:lnTo>
                    <a:pt x="48" y="415"/>
                  </a:lnTo>
                  <a:lnTo>
                    <a:pt x="52" y="419"/>
                  </a:lnTo>
                  <a:lnTo>
                    <a:pt x="56" y="419"/>
                  </a:lnTo>
                  <a:lnTo>
                    <a:pt x="60" y="419"/>
                  </a:lnTo>
                  <a:lnTo>
                    <a:pt x="64" y="423"/>
                  </a:lnTo>
                  <a:lnTo>
                    <a:pt x="68" y="419"/>
                  </a:lnTo>
                  <a:lnTo>
                    <a:pt x="72" y="419"/>
                  </a:lnTo>
                  <a:lnTo>
                    <a:pt x="72" y="423"/>
                  </a:lnTo>
                  <a:lnTo>
                    <a:pt x="76" y="423"/>
                  </a:lnTo>
                  <a:lnTo>
                    <a:pt x="80" y="423"/>
                  </a:lnTo>
                  <a:lnTo>
                    <a:pt x="84" y="423"/>
                  </a:lnTo>
                  <a:lnTo>
                    <a:pt x="84" y="427"/>
                  </a:lnTo>
                  <a:lnTo>
                    <a:pt x="88" y="427"/>
                  </a:lnTo>
                  <a:lnTo>
                    <a:pt x="84" y="423"/>
                  </a:lnTo>
                  <a:lnTo>
                    <a:pt x="80" y="423"/>
                  </a:lnTo>
                  <a:lnTo>
                    <a:pt x="80" y="419"/>
                  </a:lnTo>
                  <a:lnTo>
                    <a:pt x="84" y="419"/>
                  </a:lnTo>
                  <a:lnTo>
                    <a:pt x="88" y="419"/>
                  </a:lnTo>
                  <a:lnTo>
                    <a:pt x="91" y="423"/>
                  </a:lnTo>
                  <a:lnTo>
                    <a:pt x="91" y="419"/>
                  </a:lnTo>
                  <a:lnTo>
                    <a:pt x="95" y="419"/>
                  </a:lnTo>
                  <a:lnTo>
                    <a:pt x="95" y="423"/>
                  </a:lnTo>
                  <a:lnTo>
                    <a:pt x="99" y="427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9" y="423"/>
                  </a:lnTo>
                  <a:lnTo>
                    <a:pt x="95" y="419"/>
                  </a:lnTo>
                  <a:lnTo>
                    <a:pt x="95" y="415"/>
                  </a:lnTo>
                  <a:lnTo>
                    <a:pt x="99" y="415"/>
                  </a:lnTo>
                  <a:lnTo>
                    <a:pt x="103" y="411"/>
                  </a:lnTo>
                  <a:lnTo>
                    <a:pt x="107" y="411"/>
                  </a:lnTo>
                  <a:lnTo>
                    <a:pt x="111" y="407"/>
                  </a:lnTo>
                  <a:lnTo>
                    <a:pt x="115" y="407"/>
                  </a:lnTo>
                  <a:lnTo>
                    <a:pt x="119" y="407"/>
                  </a:lnTo>
                  <a:lnTo>
                    <a:pt x="119" y="403"/>
                  </a:lnTo>
                  <a:lnTo>
                    <a:pt x="123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35" y="399"/>
                  </a:lnTo>
                  <a:lnTo>
                    <a:pt x="139" y="399"/>
                  </a:lnTo>
                  <a:lnTo>
                    <a:pt x="139" y="395"/>
                  </a:lnTo>
                  <a:lnTo>
                    <a:pt x="143" y="395"/>
                  </a:lnTo>
                  <a:lnTo>
                    <a:pt x="143" y="391"/>
                  </a:lnTo>
                  <a:lnTo>
                    <a:pt x="147" y="391"/>
                  </a:lnTo>
                  <a:lnTo>
                    <a:pt x="147" y="395"/>
                  </a:lnTo>
                  <a:lnTo>
                    <a:pt x="151" y="395"/>
                  </a:lnTo>
                  <a:lnTo>
                    <a:pt x="151" y="391"/>
                  </a:lnTo>
                  <a:lnTo>
                    <a:pt x="151" y="387"/>
                  </a:lnTo>
                  <a:lnTo>
                    <a:pt x="155" y="387"/>
                  </a:lnTo>
                  <a:lnTo>
                    <a:pt x="159" y="387"/>
                  </a:lnTo>
                  <a:lnTo>
                    <a:pt x="163" y="391"/>
                  </a:lnTo>
                  <a:lnTo>
                    <a:pt x="167" y="387"/>
                  </a:lnTo>
                  <a:lnTo>
                    <a:pt x="167" y="383"/>
                  </a:lnTo>
                  <a:lnTo>
                    <a:pt x="171" y="383"/>
                  </a:lnTo>
                  <a:lnTo>
                    <a:pt x="175" y="387"/>
                  </a:lnTo>
                  <a:lnTo>
                    <a:pt x="175" y="391"/>
                  </a:lnTo>
                  <a:lnTo>
                    <a:pt x="171" y="391"/>
                  </a:lnTo>
                  <a:lnTo>
                    <a:pt x="167" y="395"/>
                  </a:lnTo>
                  <a:lnTo>
                    <a:pt x="163" y="395"/>
                  </a:lnTo>
                  <a:lnTo>
                    <a:pt x="159" y="395"/>
                  </a:lnTo>
                  <a:lnTo>
                    <a:pt x="159" y="399"/>
                  </a:lnTo>
                  <a:lnTo>
                    <a:pt x="155" y="399"/>
                  </a:lnTo>
                  <a:lnTo>
                    <a:pt x="151" y="403"/>
                  </a:lnTo>
                  <a:lnTo>
                    <a:pt x="151" y="399"/>
                  </a:lnTo>
                  <a:lnTo>
                    <a:pt x="147" y="399"/>
                  </a:lnTo>
                  <a:lnTo>
                    <a:pt x="147" y="403"/>
                  </a:lnTo>
                  <a:lnTo>
                    <a:pt x="143" y="403"/>
                  </a:lnTo>
                  <a:lnTo>
                    <a:pt x="139" y="403"/>
                  </a:lnTo>
                  <a:lnTo>
                    <a:pt x="135" y="403"/>
                  </a:lnTo>
                  <a:lnTo>
                    <a:pt x="135" y="407"/>
                  </a:lnTo>
                  <a:lnTo>
                    <a:pt x="131" y="411"/>
                  </a:lnTo>
                  <a:lnTo>
                    <a:pt x="127" y="411"/>
                  </a:lnTo>
                  <a:lnTo>
                    <a:pt x="123" y="411"/>
                  </a:lnTo>
                  <a:lnTo>
                    <a:pt x="123" y="415"/>
                  </a:lnTo>
                  <a:lnTo>
                    <a:pt x="119" y="415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5" y="423"/>
                  </a:lnTo>
                  <a:lnTo>
                    <a:pt x="115" y="419"/>
                  </a:lnTo>
                  <a:lnTo>
                    <a:pt x="111" y="423"/>
                  </a:lnTo>
                  <a:lnTo>
                    <a:pt x="115" y="423"/>
                  </a:lnTo>
                  <a:lnTo>
                    <a:pt x="119" y="427"/>
                  </a:lnTo>
                  <a:lnTo>
                    <a:pt x="123" y="427"/>
                  </a:lnTo>
                  <a:lnTo>
                    <a:pt x="119" y="427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23" y="423"/>
                  </a:lnTo>
                  <a:lnTo>
                    <a:pt x="127" y="423"/>
                  </a:lnTo>
                  <a:lnTo>
                    <a:pt x="131" y="423"/>
                  </a:lnTo>
                  <a:lnTo>
                    <a:pt x="127" y="419"/>
                  </a:lnTo>
                  <a:lnTo>
                    <a:pt x="127" y="423"/>
                  </a:lnTo>
                  <a:lnTo>
                    <a:pt x="123" y="423"/>
                  </a:lnTo>
                  <a:lnTo>
                    <a:pt x="123" y="419"/>
                  </a:lnTo>
                  <a:lnTo>
                    <a:pt x="123" y="415"/>
                  </a:lnTo>
                  <a:lnTo>
                    <a:pt x="127" y="415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5" y="411"/>
                  </a:lnTo>
                  <a:lnTo>
                    <a:pt x="139" y="411"/>
                  </a:lnTo>
                  <a:lnTo>
                    <a:pt x="139" y="407"/>
                  </a:lnTo>
                  <a:lnTo>
                    <a:pt x="135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43" y="411"/>
                  </a:lnTo>
                  <a:lnTo>
                    <a:pt x="147" y="411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47" y="403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47" y="411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1"/>
                  </a:lnTo>
                  <a:lnTo>
                    <a:pt x="155" y="407"/>
                  </a:lnTo>
                  <a:lnTo>
                    <a:pt x="159" y="403"/>
                  </a:lnTo>
                  <a:lnTo>
                    <a:pt x="159" y="399"/>
                  </a:lnTo>
                  <a:lnTo>
                    <a:pt x="163" y="399"/>
                  </a:lnTo>
                  <a:lnTo>
                    <a:pt x="167" y="399"/>
                  </a:lnTo>
                  <a:lnTo>
                    <a:pt x="171" y="395"/>
                  </a:lnTo>
                  <a:lnTo>
                    <a:pt x="175" y="395"/>
                  </a:lnTo>
                  <a:lnTo>
                    <a:pt x="179" y="395"/>
                  </a:lnTo>
                  <a:lnTo>
                    <a:pt x="179" y="391"/>
                  </a:lnTo>
                  <a:lnTo>
                    <a:pt x="183" y="391"/>
                  </a:lnTo>
                  <a:lnTo>
                    <a:pt x="183" y="395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83" y="399"/>
                  </a:lnTo>
                  <a:lnTo>
                    <a:pt x="187" y="395"/>
                  </a:lnTo>
                  <a:lnTo>
                    <a:pt x="191" y="391"/>
                  </a:lnTo>
                  <a:lnTo>
                    <a:pt x="191" y="387"/>
                  </a:lnTo>
                  <a:lnTo>
                    <a:pt x="195" y="387"/>
                  </a:lnTo>
                  <a:lnTo>
                    <a:pt x="199" y="387"/>
                  </a:lnTo>
                  <a:lnTo>
                    <a:pt x="203" y="383"/>
                  </a:lnTo>
                  <a:lnTo>
                    <a:pt x="199" y="383"/>
                  </a:lnTo>
                  <a:lnTo>
                    <a:pt x="195" y="383"/>
                  </a:lnTo>
                  <a:lnTo>
                    <a:pt x="199" y="379"/>
                  </a:lnTo>
                  <a:lnTo>
                    <a:pt x="195" y="379"/>
                  </a:lnTo>
                  <a:lnTo>
                    <a:pt x="195" y="375"/>
                  </a:lnTo>
                  <a:lnTo>
                    <a:pt x="199" y="375"/>
                  </a:lnTo>
                  <a:lnTo>
                    <a:pt x="199" y="379"/>
                  </a:lnTo>
                  <a:lnTo>
                    <a:pt x="203" y="379"/>
                  </a:lnTo>
                  <a:lnTo>
                    <a:pt x="207" y="383"/>
                  </a:lnTo>
                  <a:lnTo>
                    <a:pt x="211" y="383"/>
                  </a:lnTo>
                  <a:lnTo>
                    <a:pt x="211" y="387"/>
                  </a:lnTo>
                  <a:lnTo>
                    <a:pt x="211" y="391"/>
                  </a:lnTo>
                  <a:lnTo>
                    <a:pt x="215" y="395"/>
                  </a:lnTo>
                  <a:lnTo>
                    <a:pt x="215" y="399"/>
                  </a:lnTo>
                  <a:lnTo>
                    <a:pt x="219" y="399"/>
                  </a:lnTo>
                  <a:lnTo>
                    <a:pt x="223" y="403"/>
                  </a:lnTo>
                  <a:lnTo>
                    <a:pt x="223" y="407"/>
                  </a:lnTo>
                  <a:lnTo>
                    <a:pt x="227" y="407"/>
                  </a:lnTo>
                  <a:lnTo>
                    <a:pt x="235" y="407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9" y="407"/>
                  </a:lnTo>
                  <a:lnTo>
                    <a:pt x="235" y="407"/>
                  </a:lnTo>
                  <a:lnTo>
                    <a:pt x="231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5" y="399"/>
                  </a:lnTo>
                  <a:lnTo>
                    <a:pt x="239" y="399"/>
                  </a:lnTo>
                  <a:lnTo>
                    <a:pt x="243" y="399"/>
                  </a:lnTo>
                  <a:lnTo>
                    <a:pt x="239" y="399"/>
                  </a:lnTo>
                  <a:lnTo>
                    <a:pt x="239" y="395"/>
                  </a:lnTo>
                  <a:lnTo>
                    <a:pt x="243" y="395"/>
                  </a:lnTo>
                  <a:lnTo>
                    <a:pt x="243" y="391"/>
                  </a:lnTo>
                  <a:lnTo>
                    <a:pt x="247" y="391"/>
                  </a:lnTo>
                  <a:lnTo>
                    <a:pt x="243" y="391"/>
                  </a:lnTo>
                  <a:lnTo>
                    <a:pt x="239" y="391"/>
                  </a:lnTo>
                  <a:lnTo>
                    <a:pt x="243" y="387"/>
                  </a:lnTo>
                  <a:lnTo>
                    <a:pt x="243" y="391"/>
                  </a:lnTo>
                  <a:lnTo>
                    <a:pt x="247" y="387"/>
                  </a:lnTo>
                  <a:lnTo>
                    <a:pt x="247" y="391"/>
                  </a:lnTo>
                  <a:lnTo>
                    <a:pt x="251" y="391"/>
                  </a:lnTo>
                  <a:lnTo>
                    <a:pt x="251" y="387"/>
                  </a:lnTo>
                  <a:lnTo>
                    <a:pt x="247" y="387"/>
                  </a:lnTo>
                  <a:lnTo>
                    <a:pt x="251" y="387"/>
                  </a:lnTo>
                  <a:lnTo>
                    <a:pt x="251" y="391"/>
                  </a:lnTo>
                  <a:lnTo>
                    <a:pt x="251" y="395"/>
                  </a:lnTo>
                  <a:lnTo>
                    <a:pt x="251" y="399"/>
                  </a:lnTo>
                  <a:lnTo>
                    <a:pt x="255" y="399"/>
                  </a:lnTo>
                  <a:lnTo>
                    <a:pt x="255" y="403"/>
                  </a:lnTo>
                  <a:lnTo>
                    <a:pt x="251" y="403"/>
                  </a:lnTo>
                  <a:lnTo>
                    <a:pt x="247" y="407"/>
                  </a:lnTo>
                  <a:lnTo>
                    <a:pt x="251" y="407"/>
                  </a:lnTo>
                  <a:lnTo>
                    <a:pt x="255" y="407"/>
                  </a:lnTo>
                  <a:lnTo>
                    <a:pt x="259" y="407"/>
                  </a:lnTo>
                  <a:lnTo>
                    <a:pt x="263" y="407"/>
                  </a:lnTo>
                  <a:lnTo>
                    <a:pt x="267" y="407"/>
                  </a:lnTo>
                  <a:lnTo>
                    <a:pt x="267" y="403"/>
                  </a:lnTo>
                  <a:lnTo>
                    <a:pt x="271" y="403"/>
                  </a:lnTo>
                  <a:lnTo>
                    <a:pt x="271" y="399"/>
                  </a:lnTo>
                  <a:lnTo>
                    <a:pt x="271" y="395"/>
                  </a:lnTo>
                  <a:lnTo>
                    <a:pt x="275" y="395"/>
                  </a:lnTo>
                  <a:lnTo>
                    <a:pt x="279" y="395"/>
                  </a:lnTo>
                  <a:lnTo>
                    <a:pt x="283" y="395"/>
                  </a:lnTo>
                  <a:lnTo>
                    <a:pt x="287" y="395"/>
                  </a:lnTo>
                  <a:lnTo>
                    <a:pt x="291" y="395"/>
                  </a:lnTo>
                  <a:lnTo>
                    <a:pt x="295" y="399"/>
                  </a:lnTo>
                  <a:lnTo>
                    <a:pt x="299" y="399"/>
                  </a:lnTo>
                  <a:lnTo>
                    <a:pt x="303" y="399"/>
                  </a:lnTo>
                  <a:lnTo>
                    <a:pt x="303" y="403"/>
                  </a:lnTo>
                  <a:lnTo>
                    <a:pt x="307" y="403"/>
                  </a:lnTo>
                  <a:lnTo>
                    <a:pt x="311" y="407"/>
                  </a:lnTo>
                  <a:lnTo>
                    <a:pt x="315" y="407"/>
                  </a:lnTo>
                  <a:lnTo>
                    <a:pt x="319" y="407"/>
                  </a:lnTo>
                  <a:lnTo>
                    <a:pt x="323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5" y="411"/>
                  </a:lnTo>
                  <a:lnTo>
                    <a:pt x="339" y="411"/>
                  </a:lnTo>
                  <a:lnTo>
                    <a:pt x="339" y="415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7" y="419"/>
                  </a:lnTo>
                  <a:lnTo>
                    <a:pt x="351" y="419"/>
                  </a:lnTo>
                  <a:lnTo>
                    <a:pt x="355" y="419"/>
                  </a:lnTo>
                  <a:lnTo>
                    <a:pt x="359" y="419"/>
                  </a:lnTo>
                  <a:lnTo>
                    <a:pt x="359" y="423"/>
                  </a:lnTo>
                  <a:lnTo>
                    <a:pt x="363" y="419"/>
                  </a:lnTo>
                  <a:lnTo>
                    <a:pt x="367" y="423"/>
                  </a:lnTo>
                  <a:lnTo>
                    <a:pt x="371" y="423"/>
                  </a:lnTo>
                  <a:lnTo>
                    <a:pt x="375" y="423"/>
                  </a:lnTo>
                  <a:lnTo>
                    <a:pt x="379" y="423"/>
                  </a:lnTo>
                  <a:lnTo>
                    <a:pt x="375" y="423"/>
                  </a:lnTo>
                  <a:lnTo>
                    <a:pt x="375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87" y="419"/>
                  </a:lnTo>
                  <a:lnTo>
                    <a:pt x="391" y="423"/>
                  </a:lnTo>
                  <a:lnTo>
                    <a:pt x="395" y="423"/>
                  </a:lnTo>
                  <a:lnTo>
                    <a:pt x="399" y="423"/>
                  </a:lnTo>
                  <a:lnTo>
                    <a:pt x="399" y="427"/>
                  </a:lnTo>
                  <a:lnTo>
                    <a:pt x="403" y="427"/>
                  </a:lnTo>
                  <a:lnTo>
                    <a:pt x="403" y="431"/>
                  </a:lnTo>
                  <a:lnTo>
                    <a:pt x="407" y="431"/>
                  </a:lnTo>
                  <a:lnTo>
                    <a:pt x="407" y="439"/>
                  </a:lnTo>
                  <a:lnTo>
                    <a:pt x="403" y="439"/>
                  </a:lnTo>
                  <a:lnTo>
                    <a:pt x="399" y="439"/>
                  </a:lnTo>
                  <a:lnTo>
                    <a:pt x="395" y="439"/>
                  </a:lnTo>
                  <a:lnTo>
                    <a:pt x="391" y="439"/>
                  </a:lnTo>
                  <a:lnTo>
                    <a:pt x="391" y="443"/>
                  </a:lnTo>
                  <a:lnTo>
                    <a:pt x="391" y="447"/>
                  </a:lnTo>
                  <a:lnTo>
                    <a:pt x="387" y="447"/>
                  </a:lnTo>
                  <a:lnTo>
                    <a:pt x="391" y="447"/>
                  </a:lnTo>
                  <a:lnTo>
                    <a:pt x="391" y="451"/>
                  </a:lnTo>
                  <a:lnTo>
                    <a:pt x="395" y="451"/>
                  </a:lnTo>
                  <a:lnTo>
                    <a:pt x="399" y="451"/>
                  </a:lnTo>
                  <a:lnTo>
                    <a:pt x="403" y="451"/>
                  </a:lnTo>
                  <a:lnTo>
                    <a:pt x="407" y="451"/>
                  </a:lnTo>
                  <a:lnTo>
                    <a:pt x="411" y="451"/>
                  </a:lnTo>
                  <a:lnTo>
                    <a:pt x="415" y="451"/>
                  </a:lnTo>
                  <a:lnTo>
                    <a:pt x="419" y="451"/>
                  </a:lnTo>
                  <a:lnTo>
                    <a:pt x="423" y="451"/>
                  </a:lnTo>
                  <a:lnTo>
                    <a:pt x="423" y="455"/>
                  </a:lnTo>
                  <a:lnTo>
                    <a:pt x="427" y="455"/>
                  </a:lnTo>
                  <a:lnTo>
                    <a:pt x="431" y="455"/>
                  </a:lnTo>
                  <a:lnTo>
                    <a:pt x="435" y="455"/>
                  </a:lnTo>
                  <a:lnTo>
                    <a:pt x="435" y="451"/>
                  </a:lnTo>
                  <a:lnTo>
                    <a:pt x="439" y="451"/>
                  </a:lnTo>
                  <a:lnTo>
                    <a:pt x="442" y="451"/>
                  </a:lnTo>
                  <a:lnTo>
                    <a:pt x="446" y="451"/>
                  </a:lnTo>
                  <a:lnTo>
                    <a:pt x="450" y="451"/>
                  </a:lnTo>
                  <a:lnTo>
                    <a:pt x="454" y="451"/>
                  </a:lnTo>
                  <a:lnTo>
                    <a:pt x="458" y="451"/>
                  </a:lnTo>
                  <a:lnTo>
                    <a:pt x="458" y="447"/>
                  </a:lnTo>
                  <a:lnTo>
                    <a:pt x="462" y="447"/>
                  </a:lnTo>
                  <a:lnTo>
                    <a:pt x="466" y="447"/>
                  </a:lnTo>
                  <a:lnTo>
                    <a:pt x="466" y="443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4" y="451"/>
                  </a:lnTo>
                  <a:lnTo>
                    <a:pt x="474" y="455"/>
                  </a:lnTo>
                  <a:lnTo>
                    <a:pt x="474" y="451"/>
                  </a:lnTo>
                  <a:lnTo>
                    <a:pt x="478" y="451"/>
                  </a:lnTo>
                  <a:lnTo>
                    <a:pt x="482" y="451"/>
                  </a:lnTo>
                  <a:lnTo>
                    <a:pt x="482" y="455"/>
                  </a:lnTo>
                  <a:lnTo>
                    <a:pt x="486" y="459"/>
                  </a:lnTo>
                  <a:lnTo>
                    <a:pt x="482" y="459"/>
                  </a:lnTo>
                  <a:lnTo>
                    <a:pt x="486" y="459"/>
                  </a:lnTo>
                  <a:lnTo>
                    <a:pt x="486" y="463"/>
                  </a:lnTo>
                  <a:lnTo>
                    <a:pt x="486" y="459"/>
                  </a:lnTo>
                  <a:lnTo>
                    <a:pt x="486" y="455"/>
                  </a:lnTo>
                  <a:lnTo>
                    <a:pt x="490" y="455"/>
                  </a:lnTo>
                  <a:lnTo>
                    <a:pt x="490" y="459"/>
                  </a:lnTo>
                  <a:lnTo>
                    <a:pt x="490" y="463"/>
                  </a:lnTo>
                  <a:lnTo>
                    <a:pt x="494" y="463"/>
                  </a:lnTo>
                  <a:lnTo>
                    <a:pt x="490" y="459"/>
                  </a:lnTo>
                  <a:lnTo>
                    <a:pt x="494" y="459"/>
                  </a:lnTo>
                  <a:lnTo>
                    <a:pt x="498" y="463"/>
                  </a:lnTo>
                  <a:lnTo>
                    <a:pt x="498" y="467"/>
                  </a:lnTo>
                  <a:lnTo>
                    <a:pt x="502" y="467"/>
                  </a:lnTo>
                  <a:lnTo>
                    <a:pt x="502" y="471"/>
                  </a:lnTo>
                  <a:lnTo>
                    <a:pt x="498" y="471"/>
                  </a:lnTo>
                  <a:lnTo>
                    <a:pt x="494" y="471"/>
                  </a:lnTo>
                  <a:lnTo>
                    <a:pt x="490" y="471"/>
                  </a:lnTo>
                  <a:lnTo>
                    <a:pt x="490" y="467"/>
                  </a:lnTo>
                  <a:lnTo>
                    <a:pt x="490" y="471"/>
                  </a:lnTo>
                  <a:lnTo>
                    <a:pt x="494" y="471"/>
                  </a:lnTo>
                  <a:lnTo>
                    <a:pt x="498" y="471"/>
                  </a:lnTo>
                  <a:lnTo>
                    <a:pt x="498" y="475"/>
                  </a:lnTo>
                  <a:lnTo>
                    <a:pt x="498" y="479"/>
                  </a:lnTo>
                  <a:lnTo>
                    <a:pt x="502" y="479"/>
                  </a:lnTo>
                  <a:lnTo>
                    <a:pt x="502" y="483"/>
                  </a:lnTo>
                  <a:lnTo>
                    <a:pt x="506" y="483"/>
                  </a:lnTo>
                  <a:lnTo>
                    <a:pt x="506" y="487"/>
                  </a:lnTo>
                  <a:lnTo>
                    <a:pt x="510" y="487"/>
                  </a:lnTo>
                  <a:lnTo>
                    <a:pt x="506" y="483"/>
                  </a:lnTo>
                  <a:lnTo>
                    <a:pt x="506" y="479"/>
                  </a:lnTo>
                  <a:lnTo>
                    <a:pt x="502" y="479"/>
                  </a:lnTo>
                  <a:lnTo>
                    <a:pt x="502" y="475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4" y="475"/>
                  </a:lnTo>
                  <a:lnTo>
                    <a:pt x="510" y="475"/>
                  </a:lnTo>
                  <a:lnTo>
                    <a:pt x="510" y="471"/>
                  </a:lnTo>
                  <a:lnTo>
                    <a:pt x="510" y="467"/>
                  </a:lnTo>
                  <a:lnTo>
                    <a:pt x="506" y="467"/>
                  </a:lnTo>
                  <a:lnTo>
                    <a:pt x="502" y="463"/>
                  </a:lnTo>
                  <a:lnTo>
                    <a:pt x="506" y="459"/>
                  </a:lnTo>
                  <a:lnTo>
                    <a:pt x="502" y="455"/>
                  </a:lnTo>
                  <a:lnTo>
                    <a:pt x="498" y="455"/>
                  </a:lnTo>
                  <a:lnTo>
                    <a:pt x="498" y="451"/>
                  </a:lnTo>
                  <a:lnTo>
                    <a:pt x="498" y="447"/>
                  </a:lnTo>
                  <a:lnTo>
                    <a:pt x="502" y="447"/>
                  </a:lnTo>
                  <a:lnTo>
                    <a:pt x="498" y="443"/>
                  </a:lnTo>
                  <a:lnTo>
                    <a:pt x="502" y="443"/>
                  </a:lnTo>
                  <a:lnTo>
                    <a:pt x="506" y="443"/>
                  </a:lnTo>
                  <a:lnTo>
                    <a:pt x="510" y="443"/>
                  </a:lnTo>
                  <a:lnTo>
                    <a:pt x="514" y="443"/>
                  </a:lnTo>
                  <a:lnTo>
                    <a:pt x="518" y="443"/>
                  </a:lnTo>
                  <a:lnTo>
                    <a:pt x="518" y="439"/>
                  </a:lnTo>
                  <a:lnTo>
                    <a:pt x="522" y="439"/>
                  </a:lnTo>
                  <a:lnTo>
                    <a:pt x="522" y="435"/>
                  </a:lnTo>
                  <a:lnTo>
                    <a:pt x="526" y="435"/>
                  </a:lnTo>
                  <a:lnTo>
                    <a:pt x="534" y="435"/>
                  </a:lnTo>
                  <a:lnTo>
                    <a:pt x="534" y="431"/>
                  </a:lnTo>
                  <a:lnTo>
                    <a:pt x="534" y="427"/>
                  </a:lnTo>
                  <a:lnTo>
                    <a:pt x="530" y="427"/>
                  </a:lnTo>
                  <a:lnTo>
                    <a:pt x="526" y="431"/>
                  </a:lnTo>
                  <a:lnTo>
                    <a:pt x="522" y="431"/>
                  </a:lnTo>
                  <a:lnTo>
                    <a:pt x="518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4" y="435"/>
                  </a:lnTo>
                  <a:lnTo>
                    <a:pt x="510" y="439"/>
                  </a:lnTo>
                  <a:lnTo>
                    <a:pt x="510" y="435"/>
                  </a:lnTo>
                  <a:lnTo>
                    <a:pt x="506" y="435"/>
                  </a:lnTo>
                  <a:lnTo>
                    <a:pt x="502" y="435"/>
                  </a:lnTo>
                  <a:lnTo>
                    <a:pt x="502" y="439"/>
                  </a:lnTo>
                  <a:lnTo>
                    <a:pt x="506" y="439"/>
                  </a:lnTo>
                  <a:lnTo>
                    <a:pt x="502" y="439"/>
                  </a:lnTo>
                  <a:lnTo>
                    <a:pt x="498" y="439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35"/>
                  </a:lnTo>
                  <a:lnTo>
                    <a:pt x="490" y="435"/>
                  </a:lnTo>
                  <a:lnTo>
                    <a:pt x="490" y="439"/>
                  </a:lnTo>
                  <a:lnTo>
                    <a:pt x="486" y="439"/>
                  </a:lnTo>
                  <a:lnTo>
                    <a:pt x="486" y="435"/>
                  </a:lnTo>
                  <a:lnTo>
                    <a:pt x="490" y="435"/>
                  </a:lnTo>
                  <a:lnTo>
                    <a:pt x="490" y="431"/>
                  </a:lnTo>
                  <a:lnTo>
                    <a:pt x="494" y="431"/>
                  </a:lnTo>
                  <a:lnTo>
                    <a:pt x="494" y="427"/>
                  </a:lnTo>
                  <a:lnTo>
                    <a:pt x="498" y="427"/>
                  </a:lnTo>
                  <a:lnTo>
                    <a:pt x="502" y="427"/>
                  </a:lnTo>
                  <a:lnTo>
                    <a:pt x="506" y="427"/>
                  </a:lnTo>
                  <a:lnTo>
                    <a:pt x="510" y="427"/>
                  </a:lnTo>
                  <a:lnTo>
                    <a:pt x="514" y="423"/>
                  </a:lnTo>
                  <a:lnTo>
                    <a:pt x="518" y="423"/>
                  </a:lnTo>
                  <a:lnTo>
                    <a:pt x="526" y="419"/>
                  </a:lnTo>
                  <a:lnTo>
                    <a:pt x="530" y="423"/>
                  </a:lnTo>
                  <a:lnTo>
                    <a:pt x="534" y="423"/>
                  </a:lnTo>
                  <a:lnTo>
                    <a:pt x="538" y="427"/>
                  </a:lnTo>
                  <a:lnTo>
                    <a:pt x="538" y="431"/>
                  </a:lnTo>
                  <a:lnTo>
                    <a:pt x="534" y="435"/>
                  </a:lnTo>
                  <a:lnTo>
                    <a:pt x="538" y="435"/>
                  </a:lnTo>
                  <a:lnTo>
                    <a:pt x="542" y="439"/>
                  </a:lnTo>
                  <a:lnTo>
                    <a:pt x="542" y="435"/>
                  </a:lnTo>
                  <a:lnTo>
                    <a:pt x="546" y="435"/>
                  </a:lnTo>
                  <a:lnTo>
                    <a:pt x="546" y="439"/>
                  </a:lnTo>
                  <a:lnTo>
                    <a:pt x="550" y="439"/>
                  </a:lnTo>
                  <a:lnTo>
                    <a:pt x="550" y="443"/>
                  </a:lnTo>
                  <a:lnTo>
                    <a:pt x="554" y="443"/>
                  </a:lnTo>
                  <a:lnTo>
                    <a:pt x="558" y="443"/>
                  </a:lnTo>
                  <a:lnTo>
                    <a:pt x="562" y="443"/>
                  </a:lnTo>
                  <a:lnTo>
                    <a:pt x="566" y="443"/>
                  </a:lnTo>
                  <a:lnTo>
                    <a:pt x="566" y="439"/>
                  </a:lnTo>
                  <a:lnTo>
                    <a:pt x="570" y="439"/>
                  </a:lnTo>
                  <a:lnTo>
                    <a:pt x="570" y="443"/>
                  </a:lnTo>
                  <a:lnTo>
                    <a:pt x="570" y="447"/>
                  </a:lnTo>
                  <a:lnTo>
                    <a:pt x="574" y="447"/>
                  </a:lnTo>
                  <a:lnTo>
                    <a:pt x="578" y="451"/>
                  </a:lnTo>
                  <a:lnTo>
                    <a:pt x="582" y="451"/>
                  </a:lnTo>
                  <a:lnTo>
                    <a:pt x="586" y="451"/>
                  </a:lnTo>
                  <a:lnTo>
                    <a:pt x="590" y="451"/>
                  </a:lnTo>
                  <a:lnTo>
                    <a:pt x="594" y="451"/>
                  </a:lnTo>
                  <a:lnTo>
                    <a:pt x="598" y="455"/>
                  </a:lnTo>
                  <a:lnTo>
                    <a:pt x="598" y="451"/>
                  </a:lnTo>
                  <a:lnTo>
                    <a:pt x="602" y="451"/>
                  </a:lnTo>
                  <a:lnTo>
                    <a:pt x="606" y="451"/>
                  </a:lnTo>
                  <a:lnTo>
                    <a:pt x="610" y="451"/>
                  </a:lnTo>
                  <a:lnTo>
                    <a:pt x="614" y="447"/>
                  </a:lnTo>
                  <a:lnTo>
                    <a:pt x="618" y="447"/>
                  </a:lnTo>
                  <a:lnTo>
                    <a:pt x="618" y="451"/>
                  </a:lnTo>
                  <a:lnTo>
                    <a:pt x="622" y="451"/>
                  </a:lnTo>
                  <a:lnTo>
                    <a:pt x="626" y="451"/>
                  </a:lnTo>
                  <a:lnTo>
                    <a:pt x="630" y="451"/>
                  </a:lnTo>
                  <a:lnTo>
                    <a:pt x="634" y="451"/>
                  </a:lnTo>
                  <a:lnTo>
                    <a:pt x="638" y="451"/>
                  </a:lnTo>
                  <a:lnTo>
                    <a:pt x="642" y="451"/>
                  </a:lnTo>
                  <a:lnTo>
                    <a:pt x="646" y="451"/>
                  </a:lnTo>
                  <a:lnTo>
                    <a:pt x="642" y="447"/>
                  </a:lnTo>
                  <a:lnTo>
                    <a:pt x="638" y="447"/>
                  </a:lnTo>
                  <a:lnTo>
                    <a:pt x="638" y="443"/>
                  </a:lnTo>
                  <a:lnTo>
                    <a:pt x="642" y="443"/>
                  </a:lnTo>
                  <a:lnTo>
                    <a:pt x="646" y="447"/>
                  </a:lnTo>
                  <a:lnTo>
                    <a:pt x="650" y="451"/>
                  </a:lnTo>
                  <a:lnTo>
                    <a:pt x="654" y="455"/>
                  </a:lnTo>
                  <a:lnTo>
                    <a:pt x="658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47"/>
                  </a:lnTo>
                  <a:lnTo>
                    <a:pt x="658" y="447"/>
                  </a:lnTo>
                  <a:lnTo>
                    <a:pt x="654" y="443"/>
                  </a:lnTo>
                  <a:lnTo>
                    <a:pt x="654" y="447"/>
                  </a:lnTo>
                  <a:lnTo>
                    <a:pt x="650" y="447"/>
                  </a:lnTo>
                  <a:lnTo>
                    <a:pt x="650" y="451"/>
                  </a:lnTo>
                  <a:lnTo>
                    <a:pt x="646" y="447"/>
                  </a:lnTo>
                  <a:lnTo>
                    <a:pt x="646" y="443"/>
                  </a:lnTo>
                  <a:lnTo>
                    <a:pt x="642" y="439"/>
                  </a:lnTo>
                  <a:lnTo>
                    <a:pt x="642" y="443"/>
                  </a:lnTo>
                  <a:lnTo>
                    <a:pt x="646" y="443"/>
                  </a:lnTo>
                  <a:lnTo>
                    <a:pt x="646" y="439"/>
                  </a:lnTo>
                  <a:lnTo>
                    <a:pt x="642" y="439"/>
                  </a:lnTo>
                  <a:lnTo>
                    <a:pt x="642" y="435"/>
                  </a:lnTo>
                  <a:lnTo>
                    <a:pt x="638" y="435"/>
                  </a:lnTo>
                  <a:lnTo>
                    <a:pt x="642" y="435"/>
                  </a:lnTo>
                  <a:lnTo>
                    <a:pt x="646" y="435"/>
                  </a:lnTo>
                  <a:lnTo>
                    <a:pt x="650" y="435"/>
                  </a:lnTo>
                  <a:lnTo>
                    <a:pt x="654" y="435"/>
                  </a:lnTo>
                  <a:lnTo>
                    <a:pt x="650" y="435"/>
                  </a:lnTo>
                  <a:lnTo>
                    <a:pt x="650" y="431"/>
                  </a:lnTo>
                  <a:lnTo>
                    <a:pt x="654" y="431"/>
                  </a:lnTo>
                  <a:lnTo>
                    <a:pt x="658" y="435"/>
                  </a:lnTo>
                  <a:lnTo>
                    <a:pt x="658" y="431"/>
                  </a:lnTo>
                  <a:lnTo>
                    <a:pt x="662" y="431"/>
                  </a:lnTo>
                  <a:lnTo>
                    <a:pt x="662" y="435"/>
                  </a:lnTo>
                  <a:lnTo>
                    <a:pt x="666" y="435"/>
                  </a:lnTo>
                  <a:lnTo>
                    <a:pt x="666" y="439"/>
                  </a:lnTo>
                  <a:lnTo>
                    <a:pt x="670" y="439"/>
                  </a:lnTo>
                  <a:lnTo>
                    <a:pt x="674" y="439"/>
                  </a:lnTo>
                  <a:lnTo>
                    <a:pt x="674" y="435"/>
                  </a:lnTo>
                  <a:lnTo>
                    <a:pt x="674" y="439"/>
                  </a:lnTo>
                  <a:lnTo>
                    <a:pt x="670" y="443"/>
                  </a:lnTo>
                  <a:lnTo>
                    <a:pt x="674" y="443"/>
                  </a:lnTo>
                  <a:lnTo>
                    <a:pt x="674" y="439"/>
                  </a:lnTo>
                  <a:lnTo>
                    <a:pt x="678" y="439"/>
                  </a:lnTo>
                  <a:lnTo>
                    <a:pt x="682" y="439"/>
                  </a:lnTo>
                  <a:lnTo>
                    <a:pt x="678" y="439"/>
                  </a:lnTo>
                  <a:lnTo>
                    <a:pt x="682" y="443"/>
                  </a:lnTo>
                  <a:lnTo>
                    <a:pt x="678" y="443"/>
                  </a:lnTo>
                  <a:lnTo>
                    <a:pt x="678" y="447"/>
                  </a:lnTo>
                  <a:lnTo>
                    <a:pt x="678" y="451"/>
                  </a:lnTo>
                  <a:lnTo>
                    <a:pt x="678" y="455"/>
                  </a:lnTo>
                  <a:lnTo>
                    <a:pt x="674" y="455"/>
                  </a:lnTo>
                  <a:lnTo>
                    <a:pt x="674" y="459"/>
                  </a:lnTo>
                  <a:lnTo>
                    <a:pt x="678" y="459"/>
                  </a:lnTo>
                  <a:lnTo>
                    <a:pt x="678" y="463"/>
                  </a:lnTo>
                  <a:lnTo>
                    <a:pt x="678" y="467"/>
                  </a:lnTo>
                  <a:lnTo>
                    <a:pt x="682" y="463"/>
                  </a:lnTo>
                  <a:lnTo>
                    <a:pt x="686" y="463"/>
                  </a:lnTo>
                  <a:lnTo>
                    <a:pt x="686" y="467"/>
                  </a:lnTo>
                  <a:lnTo>
                    <a:pt x="682" y="467"/>
                  </a:lnTo>
                  <a:lnTo>
                    <a:pt x="686" y="467"/>
                  </a:lnTo>
                  <a:lnTo>
                    <a:pt x="690" y="467"/>
                  </a:lnTo>
                  <a:lnTo>
                    <a:pt x="690" y="471"/>
                  </a:lnTo>
                  <a:lnTo>
                    <a:pt x="686" y="471"/>
                  </a:lnTo>
                  <a:lnTo>
                    <a:pt x="682" y="471"/>
                  </a:lnTo>
                  <a:lnTo>
                    <a:pt x="678" y="471"/>
                  </a:lnTo>
                  <a:lnTo>
                    <a:pt x="674" y="471"/>
                  </a:lnTo>
                  <a:lnTo>
                    <a:pt x="674" y="467"/>
                  </a:lnTo>
                  <a:lnTo>
                    <a:pt x="674" y="471"/>
                  </a:lnTo>
                  <a:lnTo>
                    <a:pt x="678" y="471"/>
                  </a:lnTo>
                  <a:lnTo>
                    <a:pt x="678" y="475"/>
                  </a:lnTo>
                  <a:lnTo>
                    <a:pt x="682" y="475"/>
                  </a:lnTo>
                  <a:lnTo>
                    <a:pt x="682" y="479"/>
                  </a:lnTo>
                  <a:lnTo>
                    <a:pt x="686" y="479"/>
                  </a:lnTo>
                  <a:lnTo>
                    <a:pt x="682" y="475"/>
                  </a:lnTo>
                  <a:lnTo>
                    <a:pt x="678" y="475"/>
                  </a:lnTo>
                  <a:lnTo>
                    <a:pt x="678" y="471"/>
                  </a:lnTo>
                  <a:lnTo>
                    <a:pt x="682" y="471"/>
                  </a:lnTo>
                  <a:lnTo>
                    <a:pt x="686" y="471"/>
                  </a:lnTo>
                  <a:lnTo>
                    <a:pt x="686" y="475"/>
                  </a:lnTo>
                  <a:lnTo>
                    <a:pt x="690" y="475"/>
                  </a:lnTo>
                  <a:lnTo>
                    <a:pt x="694" y="471"/>
                  </a:lnTo>
                  <a:lnTo>
                    <a:pt x="690" y="471"/>
                  </a:lnTo>
                  <a:lnTo>
                    <a:pt x="690" y="467"/>
                  </a:lnTo>
                  <a:lnTo>
                    <a:pt x="694" y="463"/>
                  </a:lnTo>
                  <a:lnTo>
                    <a:pt x="690" y="463"/>
                  </a:lnTo>
                  <a:lnTo>
                    <a:pt x="690" y="459"/>
                  </a:lnTo>
                  <a:lnTo>
                    <a:pt x="690" y="455"/>
                  </a:lnTo>
                  <a:lnTo>
                    <a:pt x="686" y="455"/>
                  </a:lnTo>
                  <a:lnTo>
                    <a:pt x="686" y="451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90" y="447"/>
                  </a:lnTo>
                  <a:lnTo>
                    <a:pt x="690" y="443"/>
                  </a:lnTo>
                  <a:lnTo>
                    <a:pt x="694" y="443"/>
                  </a:lnTo>
                  <a:lnTo>
                    <a:pt x="698" y="443"/>
                  </a:lnTo>
                  <a:lnTo>
                    <a:pt x="702" y="443"/>
                  </a:lnTo>
                  <a:lnTo>
                    <a:pt x="706" y="439"/>
                  </a:lnTo>
                  <a:lnTo>
                    <a:pt x="710" y="439"/>
                  </a:lnTo>
                  <a:lnTo>
                    <a:pt x="710" y="435"/>
                  </a:lnTo>
                  <a:lnTo>
                    <a:pt x="706" y="435"/>
                  </a:lnTo>
                  <a:lnTo>
                    <a:pt x="710" y="435"/>
                  </a:lnTo>
                  <a:lnTo>
                    <a:pt x="710" y="431"/>
                  </a:lnTo>
                  <a:lnTo>
                    <a:pt x="714" y="431"/>
                  </a:lnTo>
                  <a:lnTo>
                    <a:pt x="718" y="431"/>
                  </a:lnTo>
                  <a:lnTo>
                    <a:pt x="718" y="427"/>
                  </a:lnTo>
                  <a:lnTo>
                    <a:pt x="714" y="427"/>
                  </a:lnTo>
                  <a:lnTo>
                    <a:pt x="714" y="423"/>
                  </a:lnTo>
                  <a:lnTo>
                    <a:pt x="718" y="423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3"/>
                  </a:lnTo>
                  <a:lnTo>
                    <a:pt x="714" y="419"/>
                  </a:lnTo>
                  <a:lnTo>
                    <a:pt x="714" y="423"/>
                  </a:lnTo>
                  <a:lnTo>
                    <a:pt x="710" y="423"/>
                  </a:lnTo>
                  <a:lnTo>
                    <a:pt x="706" y="427"/>
                  </a:lnTo>
                  <a:lnTo>
                    <a:pt x="702" y="427"/>
                  </a:lnTo>
                  <a:lnTo>
                    <a:pt x="702" y="423"/>
                  </a:lnTo>
                  <a:lnTo>
                    <a:pt x="702" y="419"/>
                  </a:lnTo>
                  <a:lnTo>
                    <a:pt x="706" y="419"/>
                  </a:lnTo>
                  <a:lnTo>
                    <a:pt x="710" y="415"/>
                  </a:lnTo>
                  <a:lnTo>
                    <a:pt x="706" y="415"/>
                  </a:lnTo>
                  <a:lnTo>
                    <a:pt x="706" y="411"/>
                  </a:lnTo>
                  <a:lnTo>
                    <a:pt x="710" y="407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4" y="407"/>
                  </a:lnTo>
                  <a:lnTo>
                    <a:pt x="714" y="411"/>
                  </a:lnTo>
                  <a:lnTo>
                    <a:pt x="714" y="415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06" y="407"/>
                  </a:lnTo>
                  <a:lnTo>
                    <a:pt x="706" y="403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702" y="403"/>
                  </a:lnTo>
                  <a:lnTo>
                    <a:pt x="698" y="403"/>
                  </a:lnTo>
                  <a:lnTo>
                    <a:pt x="694" y="403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86" y="399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4" y="387"/>
                  </a:lnTo>
                  <a:lnTo>
                    <a:pt x="674" y="383"/>
                  </a:lnTo>
                  <a:lnTo>
                    <a:pt x="678" y="375"/>
                  </a:lnTo>
                  <a:lnTo>
                    <a:pt x="682" y="375"/>
                  </a:lnTo>
                  <a:lnTo>
                    <a:pt x="678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74" y="367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78" y="351"/>
                  </a:lnTo>
                  <a:lnTo>
                    <a:pt x="682" y="351"/>
                  </a:lnTo>
                  <a:lnTo>
                    <a:pt x="682" y="355"/>
                  </a:lnTo>
                  <a:lnTo>
                    <a:pt x="686" y="355"/>
                  </a:lnTo>
                  <a:lnTo>
                    <a:pt x="690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82" y="347"/>
                  </a:lnTo>
                  <a:lnTo>
                    <a:pt x="686" y="347"/>
                  </a:lnTo>
                  <a:lnTo>
                    <a:pt x="686" y="343"/>
                  </a:lnTo>
                  <a:lnTo>
                    <a:pt x="690" y="343"/>
                  </a:lnTo>
                  <a:lnTo>
                    <a:pt x="694" y="339"/>
                  </a:lnTo>
                  <a:lnTo>
                    <a:pt x="698" y="339"/>
                  </a:lnTo>
                  <a:lnTo>
                    <a:pt x="702" y="339"/>
                  </a:lnTo>
                  <a:lnTo>
                    <a:pt x="698" y="339"/>
                  </a:lnTo>
                  <a:lnTo>
                    <a:pt x="694" y="339"/>
                  </a:lnTo>
                  <a:lnTo>
                    <a:pt x="698" y="335"/>
                  </a:lnTo>
                  <a:lnTo>
                    <a:pt x="702" y="335"/>
                  </a:lnTo>
                  <a:lnTo>
                    <a:pt x="706" y="339"/>
                  </a:lnTo>
                  <a:lnTo>
                    <a:pt x="702" y="339"/>
                  </a:lnTo>
                  <a:lnTo>
                    <a:pt x="702" y="343"/>
                  </a:lnTo>
                  <a:lnTo>
                    <a:pt x="702" y="339"/>
                  </a:lnTo>
                  <a:lnTo>
                    <a:pt x="706" y="339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4" y="343"/>
                  </a:lnTo>
                  <a:lnTo>
                    <a:pt x="714" y="347"/>
                  </a:lnTo>
                  <a:lnTo>
                    <a:pt x="718" y="347"/>
                  </a:lnTo>
                  <a:lnTo>
                    <a:pt x="722" y="351"/>
                  </a:lnTo>
                  <a:lnTo>
                    <a:pt x="726" y="355"/>
                  </a:lnTo>
                  <a:lnTo>
                    <a:pt x="726" y="359"/>
                  </a:lnTo>
                  <a:lnTo>
                    <a:pt x="730" y="359"/>
                  </a:lnTo>
                  <a:lnTo>
                    <a:pt x="730" y="363"/>
                  </a:lnTo>
                  <a:lnTo>
                    <a:pt x="726" y="367"/>
                  </a:lnTo>
                  <a:lnTo>
                    <a:pt x="730" y="367"/>
                  </a:lnTo>
                  <a:lnTo>
                    <a:pt x="730" y="371"/>
                  </a:lnTo>
                  <a:lnTo>
                    <a:pt x="734" y="371"/>
                  </a:lnTo>
                  <a:lnTo>
                    <a:pt x="738" y="375"/>
                  </a:lnTo>
                  <a:lnTo>
                    <a:pt x="738" y="379"/>
                  </a:lnTo>
                  <a:lnTo>
                    <a:pt x="742" y="379"/>
                  </a:lnTo>
                  <a:lnTo>
                    <a:pt x="742" y="383"/>
                  </a:lnTo>
                  <a:lnTo>
                    <a:pt x="742" y="379"/>
                  </a:lnTo>
                  <a:lnTo>
                    <a:pt x="746" y="379"/>
                  </a:lnTo>
                  <a:lnTo>
                    <a:pt x="746" y="383"/>
                  </a:lnTo>
                  <a:lnTo>
                    <a:pt x="750" y="387"/>
                  </a:lnTo>
                  <a:lnTo>
                    <a:pt x="746" y="387"/>
                  </a:lnTo>
                  <a:lnTo>
                    <a:pt x="742" y="387"/>
                  </a:lnTo>
                  <a:lnTo>
                    <a:pt x="738" y="383"/>
                  </a:lnTo>
                  <a:lnTo>
                    <a:pt x="738" y="387"/>
                  </a:lnTo>
                  <a:lnTo>
                    <a:pt x="734" y="387"/>
                  </a:lnTo>
                  <a:lnTo>
                    <a:pt x="738" y="387"/>
                  </a:lnTo>
                  <a:lnTo>
                    <a:pt x="742" y="387"/>
                  </a:lnTo>
                  <a:lnTo>
                    <a:pt x="742" y="391"/>
                  </a:lnTo>
                  <a:lnTo>
                    <a:pt x="738" y="391"/>
                  </a:lnTo>
                  <a:lnTo>
                    <a:pt x="734" y="395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0" y="399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8" y="399"/>
                  </a:lnTo>
                  <a:lnTo>
                    <a:pt x="742" y="403"/>
                  </a:lnTo>
                  <a:lnTo>
                    <a:pt x="738" y="403"/>
                  </a:lnTo>
                  <a:lnTo>
                    <a:pt x="738" y="399"/>
                  </a:lnTo>
                  <a:lnTo>
                    <a:pt x="738" y="403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399"/>
                  </a:lnTo>
                  <a:lnTo>
                    <a:pt x="754" y="399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0" y="407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62" y="415"/>
                  </a:lnTo>
                  <a:lnTo>
                    <a:pt x="762" y="419"/>
                  </a:lnTo>
                  <a:lnTo>
                    <a:pt x="766" y="419"/>
                  </a:lnTo>
                  <a:lnTo>
                    <a:pt x="766" y="423"/>
                  </a:lnTo>
                  <a:lnTo>
                    <a:pt x="762" y="423"/>
                  </a:lnTo>
                  <a:lnTo>
                    <a:pt x="766" y="427"/>
                  </a:lnTo>
                  <a:lnTo>
                    <a:pt x="766" y="431"/>
                  </a:lnTo>
                  <a:lnTo>
                    <a:pt x="762" y="431"/>
                  </a:lnTo>
                  <a:lnTo>
                    <a:pt x="762" y="435"/>
                  </a:lnTo>
                  <a:lnTo>
                    <a:pt x="766" y="435"/>
                  </a:lnTo>
                  <a:lnTo>
                    <a:pt x="766" y="439"/>
                  </a:lnTo>
                  <a:lnTo>
                    <a:pt x="770" y="439"/>
                  </a:lnTo>
                  <a:lnTo>
                    <a:pt x="770" y="435"/>
                  </a:lnTo>
                  <a:lnTo>
                    <a:pt x="774" y="435"/>
                  </a:lnTo>
                  <a:lnTo>
                    <a:pt x="774" y="431"/>
                  </a:lnTo>
                  <a:lnTo>
                    <a:pt x="774" y="427"/>
                  </a:lnTo>
                  <a:lnTo>
                    <a:pt x="778" y="423"/>
                  </a:lnTo>
                  <a:lnTo>
                    <a:pt x="774" y="419"/>
                  </a:lnTo>
                  <a:lnTo>
                    <a:pt x="778" y="419"/>
                  </a:lnTo>
                  <a:lnTo>
                    <a:pt x="778" y="415"/>
                  </a:lnTo>
                  <a:lnTo>
                    <a:pt x="782" y="415"/>
                  </a:lnTo>
                  <a:lnTo>
                    <a:pt x="782" y="411"/>
                  </a:lnTo>
                  <a:lnTo>
                    <a:pt x="786" y="411"/>
                  </a:lnTo>
                  <a:lnTo>
                    <a:pt x="790" y="415"/>
                  </a:lnTo>
                  <a:lnTo>
                    <a:pt x="794" y="415"/>
                  </a:lnTo>
                  <a:lnTo>
                    <a:pt x="794" y="419"/>
                  </a:lnTo>
                  <a:lnTo>
                    <a:pt x="797" y="419"/>
                  </a:lnTo>
                  <a:lnTo>
                    <a:pt x="801" y="423"/>
                  </a:lnTo>
                  <a:lnTo>
                    <a:pt x="801" y="427"/>
                  </a:lnTo>
                  <a:lnTo>
                    <a:pt x="801" y="431"/>
                  </a:lnTo>
                  <a:lnTo>
                    <a:pt x="805" y="431"/>
                  </a:lnTo>
                  <a:lnTo>
                    <a:pt x="805" y="435"/>
                  </a:lnTo>
                  <a:lnTo>
                    <a:pt x="805" y="439"/>
                  </a:lnTo>
                  <a:lnTo>
                    <a:pt x="801" y="439"/>
                  </a:lnTo>
                  <a:lnTo>
                    <a:pt x="797" y="435"/>
                  </a:lnTo>
                  <a:lnTo>
                    <a:pt x="797" y="439"/>
                  </a:lnTo>
                  <a:lnTo>
                    <a:pt x="797" y="443"/>
                  </a:lnTo>
                  <a:lnTo>
                    <a:pt x="797" y="447"/>
                  </a:lnTo>
                  <a:lnTo>
                    <a:pt x="797" y="451"/>
                  </a:lnTo>
                  <a:lnTo>
                    <a:pt x="797" y="455"/>
                  </a:lnTo>
                  <a:lnTo>
                    <a:pt x="801" y="455"/>
                  </a:lnTo>
                  <a:lnTo>
                    <a:pt x="805" y="455"/>
                  </a:lnTo>
                  <a:lnTo>
                    <a:pt x="805" y="459"/>
                  </a:lnTo>
                  <a:lnTo>
                    <a:pt x="809" y="459"/>
                  </a:lnTo>
                  <a:lnTo>
                    <a:pt x="809" y="463"/>
                  </a:lnTo>
                  <a:lnTo>
                    <a:pt x="809" y="467"/>
                  </a:lnTo>
                  <a:lnTo>
                    <a:pt x="813" y="467"/>
                  </a:lnTo>
                  <a:lnTo>
                    <a:pt x="817" y="467"/>
                  </a:lnTo>
                  <a:lnTo>
                    <a:pt x="817" y="463"/>
                  </a:lnTo>
                  <a:lnTo>
                    <a:pt x="817" y="459"/>
                  </a:lnTo>
                  <a:lnTo>
                    <a:pt x="821" y="459"/>
                  </a:lnTo>
                  <a:lnTo>
                    <a:pt x="821" y="463"/>
                  </a:lnTo>
                  <a:lnTo>
                    <a:pt x="825" y="463"/>
                  </a:lnTo>
                  <a:lnTo>
                    <a:pt x="825" y="459"/>
                  </a:lnTo>
                  <a:lnTo>
                    <a:pt x="825" y="455"/>
                  </a:lnTo>
                  <a:lnTo>
                    <a:pt x="825" y="451"/>
                  </a:lnTo>
                  <a:lnTo>
                    <a:pt x="829" y="447"/>
                  </a:lnTo>
                  <a:lnTo>
                    <a:pt x="833" y="443"/>
                  </a:lnTo>
                  <a:lnTo>
                    <a:pt x="833" y="439"/>
                  </a:lnTo>
                  <a:lnTo>
                    <a:pt x="833" y="435"/>
                  </a:lnTo>
                  <a:lnTo>
                    <a:pt x="837" y="435"/>
                  </a:lnTo>
                  <a:lnTo>
                    <a:pt x="837" y="431"/>
                  </a:lnTo>
                  <a:lnTo>
                    <a:pt x="837" y="427"/>
                  </a:lnTo>
                  <a:lnTo>
                    <a:pt x="837" y="423"/>
                  </a:lnTo>
                  <a:lnTo>
                    <a:pt x="837" y="427"/>
                  </a:lnTo>
                  <a:lnTo>
                    <a:pt x="841" y="427"/>
                  </a:lnTo>
                  <a:lnTo>
                    <a:pt x="841" y="423"/>
                  </a:lnTo>
                  <a:lnTo>
                    <a:pt x="837" y="423"/>
                  </a:lnTo>
                  <a:lnTo>
                    <a:pt x="841" y="423"/>
                  </a:lnTo>
                  <a:lnTo>
                    <a:pt x="841" y="427"/>
                  </a:lnTo>
                  <a:lnTo>
                    <a:pt x="845" y="427"/>
                  </a:lnTo>
                  <a:lnTo>
                    <a:pt x="845" y="423"/>
                  </a:lnTo>
                  <a:lnTo>
                    <a:pt x="849" y="423"/>
                  </a:lnTo>
                  <a:lnTo>
                    <a:pt x="849" y="427"/>
                  </a:lnTo>
                  <a:lnTo>
                    <a:pt x="849" y="423"/>
                  </a:lnTo>
                  <a:lnTo>
                    <a:pt x="845" y="423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53" y="419"/>
                  </a:lnTo>
                  <a:lnTo>
                    <a:pt x="849" y="415"/>
                  </a:lnTo>
                  <a:lnTo>
                    <a:pt x="845" y="415"/>
                  </a:lnTo>
                  <a:lnTo>
                    <a:pt x="841" y="415"/>
                  </a:lnTo>
                  <a:lnTo>
                    <a:pt x="845" y="415"/>
                  </a:lnTo>
                  <a:lnTo>
                    <a:pt x="841" y="411"/>
                  </a:lnTo>
                  <a:lnTo>
                    <a:pt x="841" y="407"/>
                  </a:lnTo>
                  <a:lnTo>
                    <a:pt x="837" y="407"/>
                  </a:lnTo>
                  <a:lnTo>
                    <a:pt x="837" y="399"/>
                  </a:lnTo>
                  <a:lnTo>
                    <a:pt x="841" y="395"/>
                  </a:lnTo>
                  <a:lnTo>
                    <a:pt x="841" y="399"/>
                  </a:lnTo>
                  <a:lnTo>
                    <a:pt x="841" y="395"/>
                  </a:lnTo>
                  <a:lnTo>
                    <a:pt x="837" y="395"/>
                  </a:lnTo>
                  <a:lnTo>
                    <a:pt x="841" y="395"/>
                  </a:lnTo>
                  <a:lnTo>
                    <a:pt x="845" y="395"/>
                  </a:lnTo>
                  <a:lnTo>
                    <a:pt x="845" y="399"/>
                  </a:lnTo>
                  <a:lnTo>
                    <a:pt x="849" y="395"/>
                  </a:lnTo>
                  <a:lnTo>
                    <a:pt x="853" y="395"/>
                  </a:lnTo>
                  <a:lnTo>
                    <a:pt x="857" y="395"/>
                  </a:lnTo>
                  <a:lnTo>
                    <a:pt x="861" y="395"/>
                  </a:lnTo>
                  <a:lnTo>
                    <a:pt x="861" y="399"/>
                  </a:lnTo>
                  <a:lnTo>
                    <a:pt x="865" y="399"/>
                  </a:lnTo>
                  <a:lnTo>
                    <a:pt x="869" y="399"/>
                  </a:lnTo>
                  <a:lnTo>
                    <a:pt x="873" y="399"/>
                  </a:lnTo>
                  <a:lnTo>
                    <a:pt x="877" y="399"/>
                  </a:lnTo>
                  <a:lnTo>
                    <a:pt x="881" y="399"/>
                  </a:lnTo>
                  <a:lnTo>
                    <a:pt x="885" y="399"/>
                  </a:lnTo>
                  <a:lnTo>
                    <a:pt x="889" y="399"/>
                  </a:lnTo>
                  <a:lnTo>
                    <a:pt x="889" y="403"/>
                  </a:lnTo>
                  <a:lnTo>
                    <a:pt x="885" y="403"/>
                  </a:lnTo>
                  <a:lnTo>
                    <a:pt x="885" y="399"/>
                  </a:lnTo>
                  <a:lnTo>
                    <a:pt x="881" y="403"/>
                  </a:lnTo>
                  <a:lnTo>
                    <a:pt x="885" y="403"/>
                  </a:lnTo>
                  <a:lnTo>
                    <a:pt x="881" y="403"/>
                  </a:lnTo>
                  <a:lnTo>
                    <a:pt x="877" y="403"/>
                  </a:lnTo>
                  <a:lnTo>
                    <a:pt x="873" y="403"/>
                  </a:lnTo>
                  <a:lnTo>
                    <a:pt x="877" y="403"/>
                  </a:lnTo>
                  <a:lnTo>
                    <a:pt x="881" y="403"/>
                  </a:lnTo>
                  <a:lnTo>
                    <a:pt x="889" y="407"/>
                  </a:lnTo>
                  <a:lnTo>
                    <a:pt x="889" y="411"/>
                  </a:lnTo>
                  <a:lnTo>
                    <a:pt x="893" y="411"/>
                  </a:lnTo>
                  <a:lnTo>
                    <a:pt x="897" y="411"/>
                  </a:lnTo>
                  <a:lnTo>
                    <a:pt x="901" y="411"/>
                  </a:lnTo>
                  <a:lnTo>
                    <a:pt x="901" y="415"/>
                  </a:lnTo>
                  <a:lnTo>
                    <a:pt x="897" y="419"/>
                  </a:lnTo>
                  <a:lnTo>
                    <a:pt x="893" y="419"/>
                  </a:lnTo>
                  <a:lnTo>
                    <a:pt x="893" y="423"/>
                  </a:lnTo>
                  <a:lnTo>
                    <a:pt x="893" y="419"/>
                  </a:lnTo>
                  <a:lnTo>
                    <a:pt x="897" y="419"/>
                  </a:lnTo>
                  <a:lnTo>
                    <a:pt x="897" y="423"/>
                  </a:lnTo>
                  <a:lnTo>
                    <a:pt x="901" y="423"/>
                  </a:lnTo>
                  <a:lnTo>
                    <a:pt x="905" y="423"/>
                  </a:lnTo>
                  <a:lnTo>
                    <a:pt x="905" y="427"/>
                  </a:lnTo>
                  <a:lnTo>
                    <a:pt x="901" y="427"/>
                  </a:lnTo>
                  <a:lnTo>
                    <a:pt x="897" y="431"/>
                  </a:lnTo>
                  <a:lnTo>
                    <a:pt x="893" y="431"/>
                  </a:lnTo>
                  <a:lnTo>
                    <a:pt x="893" y="435"/>
                  </a:lnTo>
                  <a:lnTo>
                    <a:pt x="893" y="431"/>
                  </a:lnTo>
                  <a:lnTo>
                    <a:pt x="889" y="431"/>
                  </a:lnTo>
                  <a:lnTo>
                    <a:pt x="885" y="431"/>
                  </a:lnTo>
                  <a:lnTo>
                    <a:pt x="881" y="431"/>
                  </a:lnTo>
                  <a:lnTo>
                    <a:pt x="885" y="431"/>
                  </a:lnTo>
                  <a:lnTo>
                    <a:pt x="885" y="435"/>
                  </a:lnTo>
                  <a:lnTo>
                    <a:pt x="885" y="439"/>
                  </a:lnTo>
                  <a:lnTo>
                    <a:pt x="889" y="439"/>
                  </a:lnTo>
                  <a:lnTo>
                    <a:pt x="889" y="443"/>
                  </a:lnTo>
                  <a:lnTo>
                    <a:pt x="889" y="439"/>
                  </a:lnTo>
                  <a:lnTo>
                    <a:pt x="893" y="439"/>
                  </a:lnTo>
                  <a:lnTo>
                    <a:pt x="893" y="443"/>
                  </a:lnTo>
                  <a:lnTo>
                    <a:pt x="889" y="443"/>
                  </a:lnTo>
                  <a:lnTo>
                    <a:pt x="889" y="447"/>
                  </a:lnTo>
                  <a:lnTo>
                    <a:pt x="893" y="447"/>
                  </a:lnTo>
                  <a:lnTo>
                    <a:pt x="893" y="451"/>
                  </a:lnTo>
                  <a:lnTo>
                    <a:pt x="897" y="451"/>
                  </a:lnTo>
                  <a:lnTo>
                    <a:pt x="897" y="455"/>
                  </a:lnTo>
                  <a:lnTo>
                    <a:pt x="901" y="455"/>
                  </a:lnTo>
                  <a:lnTo>
                    <a:pt x="905" y="459"/>
                  </a:lnTo>
                  <a:lnTo>
                    <a:pt x="901" y="459"/>
                  </a:lnTo>
                  <a:lnTo>
                    <a:pt x="901" y="463"/>
                  </a:lnTo>
                  <a:lnTo>
                    <a:pt x="901" y="467"/>
                  </a:lnTo>
                  <a:lnTo>
                    <a:pt x="901" y="471"/>
                  </a:lnTo>
                  <a:lnTo>
                    <a:pt x="897" y="471"/>
                  </a:lnTo>
                  <a:lnTo>
                    <a:pt x="893" y="471"/>
                  </a:lnTo>
                  <a:lnTo>
                    <a:pt x="893" y="475"/>
                  </a:lnTo>
                  <a:lnTo>
                    <a:pt x="889" y="479"/>
                  </a:lnTo>
                  <a:lnTo>
                    <a:pt x="885" y="479"/>
                  </a:lnTo>
                  <a:lnTo>
                    <a:pt x="885" y="483"/>
                  </a:lnTo>
                  <a:lnTo>
                    <a:pt x="881" y="483"/>
                  </a:lnTo>
                  <a:lnTo>
                    <a:pt x="877" y="483"/>
                  </a:lnTo>
                  <a:lnTo>
                    <a:pt x="877" y="487"/>
                  </a:lnTo>
                  <a:lnTo>
                    <a:pt x="873" y="487"/>
                  </a:lnTo>
                  <a:lnTo>
                    <a:pt x="869" y="487"/>
                  </a:lnTo>
                  <a:lnTo>
                    <a:pt x="865" y="483"/>
                  </a:lnTo>
                  <a:lnTo>
                    <a:pt x="861" y="483"/>
                  </a:lnTo>
                  <a:lnTo>
                    <a:pt x="861" y="479"/>
                  </a:lnTo>
                  <a:lnTo>
                    <a:pt x="865" y="475"/>
                  </a:lnTo>
                  <a:lnTo>
                    <a:pt x="861" y="475"/>
                  </a:lnTo>
                  <a:lnTo>
                    <a:pt x="861" y="479"/>
                  </a:lnTo>
                  <a:lnTo>
                    <a:pt x="857" y="479"/>
                  </a:lnTo>
                  <a:lnTo>
                    <a:pt x="857" y="475"/>
                  </a:lnTo>
                  <a:lnTo>
                    <a:pt x="857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45" y="471"/>
                  </a:lnTo>
                  <a:lnTo>
                    <a:pt x="845" y="475"/>
                  </a:lnTo>
                  <a:lnTo>
                    <a:pt x="849" y="475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53" y="475"/>
                  </a:lnTo>
                  <a:lnTo>
                    <a:pt x="849" y="475"/>
                  </a:lnTo>
                  <a:lnTo>
                    <a:pt x="853" y="475"/>
                  </a:lnTo>
                  <a:lnTo>
                    <a:pt x="857" y="479"/>
                  </a:lnTo>
                  <a:lnTo>
                    <a:pt x="861" y="479"/>
                  </a:lnTo>
                  <a:lnTo>
                    <a:pt x="861" y="483"/>
                  </a:lnTo>
                  <a:lnTo>
                    <a:pt x="861" y="487"/>
                  </a:lnTo>
                  <a:lnTo>
                    <a:pt x="865" y="487"/>
                  </a:lnTo>
                  <a:lnTo>
                    <a:pt x="865" y="491"/>
                  </a:lnTo>
                  <a:lnTo>
                    <a:pt x="865" y="495"/>
                  </a:lnTo>
                  <a:lnTo>
                    <a:pt x="861" y="491"/>
                  </a:lnTo>
                  <a:lnTo>
                    <a:pt x="857" y="491"/>
                  </a:lnTo>
                  <a:lnTo>
                    <a:pt x="857" y="487"/>
                  </a:lnTo>
                  <a:lnTo>
                    <a:pt x="853" y="487"/>
                  </a:lnTo>
                  <a:lnTo>
                    <a:pt x="853" y="491"/>
                  </a:lnTo>
                  <a:lnTo>
                    <a:pt x="857" y="491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3" y="491"/>
                  </a:lnTo>
                  <a:lnTo>
                    <a:pt x="849" y="491"/>
                  </a:lnTo>
                  <a:lnTo>
                    <a:pt x="845" y="491"/>
                  </a:lnTo>
                  <a:lnTo>
                    <a:pt x="841" y="491"/>
                  </a:lnTo>
                  <a:lnTo>
                    <a:pt x="841" y="487"/>
                  </a:lnTo>
                  <a:lnTo>
                    <a:pt x="841" y="483"/>
                  </a:lnTo>
                  <a:lnTo>
                    <a:pt x="837" y="483"/>
                  </a:lnTo>
                  <a:lnTo>
                    <a:pt x="833" y="483"/>
                  </a:lnTo>
                  <a:lnTo>
                    <a:pt x="829" y="483"/>
                  </a:lnTo>
                  <a:lnTo>
                    <a:pt x="821" y="483"/>
                  </a:lnTo>
                  <a:lnTo>
                    <a:pt x="821" y="487"/>
                  </a:lnTo>
                  <a:lnTo>
                    <a:pt x="821" y="491"/>
                  </a:lnTo>
                  <a:lnTo>
                    <a:pt x="825" y="491"/>
                  </a:lnTo>
                  <a:lnTo>
                    <a:pt x="829" y="491"/>
                  </a:lnTo>
                  <a:lnTo>
                    <a:pt x="833" y="491"/>
                  </a:lnTo>
                  <a:lnTo>
                    <a:pt x="833" y="495"/>
                  </a:lnTo>
                  <a:lnTo>
                    <a:pt x="829" y="499"/>
                  </a:lnTo>
                  <a:lnTo>
                    <a:pt x="825" y="499"/>
                  </a:lnTo>
                  <a:lnTo>
                    <a:pt x="825" y="503"/>
                  </a:lnTo>
                  <a:lnTo>
                    <a:pt x="825" y="507"/>
                  </a:lnTo>
                  <a:lnTo>
                    <a:pt x="821" y="507"/>
                  </a:lnTo>
                  <a:lnTo>
                    <a:pt x="817" y="507"/>
                  </a:lnTo>
                  <a:lnTo>
                    <a:pt x="817" y="511"/>
                  </a:lnTo>
                  <a:close/>
                  <a:moveTo>
                    <a:pt x="435" y="379"/>
                  </a:moveTo>
                  <a:lnTo>
                    <a:pt x="439" y="383"/>
                  </a:lnTo>
                  <a:lnTo>
                    <a:pt x="442" y="383"/>
                  </a:lnTo>
                  <a:lnTo>
                    <a:pt x="439" y="383"/>
                  </a:lnTo>
                  <a:lnTo>
                    <a:pt x="435" y="383"/>
                  </a:lnTo>
                  <a:lnTo>
                    <a:pt x="435" y="379"/>
                  </a:lnTo>
                  <a:close/>
                  <a:moveTo>
                    <a:pt x="598" y="411"/>
                  </a:moveTo>
                  <a:lnTo>
                    <a:pt x="598" y="415"/>
                  </a:lnTo>
                  <a:lnTo>
                    <a:pt x="594" y="415"/>
                  </a:lnTo>
                  <a:lnTo>
                    <a:pt x="594" y="411"/>
                  </a:lnTo>
                  <a:lnTo>
                    <a:pt x="598" y="411"/>
                  </a:lnTo>
                  <a:close/>
                  <a:moveTo>
                    <a:pt x="1129" y="439"/>
                  </a:moveTo>
                  <a:lnTo>
                    <a:pt x="1125" y="439"/>
                  </a:lnTo>
                  <a:lnTo>
                    <a:pt x="1129" y="439"/>
                  </a:lnTo>
                  <a:lnTo>
                    <a:pt x="1133" y="439"/>
                  </a:lnTo>
                  <a:lnTo>
                    <a:pt x="1129" y="439"/>
                  </a:lnTo>
                  <a:close/>
                  <a:moveTo>
                    <a:pt x="498" y="447"/>
                  </a:moveTo>
                  <a:lnTo>
                    <a:pt x="494" y="447"/>
                  </a:lnTo>
                  <a:lnTo>
                    <a:pt x="498" y="447"/>
                  </a:lnTo>
                  <a:close/>
                  <a:moveTo>
                    <a:pt x="1164" y="455"/>
                  </a:moveTo>
                  <a:lnTo>
                    <a:pt x="1168" y="455"/>
                  </a:lnTo>
                  <a:lnTo>
                    <a:pt x="1168" y="459"/>
                  </a:lnTo>
                  <a:lnTo>
                    <a:pt x="1164" y="459"/>
                  </a:lnTo>
                  <a:lnTo>
                    <a:pt x="1164" y="455"/>
                  </a:lnTo>
                  <a:close/>
                  <a:moveTo>
                    <a:pt x="1065" y="579"/>
                  </a:moveTo>
                  <a:lnTo>
                    <a:pt x="1069" y="583"/>
                  </a:lnTo>
                  <a:lnTo>
                    <a:pt x="1073" y="583"/>
                  </a:lnTo>
                  <a:lnTo>
                    <a:pt x="1069" y="587"/>
                  </a:lnTo>
                  <a:lnTo>
                    <a:pt x="1065" y="587"/>
                  </a:lnTo>
                  <a:lnTo>
                    <a:pt x="1061" y="587"/>
                  </a:lnTo>
                  <a:lnTo>
                    <a:pt x="1061" y="583"/>
                  </a:lnTo>
                  <a:lnTo>
                    <a:pt x="1061" y="579"/>
                  </a:lnTo>
                  <a:lnTo>
                    <a:pt x="1057" y="579"/>
                  </a:lnTo>
                  <a:lnTo>
                    <a:pt x="1061" y="579"/>
                  </a:lnTo>
                  <a:lnTo>
                    <a:pt x="1065" y="579"/>
                  </a:lnTo>
                  <a:close/>
                  <a:moveTo>
                    <a:pt x="1160" y="638"/>
                  </a:moveTo>
                  <a:lnTo>
                    <a:pt x="1156" y="638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2"/>
                  </a:lnTo>
                  <a:lnTo>
                    <a:pt x="1156" y="638"/>
                  </a:lnTo>
                  <a:lnTo>
                    <a:pt x="1152" y="638"/>
                  </a:lnTo>
                  <a:lnTo>
                    <a:pt x="1152" y="634"/>
                  </a:lnTo>
                  <a:lnTo>
                    <a:pt x="1156" y="634"/>
                  </a:lnTo>
                  <a:lnTo>
                    <a:pt x="1156" y="638"/>
                  </a:lnTo>
                  <a:lnTo>
                    <a:pt x="1160" y="638"/>
                  </a:lnTo>
                  <a:close/>
                  <a:moveTo>
                    <a:pt x="921" y="654"/>
                  </a:moveTo>
                  <a:lnTo>
                    <a:pt x="921" y="658"/>
                  </a:lnTo>
                  <a:lnTo>
                    <a:pt x="917" y="658"/>
                  </a:lnTo>
                  <a:lnTo>
                    <a:pt x="917" y="654"/>
                  </a:lnTo>
                  <a:lnTo>
                    <a:pt x="921" y="654"/>
                  </a:lnTo>
                  <a:close/>
                  <a:moveTo>
                    <a:pt x="1208" y="730"/>
                  </a:moveTo>
                  <a:lnTo>
                    <a:pt x="1208" y="726"/>
                  </a:lnTo>
                  <a:lnTo>
                    <a:pt x="1208" y="730"/>
                  </a:lnTo>
                  <a:close/>
                  <a:moveTo>
                    <a:pt x="1200" y="730"/>
                  </a:moveTo>
                  <a:lnTo>
                    <a:pt x="1204" y="730"/>
                  </a:lnTo>
                  <a:lnTo>
                    <a:pt x="1208" y="734"/>
                  </a:lnTo>
                  <a:lnTo>
                    <a:pt x="1204" y="734"/>
                  </a:lnTo>
                  <a:lnTo>
                    <a:pt x="1200" y="734"/>
                  </a:lnTo>
                  <a:lnTo>
                    <a:pt x="1204" y="734"/>
                  </a:lnTo>
                  <a:lnTo>
                    <a:pt x="1204" y="730"/>
                  </a:lnTo>
                  <a:lnTo>
                    <a:pt x="1200" y="730"/>
                  </a:lnTo>
                  <a:close/>
                  <a:moveTo>
                    <a:pt x="171" y="810"/>
                  </a:moveTo>
                  <a:lnTo>
                    <a:pt x="171" y="806"/>
                  </a:lnTo>
                  <a:lnTo>
                    <a:pt x="167" y="806"/>
                  </a:lnTo>
                  <a:lnTo>
                    <a:pt x="167" y="802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3" y="794"/>
                  </a:lnTo>
                  <a:lnTo>
                    <a:pt x="167" y="794"/>
                  </a:lnTo>
                  <a:lnTo>
                    <a:pt x="167" y="798"/>
                  </a:lnTo>
                  <a:lnTo>
                    <a:pt x="171" y="802"/>
                  </a:lnTo>
                  <a:lnTo>
                    <a:pt x="175" y="802"/>
                  </a:lnTo>
                  <a:lnTo>
                    <a:pt x="175" y="806"/>
                  </a:lnTo>
                  <a:lnTo>
                    <a:pt x="175" y="810"/>
                  </a:lnTo>
                  <a:lnTo>
                    <a:pt x="171" y="810"/>
                  </a:lnTo>
                  <a:close/>
                  <a:moveTo>
                    <a:pt x="179" y="818"/>
                  </a:moveTo>
                  <a:lnTo>
                    <a:pt x="179" y="814"/>
                  </a:lnTo>
                  <a:lnTo>
                    <a:pt x="183" y="814"/>
                  </a:lnTo>
                  <a:lnTo>
                    <a:pt x="183" y="810"/>
                  </a:lnTo>
                  <a:lnTo>
                    <a:pt x="179" y="810"/>
                  </a:lnTo>
                  <a:lnTo>
                    <a:pt x="183" y="810"/>
                  </a:lnTo>
                  <a:lnTo>
                    <a:pt x="183" y="814"/>
                  </a:lnTo>
                  <a:lnTo>
                    <a:pt x="179" y="814"/>
                  </a:lnTo>
                  <a:lnTo>
                    <a:pt x="179" y="810"/>
                  </a:lnTo>
                  <a:lnTo>
                    <a:pt x="179" y="806"/>
                  </a:lnTo>
                  <a:lnTo>
                    <a:pt x="183" y="806"/>
                  </a:lnTo>
                  <a:lnTo>
                    <a:pt x="183" y="810"/>
                  </a:lnTo>
                  <a:lnTo>
                    <a:pt x="187" y="810"/>
                  </a:lnTo>
                  <a:lnTo>
                    <a:pt x="187" y="814"/>
                  </a:lnTo>
                  <a:lnTo>
                    <a:pt x="187" y="822"/>
                  </a:lnTo>
                  <a:lnTo>
                    <a:pt x="183" y="822"/>
                  </a:lnTo>
                  <a:lnTo>
                    <a:pt x="183" y="818"/>
                  </a:lnTo>
                  <a:lnTo>
                    <a:pt x="187" y="818"/>
                  </a:lnTo>
                  <a:lnTo>
                    <a:pt x="187" y="814"/>
                  </a:lnTo>
                  <a:lnTo>
                    <a:pt x="183" y="818"/>
                  </a:lnTo>
                  <a:lnTo>
                    <a:pt x="183" y="822"/>
                  </a:lnTo>
                  <a:lnTo>
                    <a:pt x="179" y="822"/>
                  </a:lnTo>
                  <a:lnTo>
                    <a:pt x="179" y="818"/>
                  </a:lnTo>
                  <a:close/>
                  <a:moveTo>
                    <a:pt x="147" y="834"/>
                  </a:moveTo>
                  <a:lnTo>
                    <a:pt x="143" y="830"/>
                  </a:lnTo>
                  <a:lnTo>
                    <a:pt x="143" y="826"/>
                  </a:lnTo>
                  <a:lnTo>
                    <a:pt x="139" y="826"/>
                  </a:lnTo>
                  <a:lnTo>
                    <a:pt x="135" y="822"/>
                  </a:lnTo>
                  <a:lnTo>
                    <a:pt x="135" y="818"/>
                  </a:lnTo>
                  <a:lnTo>
                    <a:pt x="131" y="818"/>
                  </a:lnTo>
                  <a:lnTo>
                    <a:pt x="131" y="814"/>
                  </a:lnTo>
                  <a:lnTo>
                    <a:pt x="135" y="814"/>
                  </a:lnTo>
                  <a:lnTo>
                    <a:pt x="131" y="814"/>
                  </a:lnTo>
                  <a:lnTo>
                    <a:pt x="127" y="814"/>
                  </a:lnTo>
                  <a:lnTo>
                    <a:pt x="127" y="810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5" y="806"/>
                  </a:lnTo>
                  <a:lnTo>
                    <a:pt x="139" y="806"/>
                  </a:lnTo>
                  <a:lnTo>
                    <a:pt x="139" y="810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0"/>
                  </a:lnTo>
                  <a:lnTo>
                    <a:pt x="135" y="810"/>
                  </a:lnTo>
                  <a:lnTo>
                    <a:pt x="135" y="814"/>
                  </a:lnTo>
                  <a:lnTo>
                    <a:pt x="139" y="814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8"/>
                  </a:lnTo>
                  <a:lnTo>
                    <a:pt x="139" y="814"/>
                  </a:lnTo>
                  <a:lnTo>
                    <a:pt x="135" y="814"/>
                  </a:lnTo>
                  <a:lnTo>
                    <a:pt x="139" y="818"/>
                  </a:lnTo>
                  <a:lnTo>
                    <a:pt x="139" y="822"/>
                  </a:lnTo>
                  <a:lnTo>
                    <a:pt x="143" y="822"/>
                  </a:lnTo>
                  <a:lnTo>
                    <a:pt x="143" y="826"/>
                  </a:lnTo>
                  <a:lnTo>
                    <a:pt x="147" y="826"/>
                  </a:lnTo>
                  <a:lnTo>
                    <a:pt x="147" y="830"/>
                  </a:lnTo>
                  <a:lnTo>
                    <a:pt x="151" y="830"/>
                  </a:lnTo>
                  <a:lnTo>
                    <a:pt x="147" y="834"/>
                  </a:lnTo>
                  <a:close/>
                  <a:moveTo>
                    <a:pt x="195" y="830"/>
                  </a:moveTo>
                  <a:lnTo>
                    <a:pt x="195" y="834"/>
                  </a:lnTo>
                  <a:lnTo>
                    <a:pt x="191" y="834"/>
                  </a:lnTo>
                  <a:lnTo>
                    <a:pt x="191" y="830"/>
                  </a:lnTo>
                  <a:lnTo>
                    <a:pt x="195" y="830"/>
                  </a:lnTo>
                  <a:close/>
                  <a:moveTo>
                    <a:pt x="195" y="834"/>
                  </a:moveTo>
                  <a:lnTo>
                    <a:pt x="195" y="838"/>
                  </a:lnTo>
                  <a:lnTo>
                    <a:pt x="195" y="842"/>
                  </a:lnTo>
                  <a:lnTo>
                    <a:pt x="191" y="838"/>
                  </a:lnTo>
                  <a:lnTo>
                    <a:pt x="195" y="834"/>
                  </a:lnTo>
                  <a:close/>
                  <a:moveTo>
                    <a:pt x="945" y="8"/>
                  </a:moveTo>
                  <a:lnTo>
                    <a:pt x="949" y="4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45" y="8"/>
                  </a:lnTo>
                  <a:close/>
                  <a:moveTo>
                    <a:pt x="746" y="52"/>
                  </a:moveTo>
                  <a:lnTo>
                    <a:pt x="742" y="52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52"/>
                  </a:lnTo>
                  <a:close/>
                  <a:moveTo>
                    <a:pt x="1125" y="52"/>
                  </a:moveTo>
                  <a:lnTo>
                    <a:pt x="1121" y="52"/>
                  </a:lnTo>
                  <a:lnTo>
                    <a:pt x="1121" y="48"/>
                  </a:lnTo>
                  <a:lnTo>
                    <a:pt x="1125" y="48"/>
                  </a:lnTo>
                  <a:lnTo>
                    <a:pt x="1129" y="48"/>
                  </a:lnTo>
                  <a:lnTo>
                    <a:pt x="1129" y="52"/>
                  </a:lnTo>
                  <a:lnTo>
                    <a:pt x="1125" y="52"/>
                  </a:lnTo>
                  <a:close/>
                  <a:moveTo>
                    <a:pt x="694" y="80"/>
                  </a:moveTo>
                  <a:lnTo>
                    <a:pt x="698" y="80"/>
                  </a:lnTo>
                  <a:lnTo>
                    <a:pt x="694" y="80"/>
                  </a:lnTo>
                  <a:lnTo>
                    <a:pt x="690" y="80"/>
                  </a:lnTo>
                  <a:lnTo>
                    <a:pt x="686" y="80"/>
                  </a:lnTo>
                  <a:lnTo>
                    <a:pt x="682" y="80"/>
                  </a:lnTo>
                  <a:lnTo>
                    <a:pt x="678" y="80"/>
                  </a:lnTo>
                  <a:lnTo>
                    <a:pt x="682" y="80"/>
                  </a:lnTo>
                  <a:lnTo>
                    <a:pt x="690" y="80"/>
                  </a:lnTo>
                  <a:lnTo>
                    <a:pt x="694" y="80"/>
                  </a:lnTo>
                  <a:close/>
                  <a:moveTo>
                    <a:pt x="833" y="128"/>
                  </a:moveTo>
                  <a:lnTo>
                    <a:pt x="837" y="128"/>
                  </a:lnTo>
                  <a:lnTo>
                    <a:pt x="841" y="128"/>
                  </a:lnTo>
                  <a:lnTo>
                    <a:pt x="845" y="128"/>
                  </a:lnTo>
                  <a:lnTo>
                    <a:pt x="845" y="132"/>
                  </a:lnTo>
                  <a:lnTo>
                    <a:pt x="841" y="132"/>
                  </a:lnTo>
                  <a:lnTo>
                    <a:pt x="837" y="132"/>
                  </a:lnTo>
                  <a:lnTo>
                    <a:pt x="833" y="132"/>
                  </a:lnTo>
                  <a:lnTo>
                    <a:pt x="829" y="136"/>
                  </a:lnTo>
                  <a:lnTo>
                    <a:pt x="825" y="136"/>
                  </a:lnTo>
                  <a:lnTo>
                    <a:pt x="825" y="132"/>
                  </a:lnTo>
                  <a:lnTo>
                    <a:pt x="829" y="132"/>
                  </a:lnTo>
                  <a:lnTo>
                    <a:pt x="829" y="128"/>
                  </a:lnTo>
                  <a:lnTo>
                    <a:pt x="833" y="128"/>
                  </a:lnTo>
                  <a:close/>
                  <a:moveTo>
                    <a:pt x="1009" y="140"/>
                  </a:moveTo>
                  <a:lnTo>
                    <a:pt x="1005" y="140"/>
                  </a:lnTo>
                  <a:lnTo>
                    <a:pt x="1001" y="140"/>
                  </a:lnTo>
                  <a:lnTo>
                    <a:pt x="1005" y="140"/>
                  </a:lnTo>
                  <a:lnTo>
                    <a:pt x="1005" y="136"/>
                  </a:lnTo>
                  <a:lnTo>
                    <a:pt x="1005" y="140"/>
                  </a:lnTo>
                  <a:lnTo>
                    <a:pt x="1009" y="140"/>
                  </a:lnTo>
                  <a:lnTo>
                    <a:pt x="1013" y="140"/>
                  </a:lnTo>
                  <a:lnTo>
                    <a:pt x="1009" y="140"/>
                  </a:lnTo>
                  <a:close/>
                  <a:moveTo>
                    <a:pt x="801" y="148"/>
                  </a:moveTo>
                  <a:lnTo>
                    <a:pt x="797" y="152"/>
                  </a:lnTo>
                  <a:lnTo>
                    <a:pt x="797" y="156"/>
                  </a:lnTo>
                  <a:lnTo>
                    <a:pt x="797" y="152"/>
                  </a:lnTo>
                  <a:lnTo>
                    <a:pt x="794" y="152"/>
                  </a:lnTo>
                  <a:lnTo>
                    <a:pt x="797" y="152"/>
                  </a:lnTo>
                  <a:lnTo>
                    <a:pt x="797" y="148"/>
                  </a:lnTo>
                  <a:lnTo>
                    <a:pt x="801" y="148"/>
                  </a:lnTo>
                  <a:close/>
                  <a:moveTo>
                    <a:pt x="594" y="156"/>
                  </a:moveTo>
                  <a:lnTo>
                    <a:pt x="590" y="156"/>
                  </a:lnTo>
                  <a:lnTo>
                    <a:pt x="594" y="156"/>
                  </a:lnTo>
                  <a:close/>
                  <a:moveTo>
                    <a:pt x="957" y="164"/>
                  </a:moveTo>
                  <a:lnTo>
                    <a:pt x="961" y="164"/>
                  </a:lnTo>
                  <a:lnTo>
                    <a:pt x="961" y="168"/>
                  </a:lnTo>
                  <a:lnTo>
                    <a:pt x="957" y="168"/>
                  </a:lnTo>
                  <a:lnTo>
                    <a:pt x="953" y="168"/>
                  </a:lnTo>
                  <a:lnTo>
                    <a:pt x="957" y="168"/>
                  </a:lnTo>
                  <a:lnTo>
                    <a:pt x="957" y="164"/>
                  </a:lnTo>
                  <a:close/>
                  <a:moveTo>
                    <a:pt x="841" y="175"/>
                  </a:moveTo>
                  <a:lnTo>
                    <a:pt x="845" y="175"/>
                  </a:lnTo>
                  <a:lnTo>
                    <a:pt x="849" y="175"/>
                  </a:lnTo>
                  <a:lnTo>
                    <a:pt x="845" y="179"/>
                  </a:lnTo>
                  <a:lnTo>
                    <a:pt x="845" y="175"/>
                  </a:lnTo>
                  <a:lnTo>
                    <a:pt x="841" y="175"/>
                  </a:lnTo>
                  <a:lnTo>
                    <a:pt x="837" y="175"/>
                  </a:lnTo>
                  <a:lnTo>
                    <a:pt x="841" y="175"/>
                  </a:lnTo>
                  <a:close/>
                  <a:moveTo>
                    <a:pt x="861" y="207"/>
                  </a:moveTo>
                  <a:lnTo>
                    <a:pt x="865" y="207"/>
                  </a:lnTo>
                  <a:lnTo>
                    <a:pt x="861" y="207"/>
                  </a:lnTo>
                  <a:close/>
                  <a:moveTo>
                    <a:pt x="578" y="211"/>
                  </a:moveTo>
                  <a:lnTo>
                    <a:pt x="582" y="215"/>
                  </a:lnTo>
                  <a:lnTo>
                    <a:pt x="578" y="219"/>
                  </a:lnTo>
                  <a:lnTo>
                    <a:pt x="574" y="219"/>
                  </a:lnTo>
                  <a:lnTo>
                    <a:pt x="570" y="219"/>
                  </a:lnTo>
                  <a:lnTo>
                    <a:pt x="566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54" y="219"/>
                  </a:lnTo>
                  <a:lnTo>
                    <a:pt x="554" y="215"/>
                  </a:lnTo>
                  <a:lnTo>
                    <a:pt x="558" y="215"/>
                  </a:lnTo>
                  <a:lnTo>
                    <a:pt x="562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4" y="211"/>
                  </a:lnTo>
                  <a:lnTo>
                    <a:pt x="578" y="211"/>
                  </a:lnTo>
                  <a:close/>
                  <a:moveTo>
                    <a:pt x="941" y="219"/>
                  </a:moveTo>
                  <a:lnTo>
                    <a:pt x="937" y="219"/>
                  </a:lnTo>
                  <a:lnTo>
                    <a:pt x="937" y="223"/>
                  </a:lnTo>
                  <a:lnTo>
                    <a:pt x="941" y="223"/>
                  </a:lnTo>
                  <a:lnTo>
                    <a:pt x="941" y="227"/>
                  </a:lnTo>
                  <a:lnTo>
                    <a:pt x="937" y="227"/>
                  </a:lnTo>
                  <a:lnTo>
                    <a:pt x="937" y="223"/>
                  </a:lnTo>
                  <a:lnTo>
                    <a:pt x="933" y="223"/>
                  </a:lnTo>
                  <a:lnTo>
                    <a:pt x="933" y="227"/>
                  </a:lnTo>
                  <a:lnTo>
                    <a:pt x="929" y="227"/>
                  </a:lnTo>
                  <a:lnTo>
                    <a:pt x="929" y="223"/>
                  </a:lnTo>
                  <a:lnTo>
                    <a:pt x="925" y="223"/>
                  </a:lnTo>
                  <a:lnTo>
                    <a:pt x="929" y="223"/>
                  </a:lnTo>
                  <a:lnTo>
                    <a:pt x="933" y="219"/>
                  </a:lnTo>
                  <a:lnTo>
                    <a:pt x="937" y="219"/>
                  </a:lnTo>
                  <a:lnTo>
                    <a:pt x="937" y="215"/>
                  </a:lnTo>
                  <a:lnTo>
                    <a:pt x="941" y="219"/>
                  </a:lnTo>
                  <a:close/>
                  <a:moveTo>
                    <a:pt x="303" y="223"/>
                  </a:moveTo>
                  <a:lnTo>
                    <a:pt x="303" y="227"/>
                  </a:lnTo>
                  <a:lnTo>
                    <a:pt x="299" y="227"/>
                  </a:lnTo>
                  <a:lnTo>
                    <a:pt x="303" y="227"/>
                  </a:lnTo>
                  <a:lnTo>
                    <a:pt x="303" y="223"/>
                  </a:lnTo>
                  <a:close/>
                  <a:moveTo>
                    <a:pt x="279" y="223"/>
                  </a:move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close/>
                  <a:moveTo>
                    <a:pt x="570" y="223"/>
                  </a:moveTo>
                  <a:lnTo>
                    <a:pt x="566" y="227"/>
                  </a:lnTo>
                  <a:lnTo>
                    <a:pt x="562" y="227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70" y="223"/>
                  </a:lnTo>
                  <a:close/>
                  <a:moveTo>
                    <a:pt x="614" y="235"/>
                  </a:moveTo>
                  <a:lnTo>
                    <a:pt x="614" y="231"/>
                  </a:lnTo>
                  <a:lnTo>
                    <a:pt x="610" y="235"/>
                  </a:lnTo>
                  <a:lnTo>
                    <a:pt x="606" y="235"/>
                  </a:lnTo>
                  <a:lnTo>
                    <a:pt x="606" y="231"/>
                  </a:lnTo>
                  <a:lnTo>
                    <a:pt x="610" y="231"/>
                  </a:lnTo>
                  <a:lnTo>
                    <a:pt x="614" y="231"/>
                  </a:lnTo>
                  <a:lnTo>
                    <a:pt x="618" y="231"/>
                  </a:lnTo>
                  <a:lnTo>
                    <a:pt x="618" y="235"/>
                  </a:lnTo>
                  <a:lnTo>
                    <a:pt x="614" y="235"/>
                  </a:lnTo>
                  <a:close/>
                  <a:moveTo>
                    <a:pt x="921" y="319"/>
                  </a:moveTo>
                  <a:lnTo>
                    <a:pt x="925" y="323"/>
                  </a:lnTo>
                  <a:lnTo>
                    <a:pt x="921" y="323"/>
                  </a:lnTo>
                  <a:lnTo>
                    <a:pt x="921" y="319"/>
                  </a:lnTo>
                  <a:close/>
                  <a:moveTo>
                    <a:pt x="929" y="323"/>
                  </a:moveTo>
                  <a:lnTo>
                    <a:pt x="933" y="323"/>
                  </a:lnTo>
                  <a:lnTo>
                    <a:pt x="933" y="327"/>
                  </a:lnTo>
                  <a:lnTo>
                    <a:pt x="929" y="327"/>
                  </a:lnTo>
                  <a:lnTo>
                    <a:pt x="929" y="323"/>
                  </a:lnTo>
                  <a:close/>
                  <a:moveTo>
                    <a:pt x="937" y="323"/>
                  </a:moveTo>
                  <a:lnTo>
                    <a:pt x="941" y="323"/>
                  </a:lnTo>
                  <a:lnTo>
                    <a:pt x="941" y="327"/>
                  </a:lnTo>
                  <a:lnTo>
                    <a:pt x="937" y="327"/>
                  </a:lnTo>
                  <a:lnTo>
                    <a:pt x="937" y="323"/>
                  </a:lnTo>
                  <a:close/>
                  <a:moveTo>
                    <a:pt x="829" y="327"/>
                  </a:moveTo>
                  <a:lnTo>
                    <a:pt x="833" y="327"/>
                  </a:lnTo>
                  <a:lnTo>
                    <a:pt x="833" y="331"/>
                  </a:lnTo>
                  <a:lnTo>
                    <a:pt x="833" y="327"/>
                  </a:lnTo>
                  <a:lnTo>
                    <a:pt x="829" y="327"/>
                  </a:lnTo>
                  <a:close/>
                  <a:moveTo>
                    <a:pt x="690" y="339"/>
                  </a:moveTo>
                  <a:lnTo>
                    <a:pt x="690" y="343"/>
                  </a:lnTo>
                  <a:lnTo>
                    <a:pt x="690" y="339"/>
                  </a:lnTo>
                  <a:close/>
                  <a:moveTo>
                    <a:pt x="670" y="355"/>
                  </a:moveTo>
                  <a:lnTo>
                    <a:pt x="674" y="355"/>
                  </a:lnTo>
                  <a:lnTo>
                    <a:pt x="674" y="359"/>
                  </a:lnTo>
                  <a:lnTo>
                    <a:pt x="670" y="359"/>
                  </a:lnTo>
                  <a:lnTo>
                    <a:pt x="670" y="355"/>
                  </a:lnTo>
                  <a:close/>
                  <a:moveTo>
                    <a:pt x="359" y="375"/>
                  </a:moveTo>
                  <a:lnTo>
                    <a:pt x="363" y="375"/>
                  </a:lnTo>
                  <a:lnTo>
                    <a:pt x="359" y="375"/>
                  </a:lnTo>
                  <a:close/>
                  <a:moveTo>
                    <a:pt x="375" y="375"/>
                  </a:moveTo>
                  <a:lnTo>
                    <a:pt x="371" y="375"/>
                  </a:lnTo>
                  <a:lnTo>
                    <a:pt x="375" y="375"/>
                  </a:lnTo>
                  <a:close/>
                  <a:moveTo>
                    <a:pt x="662" y="391"/>
                  </a:moveTo>
                  <a:lnTo>
                    <a:pt x="662" y="395"/>
                  </a:lnTo>
                  <a:lnTo>
                    <a:pt x="658" y="395"/>
                  </a:lnTo>
                  <a:lnTo>
                    <a:pt x="658" y="391"/>
                  </a:lnTo>
                  <a:lnTo>
                    <a:pt x="662" y="391"/>
                  </a:lnTo>
                  <a:close/>
                  <a:moveTo>
                    <a:pt x="750" y="399"/>
                  </a:moveTo>
                  <a:lnTo>
                    <a:pt x="746" y="395"/>
                  </a:lnTo>
                  <a:lnTo>
                    <a:pt x="750" y="395"/>
                  </a:lnTo>
                  <a:lnTo>
                    <a:pt x="750" y="399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4" y="407"/>
                  </a:lnTo>
                  <a:lnTo>
                    <a:pt x="670" y="403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70" y="407"/>
                  </a:moveTo>
                  <a:lnTo>
                    <a:pt x="766" y="411"/>
                  </a:lnTo>
                  <a:lnTo>
                    <a:pt x="766" y="407"/>
                  </a:lnTo>
                  <a:lnTo>
                    <a:pt x="770" y="407"/>
                  </a:lnTo>
                  <a:close/>
                  <a:moveTo>
                    <a:pt x="88" y="411"/>
                  </a:moveTo>
                  <a:lnTo>
                    <a:pt x="84" y="411"/>
                  </a:lnTo>
                  <a:lnTo>
                    <a:pt x="84" y="407"/>
                  </a:lnTo>
                  <a:lnTo>
                    <a:pt x="88" y="407"/>
                  </a:lnTo>
                  <a:lnTo>
                    <a:pt x="88" y="411"/>
                  </a:lnTo>
                  <a:close/>
                  <a:moveTo>
                    <a:pt x="762" y="411"/>
                  </a:moveTo>
                  <a:lnTo>
                    <a:pt x="762" y="407"/>
                  </a:lnTo>
                  <a:lnTo>
                    <a:pt x="766" y="411"/>
                  </a:lnTo>
                  <a:lnTo>
                    <a:pt x="762" y="411"/>
                  </a:lnTo>
                  <a:close/>
                  <a:moveTo>
                    <a:pt x="618" y="415"/>
                  </a:moveTo>
                  <a:lnTo>
                    <a:pt x="622" y="419"/>
                  </a:lnTo>
                  <a:lnTo>
                    <a:pt x="618" y="419"/>
                  </a:lnTo>
                  <a:lnTo>
                    <a:pt x="618" y="415"/>
                  </a:lnTo>
                  <a:close/>
                  <a:moveTo>
                    <a:pt x="614" y="419"/>
                  </a:moveTo>
                  <a:lnTo>
                    <a:pt x="618" y="419"/>
                  </a:lnTo>
                  <a:lnTo>
                    <a:pt x="618" y="423"/>
                  </a:lnTo>
                  <a:lnTo>
                    <a:pt x="614" y="423"/>
                  </a:lnTo>
                  <a:lnTo>
                    <a:pt x="614" y="427"/>
                  </a:lnTo>
                  <a:lnTo>
                    <a:pt x="610" y="423"/>
                  </a:lnTo>
                  <a:lnTo>
                    <a:pt x="610" y="419"/>
                  </a:lnTo>
                  <a:lnTo>
                    <a:pt x="610" y="415"/>
                  </a:lnTo>
                  <a:lnTo>
                    <a:pt x="614" y="415"/>
                  </a:lnTo>
                  <a:lnTo>
                    <a:pt x="614" y="419"/>
                  </a:lnTo>
                  <a:close/>
                  <a:moveTo>
                    <a:pt x="774" y="419"/>
                  </a:moveTo>
                  <a:lnTo>
                    <a:pt x="770" y="419"/>
                  </a:lnTo>
                  <a:lnTo>
                    <a:pt x="774" y="419"/>
                  </a:lnTo>
                  <a:close/>
                  <a:moveTo>
                    <a:pt x="774" y="427"/>
                  </a:moveTo>
                  <a:lnTo>
                    <a:pt x="770" y="427"/>
                  </a:lnTo>
                  <a:lnTo>
                    <a:pt x="770" y="423"/>
                  </a:lnTo>
                  <a:lnTo>
                    <a:pt x="774" y="423"/>
                  </a:lnTo>
                  <a:lnTo>
                    <a:pt x="774" y="427"/>
                  </a:lnTo>
                  <a:close/>
                  <a:moveTo>
                    <a:pt x="1097" y="423"/>
                  </a:moveTo>
                  <a:lnTo>
                    <a:pt x="1101" y="423"/>
                  </a:lnTo>
                  <a:lnTo>
                    <a:pt x="1105" y="423"/>
                  </a:lnTo>
                  <a:lnTo>
                    <a:pt x="1109" y="427"/>
                  </a:lnTo>
                  <a:lnTo>
                    <a:pt x="1105" y="427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close/>
                  <a:moveTo>
                    <a:pt x="458" y="431"/>
                  </a:moveTo>
                  <a:lnTo>
                    <a:pt x="454" y="431"/>
                  </a:lnTo>
                  <a:lnTo>
                    <a:pt x="450" y="431"/>
                  </a:lnTo>
                  <a:lnTo>
                    <a:pt x="454" y="431"/>
                  </a:lnTo>
                  <a:lnTo>
                    <a:pt x="458" y="431"/>
                  </a:lnTo>
                  <a:close/>
                  <a:moveTo>
                    <a:pt x="893" y="435"/>
                  </a:moveTo>
                  <a:lnTo>
                    <a:pt x="889" y="435"/>
                  </a:lnTo>
                  <a:lnTo>
                    <a:pt x="893" y="435"/>
                  </a:lnTo>
                  <a:close/>
                  <a:moveTo>
                    <a:pt x="446" y="435"/>
                  </a:moveTo>
                  <a:lnTo>
                    <a:pt x="446" y="439"/>
                  </a:lnTo>
                  <a:lnTo>
                    <a:pt x="442" y="439"/>
                  </a:lnTo>
                  <a:lnTo>
                    <a:pt x="442" y="435"/>
                  </a:lnTo>
                  <a:lnTo>
                    <a:pt x="446" y="435"/>
                  </a:lnTo>
                  <a:close/>
                  <a:moveTo>
                    <a:pt x="474" y="439"/>
                  </a:moveTo>
                  <a:lnTo>
                    <a:pt x="470" y="439"/>
                  </a:lnTo>
                  <a:lnTo>
                    <a:pt x="470" y="443"/>
                  </a:lnTo>
                  <a:lnTo>
                    <a:pt x="470" y="439"/>
                  </a:lnTo>
                  <a:lnTo>
                    <a:pt x="474" y="439"/>
                  </a:lnTo>
                  <a:close/>
                  <a:moveTo>
                    <a:pt x="554" y="439"/>
                  </a:moveTo>
                  <a:lnTo>
                    <a:pt x="554" y="443"/>
                  </a:lnTo>
                  <a:lnTo>
                    <a:pt x="550" y="443"/>
                  </a:lnTo>
                  <a:lnTo>
                    <a:pt x="550" y="439"/>
                  </a:lnTo>
                  <a:lnTo>
                    <a:pt x="554" y="439"/>
                  </a:lnTo>
                  <a:close/>
                  <a:moveTo>
                    <a:pt x="470" y="443"/>
                  </a:moveTo>
                  <a:lnTo>
                    <a:pt x="466" y="443"/>
                  </a:lnTo>
                  <a:lnTo>
                    <a:pt x="470" y="443"/>
                  </a:lnTo>
                  <a:close/>
                  <a:moveTo>
                    <a:pt x="478" y="443"/>
                  </a:moveTo>
                  <a:lnTo>
                    <a:pt x="478" y="447"/>
                  </a:lnTo>
                  <a:lnTo>
                    <a:pt x="478" y="443"/>
                  </a:lnTo>
                  <a:lnTo>
                    <a:pt x="474" y="443"/>
                  </a:lnTo>
                  <a:lnTo>
                    <a:pt x="478" y="443"/>
                  </a:lnTo>
                  <a:close/>
                  <a:moveTo>
                    <a:pt x="494" y="447"/>
                  </a:moveTo>
                  <a:lnTo>
                    <a:pt x="490" y="447"/>
                  </a:lnTo>
                  <a:lnTo>
                    <a:pt x="494" y="447"/>
                  </a:lnTo>
                  <a:close/>
                  <a:moveTo>
                    <a:pt x="662" y="451"/>
                  </a:moveTo>
                  <a:lnTo>
                    <a:pt x="662" y="455"/>
                  </a:lnTo>
                  <a:lnTo>
                    <a:pt x="658" y="455"/>
                  </a:lnTo>
                  <a:lnTo>
                    <a:pt x="658" y="451"/>
                  </a:lnTo>
                  <a:lnTo>
                    <a:pt x="662" y="451"/>
                  </a:lnTo>
                  <a:close/>
                  <a:moveTo>
                    <a:pt x="498" y="459"/>
                  </a:move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498" y="459"/>
                  </a:moveTo>
                  <a:lnTo>
                    <a:pt x="494" y="459"/>
                  </a:lnTo>
                  <a:lnTo>
                    <a:pt x="494" y="455"/>
                  </a:ln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1172" y="463"/>
                  </a:moveTo>
                  <a:lnTo>
                    <a:pt x="1168" y="463"/>
                  </a:lnTo>
                  <a:lnTo>
                    <a:pt x="1172" y="463"/>
                  </a:lnTo>
                  <a:lnTo>
                    <a:pt x="1176" y="463"/>
                  </a:lnTo>
                  <a:lnTo>
                    <a:pt x="1172" y="463"/>
                  </a:lnTo>
                  <a:close/>
                  <a:moveTo>
                    <a:pt x="690" y="463"/>
                  </a:moveTo>
                  <a:lnTo>
                    <a:pt x="690" y="467"/>
                  </a:lnTo>
                  <a:lnTo>
                    <a:pt x="686" y="467"/>
                  </a:lnTo>
                  <a:lnTo>
                    <a:pt x="686" y="463"/>
                  </a:lnTo>
                  <a:lnTo>
                    <a:pt x="690" y="463"/>
                  </a:lnTo>
                  <a:close/>
                  <a:moveTo>
                    <a:pt x="506" y="467"/>
                  </a:moveTo>
                  <a:lnTo>
                    <a:pt x="506" y="471"/>
                  </a:lnTo>
                  <a:lnTo>
                    <a:pt x="506" y="467"/>
                  </a:lnTo>
                  <a:close/>
                  <a:moveTo>
                    <a:pt x="1180" y="471"/>
                  </a:moveTo>
                  <a:lnTo>
                    <a:pt x="1176" y="471"/>
                  </a:lnTo>
                  <a:lnTo>
                    <a:pt x="1180" y="471"/>
                  </a:lnTo>
                  <a:close/>
                  <a:moveTo>
                    <a:pt x="502" y="471"/>
                  </a:moveTo>
                  <a:lnTo>
                    <a:pt x="502" y="475"/>
                  </a:lnTo>
                  <a:lnTo>
                    <a:pt x="498" y="475"/>
                  </a:lnTo>
                  <a:lnTo>
                    <a:pt x="502" y="471"/>
                  </a:lnTo>
                  <a:close/>
                  <a:moveTo>
                    <a:pt x="1192" y="491"/>
                  </a:moveTo>
                  <a:lnTo>
                    <a:pt x="1188" y="491"/>
                  </a:lnTo>
                  <a:lnTo>
                    <a:pt x="1192" y="491"/>
                  </a:lnTo>
                  <a:close/>
                  <a:moveTo>
                    <a:pt x="1021" y="535"/>
                  </a:moveTo>
                  <a:lnTo>
                    <a:pt x="1021" y="539"/>
                  </a:lnTo>
                  <a:lnTo>
                    <a:pt x="1021" y="543"/>
                  </a:lnTo>
                  <a:lnTo>
                    <a:pt x="1021" y="539"/>
                  </a:lnTo>
                  <a:lnTo>
                    <a:pt x="1017" y="539"/>
                  </a:lnTo>
                  <a:lnTo>
                    <a:pt x="1021" y="535"/>
                  </a:lnTo>
                  <a:lnTo>
                    <a:pt x="1017" y="535"/>
                  </a:lnTo>
                  <a:lnTo>
                    <a:pt x="1021" y="535"/>
                  </a:lnTo>
                  <a:close/>
                  <a:moveTo>
                    <a:pt x="1009" y="535"/>
                  </a:moveTo>
                  <a:lnTo>
                    <a:pt x="1009" y="539"/>
                  </a:lnTo>
                  <a:lnTo>
                    <a:pt x="1013" y="539"/>
                  </a:lnTo>
                  <a:lnTo>
                    <a:pt x="1009" y="539"/>
                  </a:lnTo>
                  <a:lnTo>
                    <a:pt x="1009" y="535"/>
                  </a:lnTo>
                  <a:close/>
                  <a:moveTo>
                    <a:pt x="1152" y="539"/>
                  </a:moveTo>
                  <a:lnTo>
                    <a:pt x="1152" y="543"/>
                  </a:lnTo>
                  <a:lnTo>
                    <a:pt x="1152" y="539"/>
                  </a:lnTo>
                  <a:lnTo>
                    <a:pt x="1148" y="539"/>
                  </a:lnTo>
                  <a:lnTo>
                    <a:pt x="1152" y="539"/>
                  </a:lnTo>
                  <a:close/>
                  <a:moveTo>
                    <a:pt x="1017" y="539"/>
                  </a:moveTo>
                  <a:lnTo>
                    <a:pt x="1017" y="543"/>
                  </a:lnTo>
                  <a:lnTo>
                    <a:pt x="1017" y="539"/>
                  </a:lnTo>
                  <a:close/>
                  <a:moveTo>
                    <a:pt x="1148" y="539"/>
                  </a:moveTo>
                  <a:lnTo>
                    <a:pt x="1152" y="543"/>
                  </a:lnTo>
                  <a:lnTo>
                    <a:pt x="1148" y="543"/>
                  </a:lnTo>
                  <a:lnTo>
                    <a:pt x="1148" y="539"/>
                  </a:lnTo>
                  <a:close/>
                  <a:moveTo>
                    <a:pt x="1156" y="551"/>
                  </a:moveTo>
                  <a:lnTo>
                    <a:pt x="1156" y="555"/>
                  </a:lnTo>
                  <a:lnTo>
                    <a:pt x="1160" y="555"/>
                  </a:lnTo>
                  <a:lnTo>
                    <a:pt x="1160" y="559"/>
                  </a:lnTo>
                  <a:lnTo>
                    <a:pt x="1156" y="559"/>
                  </a:lnTo>
                  <a:lnTo>
                    <a:pt x="1156" y="555"/>
                  </a:lnTo>
                  <a:lnTo>
                    <a:pt x="1152" y="555"/>
                  </a:lnTo>
                  <a:lnTo>
                    <a:pt x="1152" y="551"/>
                  </a:lnTo>
                  <a:lnTo>
                    <a:pt x="1156" y="551"/>
                  </a:lnTo>
                  <a:close/>
                  <a:moveTo>
                    <a:pt x="1160" y="551"/>
                  </a:moveTo>
                  <a:lnTo>
                    <a:pt x="1160" y="555"/>
                  </a:lnTo>
                  <a:lnTo>
                    <a:pt x="1160" y="551"/>
                  </a:lnTo>
                  <a:close/>
                  <a:moveTo>
                    <a:pt x="1164" y="555"/>
                  </a:moveTo>
                  <a:lnTo>
                    <a:pt x="1164" y="559"/>
                  </a:lnTo>
                  <a:lnTo>
                    <a:pt x="1160" y="559"/>
                  </a:lnTo>
                  <a:lnTo>
                    <a:pt x="1160" y="555"/>
                  </a:lnTo>
                  <a:lnTo>
                    <a:pt x="1164" y="555"/>
                  </a:lnTo>
                  <a:close/>
                  <a:moveTo>
                    <a:pt x="1160" y="559"/>
                  </a:moveTo>
                  <a:lnTo>
                    <a:pt x="1164" y="559"/>
                  </a:lnTo>
                  <a:lnTo>
                    <a:pt x="1164" y="563"/>
                  </a:lnTo>
                  <a:lnTo>
                    <a:pt x="1160" y="563"/>
                  </a:lnTo>
                  <a:lnTo>
                    <a:pt x="1160" y="559"/>
                  </a:lnTo>
                  <a:close/>
                  <a:moveTo>
                    <a:pt x="762" y="559"/>
                  </a:moveTo>
                  <a:lnTo>
                    <a:pt x="762" y="563"/>
                  </a:lnTo>
                  <a:lnTo>
                    <a:pt x="758" y="563"/>
                  </a:lnTo>
                  <a:lnTo>
                    <a:pt x="758" y="559"/>
                  </a:lnTo>
                  <a:lnTo>
                    <a:pt x="762" y="559"/>
                  </a:lnTo>
                  <a:close/>
                  <a:moveTo>
                    <a:pt x="953" y="583"/>
                  </a:moveTo>
                  <a:lnTo>
                    <a:pt x="957" y="583"/>
                  </a:lnTo>
                  <a:lnTo>
                    <a:pt x="957" y="587"/>
                  </a:lnTo>
                  <a:lnTo>
                    <a:pt x="953" y="587"/>
                  </a:lnTo>
                  <a:lnTo>
                    <a:pt x="953" y="583"/>
                  </a:lnTo>
                  <a:close/>
                  <a:moveTo>
                    <a:pt x="738" y="591"/>
                  </a:moveTo>
                  <a:lnTo>
                    <a:pt x="734" y="591"/>
                  </a:lnTo>
                  <a:lnTo>
                    <a:pt x="738" y="591"/>
                  </a:lnTo>
                  <a:close/>
                  <a:moveTo>
                    <a:pt x="1141" y="603"/>
                  </a:moveTo>
                  <a:lnTo>
                    <a:pt x="1141" y="606"/>
                  </a:lnTo>
                  <a:lnTo>
                    <a:pt x="1137" y="606"/>
                  </a:lnTo>
                  <a:lnTo>
                    <a:pt x="1137" y="603"/>
                  </a:lnTo>
                  <a:lnTo>
                    <a:pt x="1141" y="603"/>
                  </a:lnTo>
                  <a:close/>
                  <a:moveTo>
                    <a:pt x="1164" y="650"/>
                  </a:moveTo>
                  <a:lnTo>
                    <a:pt x="1164" y="654"/>
                  </a:lnTo>
                  <a:lnTo>
                    <a:pt x="1160" y="654"/>
                  </a:lnTo>
                  <a:lnTo>
                    <a:pt x="1164" y="650"/>
                  </a:lnTo>
                  <a:close/>
                  <a:moveTo>
                    <a:pt x="1196" y="710"/>
                  </a:moveTo>
                  <a:lnTo>
                    <a:pt x="1196" y="706"/>
                  </a:lnTo>
                  <a:lnTo>
                    <a:pt x="1200" y="706"/>
                  </a:lnTo>
                  <a:lnTo>
                    <a:pt x="1196" y="710"/>
                  </a:lnTo>
                  <a:close/>
                  <a:moveTo>
                    <a:pt x="1200" y="706"/>
                  </a:moveTo>
                  <a:lnTo>
                    <a:pt x="1200" y="710"/>
                  </a:lnTo>
                  <a:lnTo>
                    <a:pt x="1196" y="710"/>
                  </a:lnTo>
                  <a:lnTo>
                    <a:pt x="1200" y="710"/>
                  </a:lnTo>
                  <a:lnTo>
                    <a:pt x="1200" y="706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1212" y="746"/>
                  </a:moveTo>
                  <a:lnTo>
                    <a:pt x="1216" y="746"/>
                  </a:lnTo>
                  <a:lnTo>
                    <a:pt x="1212" y="746"/>
                  </a:lnTo>
                  <a:close/>
                  <a:moveTo>
                    <a:pt x="1256" y="770"/>
                  </a:moveTo>
                  <a:lnTo>
                    <a:pt x="1256" y="774"/>
                  </a:lnTo>
                  <a:lnTo>
                    <a:pt x="1252" y="774"/>
                  </a:lnTo>
                  <a:lnTo>
                    <a:pt x="1252" y="770"/>
                  </a:lnTo>
                  <a:lnTo>
                    <a:pt x="1256" y="770"/>
                  </a:lnTo>
                  <a:close/>
                  <a:moveTo>
                    <a:pt x="159" y="770"/>
                  </a:moveTo>
                  <a:lnTo>
                    <a:pt x="159" y="774"/>
                  </a:lnTo>
                  <a:lnTo>
                    <a:pt x="155" y="774"/>
                  </a:lnTo>
                  <a:lnTo>
                    <a:pt x="159" y="770"/>
                  </a:lnTo>
                  <a:close/>
                  <a:moveTo>
                    <a:pt x="1288" y="802"/>
                  </a:moveTo>
                  <a:lnTo>
                    <a:pt x="1292" y="802"/>
                  </a:lnTo>
                  <a:lnTo>
                    <a:pt x="1288" y="806"/>
                  </a:lnTo>
                  <a:lnTo>
                    <a:pt x="1288" y="802"/>
                  </a:lnTo>
                  <a:close/>
                  <a:moveTo>
                    <a:pt x="187" y="818"/>
                  </a:moveTo>
                  <a:lnTo>
                    <a:pt x="191" y="818"/>
                  </a:lnTo>
                  <a:lnTo>
                    <a:pt x="187" y="822"/>
                  </a:lnTo>
                  <a:lnTo>
                    <a:pt x="187" y="818"/>
                  </a:lnTo>
                  <a:close/>
                  <a:moveTo>
                    <a:pt x="195" y="830"/>
                  </a:moveTo>
                  <a:lnTo>
                    <a:pt x="199" y="830"/>
                  </a:lnTo>
                  <a:lnTo>
                    <a:pt x="195" y="830"/>
                  </a:lnTo>
                  <a:close/>
                  <a:moveTo>
                    <a:pt x="191" y="834"/>
                  </a:moveTo>
                  <a:lnTo>
                    <a:pt x="191" y="830"/>
                  </a:lnTo>
                  <a:lnTo>
                    <a:pt x="191" y="834"/>
                  </a:lnTo>
                  <a:close/>
                  <a:moveTo>
                    <a:pt x="195" y="834"/>
                  </a:moveTo>
                  <a:lnTo>
                    <a:pt x="199" y="834"/>
                  </a:lnTo>
                  <a:lnTo>
                    <a:pt x="195" y="834"/>
                  </a:lnTo>
                  <a:close/>
                  <a:moveTo>
                    <a:pt x="215" y="862"/>
                  </a:moveTo>
                  <a:lnTo>
                    <a:pt x="211" y="862"/>
                  </a:lnTo>
                  <a:lnTo>
                    <a:pt x="215" y="862"/>
                  </a:lnTo>
                  <a:lnTo>
                    <a:pt x="219" y="862"/>
                  </a:lnTo>
                  <a:lnTo>
                    <a:pt x="215" y="862"/>
                  </a:lnTo>
                  <a:close/>
                  <a:moveTo>
                    <a:pt x="1296" y="862"/>
                  </a:moveTo>
                  <a:lnTo>
                    <a:pt x="1292" y="866"/>
                  </a:lnTo>
                  <a:lnTo>
                    <a:pt x="1292" y="862"/>
                  </a:lnTo>
                  <a:lnTo>
                    <a:pt x="1296" y="862"/>
                  </a:lnTo>
                  <a:close/>
                  <a:moveTo>
                    <a:pt x="211" y="866"/>
                  </a:moveTo>
                  <a:lnTo>
                    <a:pt x="215" y="866"/>
                  </a:lnTo>
                  <a:lnTo>
                    <a:pt x="211" y="866"/>
                  </a:lnTo>
                  <a:close/>
                  <a:moveTo>
                    <a:pt x="223" y="866"/>
                  </a:moveTo>
                  <a:lnTo>
                    <a:pt x="223" y="870"/>
                  </a:lnTo>
                  <a:lnTo>
                    <a:pt x="219" y="870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66"/>
                  </a:lnTo>
                  <a:close/>
                  <a:moveTo>
                    <a:pt x="235" y="870"/>
                  </a:moveTo>
                  <a:lnTo>
                    <a:pt x="235" y="874"/>
                  </a:lnTo>
                  <a:lnTo>
                    <a:pt x="235" y="870"/>
                  </a:lnTo>
                  <a:close/>
                  <a:moveTo>
                    <a:pt x="239" y="870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74"/>
                  </a:lnTo>
                  <a:lnTo>
                    <a:pt x="235" y="874"/>
                  </a:lnTo>
                  <a:lnTo>
                    <a:pt x="239" y="870"/>
                  </a:lnTo>
                  <a:close/>
                  <a:moveTo>
                    <a:pt x="247" y="874"/>
                  </a:moveTo>
                  <a:lnTo>
                    <a:pt x="247" y="878"/>
                  </a:lnTo>
                  <a:lnTo>
                    <a:pt x="243" y="874"/>
                  </a:lnTo>
                  <a:lnTo>
                    <a:pt x="247" y="874"/>
                  </a:lnTo>
                  <a:close/>
                  <a:moveTo>
                    <a:pt x="243" y="874"/>
                  </a:moveTo>
                  <a:lnTo>
                    <a:pt x="247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43" y="874"/>
                  </a:moveTo>
                  <a:lnTo>
                    <a:pt x="243" y="878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39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55" y="886"/>
                  </a:moveTo>
                  <a:lnTo>
                    <a:pt x="255" y="890"/>
                  </a:lnTo>
                  <a:lnTo>
                    <a:pt x="255" y="886"/>
                  </a:lnTo>
                  <a:close/>
                  <a:moveTo>
                    <a:pt x="1316" y="886"/>
                  </a:moveTo>
                  <a:lnTo>
                    <a:pt x="1316" y="890"/>
                  </a:lnTo>
                  <a:lnTo>
                    <a:pt x="1312" y="890"/>
                  </a:lnTo>
                  <a:lnTo>
                    <a:pt x="1312" y="886"/>
                  </a:lnTo>
                  <a:lnTo>
                    <a:pt x="1316" y="886"/>
                  </a:lnTo>
                  <a:close/>
                  <a:moveTo>
                    <a:pt x="1308" y="890"/>
                  </a:moveTo>
                  <a:lnTo>
                    <a:pt x="1304" y="894"/>
                  </a:lnTo>
                  <a:lnTo>
                    <a:pt x="1304" y="890"/>
                  </a:lnTo>
                  <a:lnTo>
                    <a:pt x="1308" y="890"/>
                  </a:lnTo>
                  <a:close/>
                  <a:moveTo>
                    <a:pt x="267" y="890"/>
                  </a:moveTo>
                  <a:lnTo>
                    <a:pt x="267" y="894"/>
                  </a:lnTo>
                  <a:lnTo>
                    <a:pt x="263" y="894"/>
                  </a:lnTo>
                  <a:lnTo>
                    <a:pt x="267" y="894"/>
                  </a:lnTo>
                  <a:lnTo>
                    <a:pt x="267" y="890"/>
                  </a:lnTo>
                  <a:close/>
                  <a:moveTo>
                    <a:pt x="227" y="898"/>
                  </a:moveTo>
                  <a:lnTo>
                    <a:pt x="231" y="898"/>
                  </a:lnTo>
                  <a:lnTo>
                    <a:pt x="231" y="902"/>
                  </a:lnTo>
                  <a:lnTo>
                    <a:pt x="227" y="902"/>
                  </a:lnTo>
                  <a:lnTo>
                    <a:pt x="227" y="898"/>
                  </a:lnTo>
                  <a:close/>
                  <a:moveTo>
                    <a:pt x="1324" y="922"/>
                  </a:move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4" y="922"/>
                  </a:lnTo>
                  <a:close/>
                  <a:moveTo>
                    <a:pt x="1288" y="934"/>
                  </a:moveTo>
                  <a:lnTo>
                    <a:pt x="1284" y="934"/>
                  </a:lnTo>
                  <a:lnTo>
                    <a:pt x="1288" y="934"/>
                  </a:lnTo>
                  <a:close/>
                  <a:moveTo>
                    <a:pt x="1316" y="934"/>
                  </a:moveTo>
                  <a:lnTo>
                    <a:pt x="1312" y="934"/>
                  </a:lnTo>
                  <a:lnTo>
                    <a:pt x="1312" y="938"/>
                  </a:lnTo>
                  <a:lnTo>
                    <a:pt x="1312" y="934"/>
                  </a:lnTo>
                  <a:lnTo>
                    <a:pt x="1316" y="934"/>
                  </a:lnTo>
                  <a:close/>
                  <a:moveTo>
                    <a:pt x="790" y="156"/>
                  </a:moveTo>
                  <a:lnTo>
                    <a:pt x="786" y="156"/>
                  </a:lnTo>
                  <a:lnTo>
                    <a:pt x="782" y="156"/>
                  </a:lnTo>
                  <a:lnTo>
                    <a:pt x="782" y="152"/>
                  </a:lnTo>
                  <a:lnTo>
                    <a:pt x="778" y="148"/>
                  </a:lnTo>
                  <a:lnTo>
                    <a:pt x="774" y="148"/>
                  </a:lnTo>
                  <a:lnTo>
                    <a:pt x="774" y="144"/>
                  </a:lnTo>
                  <a:lnTo>
                    <a:pt x="770" y="144"/>
                  </a:lnTo>
                  <a:lnTo>
                    <a:pt x="770" y="148"/>
                  </a:lnTo>
                  <a:lnTo>
                    <a:pt x="774" y="148"/>
                  </a:lnTo>
                  <a:lnTo>
                    <a:pt x="774" y="152"/>
                  </a:lnTo>
                  <a:lnTo>
                    <a:pt x="778" y="152"/>
                  </a:lnTo>
                  <a:lnTo>
                    <a:pt x="782" y="156"/>
                  </a:lnTo>
                  <a:lnTo>
                    <a:pt x="778" y="156"/>
                  </a:lnTo>
                  <a:lnTo>
                    <a:pt x="774" y="156"/>
                  </a:lnTo>
                  <a:lnTo>
                    <a:pt x="774" y="152"/>
                  </a:lnTo>
                  <a:lnTo>
                    <a:pt x="770" y="152"/>
                  </a:lnTo>
                  <a:lnTo>
                    <a:pt x="766" y="152"/>
                  </a:lnTo>
                  <a:lnTo>
                    <a:pt x="762" y="152"/>
                  </a:lnTo>
                  <a:lnTo>
                    <a:pt x="766" y="152"/>
                  </a:lnTo>
                  <a:lnTo>
                    <a:pt x="766" y="156"/>
                  </a:lnTo>
                  <a:lnTo>
                    <a:pt x="762" y="156"/>
                  </a:lnTo>
                  <a:lnTo>
                    <a:pt x="758" y="156"/>
                  </a:lnTo>
                  <a:lnTo>
                    <a:pt x="754" y="156"/>
                  </a:lnTo>
                  <a:lnTo>
                    <a:pt x="750" y="156"/>
                  </a:lnTo>
                  <a:lnTo>
                    <a:pt x="746" y="156"/>
                  </a:lnTo>
                  <a:lnTo>
                    <a:pt x="742" y="156"/>
                  </a:lnTo>
                  <a:lnTo>
                    <a:pt x="738" y="156"/>
                  </a:lnTo>
                  <a:lnTo>
                    <a:pt x="738" y="152"/>
                  </a:lnTo>
                  <a:lnTo>
                    <a:pt x="734" y="152"/>
                  </a:lnTo>
                  <a:lnTo>
                    <a:pt x="726" y="148"/>
                  </a:lnTo>
                  <a:lnTo>
                    <a:pt x="730" y="148"/>
                  </a:lnTo>
                  <a:lnTo>
                    <a:pt x="734" y="148"/>
                  </a:lnTo>
                  <a:lnTo>
                    <a:pt x="734" y="144"/>
                  </a:lnTo>
                  <a:lnTo>
                    <a:pt x="738" y="144"/>
                  </a:lnTo>
                  <a:lnTo>
                    <a:pt x="742" y="144"/>
                  </a:lnTo>
                  <a:lnTo>
                    <a:pt x="746" y="144"/>
                  </a:lnTo>
                  <a:lnTo>
                    <a:pt x="742" y="144"/>
                  </a:lnTo>
                  <a:lnTo>
                    <a:pt x="738" y="144"/>
                  </a:lnTo>
                  <a:lnTo>
                    <a:pt x="734" y="144"/>
                  </a:lnTo>
                  <a:lnTo>
                    <a:pt x="730" y="144"/>
                  </a:lnTo>
                  <a:lnTo>
                    <a:pt x="726" y="144"/>
                  </a:lnTo>
                  <a:lnTo>
                    <a:pt x="722" y="144"/>
                  </a:lnTo>
                  <a:lnTo>
                    <a:pt x="718" y="144"/>
                  </a:lnTo>
                  <a:lnTo>
                    <a:pt x="714" y="140"/>
                  </a:lnTo>
                  <a:lnTo>
                    <a:pt x="714" y="136"/>
                  </a:lnTo>
                  <a:lnTo>
                    <a:pt x="718" y="136"/>
                  </a:lnTo>
                  <a:lnTo>
                    <a:pt x="718" y="140"/>
                  </a:lnTo>
                  <a:lnTo>
                    <a:pt x="722" y="140"/>
                  </a:lnTo>
                  <a:lnTo>
                    <a:pt x="726" y="140"/>
                  </a:lnTo>
                  <a:lnTo>
                    <a:pt x="722" y="136"/>
                  </a:lnTo>
                  <a:lnTo>
                    <a:pt x="718" y="136"/>
                  </a:lnTo>
                  <a:lnTo>
                    <a:pt x="714" y="136"/>
                  </a:lnTo>
                  <a:lnTo>
                    <a:pt x="710" y="136"/>
                  </a:lnTo>
                  <a:lnTo>
                    <a:pt x="710" y="132"/>
                  </a:lnTo>
                  <a:lnTo>
                    <a:pt x="706" y="132"/>
                  </a:lnTo>
                  <a:lnTo>
                    <a:pt x="710" y="132"/>
                  </a:lnTo>
                  <a:lnTo>
                    <a:pt x="714" y="128"/>
                  </a:lnTo>
                  <a:lnTo>
                    <a:pt x="714" y="132"/>
                  </a:lnTo>
                  <a:lnTo>
                    <a:pt x="714" y="128"/>
                  </a:lnTo>
                  <a:lnTo>
                    <a:pt x="718" y="128"/>
                  </a:lnTo>
                  <a:lnTo>
                    <a:pt x="722" y="128"/>
                  </a:lnTo>
                  <a:lnTo>
                    <a:pt x="722" y="124"/>
                  </a:lnTo>
                  <a:lnTo>
                    <a:pt x="722" y="128"/>
                  </a:lnTo>
                  <a:lnTo>
                    <a:pt x="726" y="128"/>
                  </a:lnTo>
                  <a:lnTo>
                    <a:pt x="730" y="128"/>
                  </a:lnTo>
                  <a:lnTo>
                    <a:pt x="734" y="128"/>
                  </a:lnTo>
                  <a:lnTo>
                    <a:pt x="738" y="128"/>
                  </a:lnTo>
                  <a:lnTo>
                    <a:pt x="742" y="128"/>
                  </a:lnTo>
                  <a:lnTo>
                    <a:pt x="746" y="124"/>
                  </a:lnTo>
                  <a:lnTo>
                    <a:pt x="750" y="124"/>
                  </a:lnTo>
                  <a:lnTo>
                    <a:pt x="754" y="124"/>
                  </a:lnTo>
                  <a:lnTo>
                    <a:pt x="758" y="124"/>
                  </a:lnTo>
                  <a:lnTo>
                    <a:pt x="762" y="124"/>
                  </a:lnTo>
                  <a:lnTo>
                    <a:pt x="766" y="124"/>
                  </a:lnTo>
                  <a:lnTo>
                    <a:pt x="762" y="124"/>
                  </a:lnTo>
                  <a:lnTo>
                    <a:pt x="758" y="124"/>
                  </a:lnTo>
                  <a:lnTo>
                    <a:pt x="754" y="124"/>
                  </a:lnTo>
                  <a:lnTo>
                    <a:pt x="750" y="124"/>
                  </a:lnTo>
                  <a:lnTo>
                    <a:pt x="742" y="124"/>
                  </a:lnTo>
                  <a:lnTo>
                    <a:pt x="738" y="124"/>
                  </a:lnTo>
                  <a:lnTo>
                    <a:pt x="734" y="124"/>
                  </a:lnTo>
                  <a:lnTo>
                    <a:pt x="730" y="124"/>
                  </a:lnTo>
                  <a:lnTo>
                    <a:pt x="734" y="124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42" y="124"/>
                  </a:lnTo>
                  <a:lnTo>
                    <a:pt x="742" y="120"/>
                  </a:lnTo>
                  <a:lnTo>
                    <a:pt x="746" y="120"/>
                  </a:lnTo>
                  <a:lnTo>
                    <a:pt x="750" y="120"/>
                  </a:lnTo>
                  <a:lnTo>
                    <a:pt x="754" y="120"/>
                  </a:lnTo>
                  <a:lnTo>
                    <a:pt x="750" y="120"/>
                  </a:lnTo>
                  <a:lnTo>
                    <a:pt x="746" y="120"/>
                  </a:lnTo>
                  <a:lnTo>
                    <a:pt x="742" y="120"/>
                  </a:lnTo>
                  <a:lnTo>
                    <a:pt x="738" y="120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38" y="116"/>
                  </a:lnTo>
                  <a:lnTo>
                    <a:pt x="734" y="116"/>
                  </a:lnTo>
                  <a:lnTo>
                    <a:pt x="730" y="116"/>
                  </a:lnTo>
                  <a:lnTo>
                    <a:pt x="730" y="120"/>
                  </a:lnTo>
                  <a:lnTo>
                    <a:pt x="726" y="120"/>
                  </a:lnTo>
                  <a:lnTo>
                    <a:pt x="726" y="116"/>
                  </a:lnTo>
                  <a:lnTo>
                    <a:pt x="726" y="120"/>
                  </a:lnTo>
                  <a:lnTo>
                    <a:pt x="722" y="120"/>
                  </a:lnTo>
                  <a:lnTo>
                    <a:pt x="722" y="116"/>
                  </a:lnTo>
                  <a:lnTo>
                    <a:pt x="718" y="120"/>
                  </a:lnTo>
                  <a:lnTo>
                    <a:pt x="714" y="124"/>
                  </a:lnTo>
                  <a:lnTo>
                    <a:pt x="710" y="124"/>
                  </a:lnTo>
                  <a:lnTo>
                    <a:pt x="706" y="124"/>
                  </a:lnTo>
                  <a:lnTo>
                    <a:pt x="710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698" y="120"/>
                  </a:lnTo>
                  <a:lnTo>
                    <a:pt x="698" y="124"/>
                  </a:lnTo>
                  <a:lnTo>
                    <a:pt x="694" y="124"/>
                  </a:lnTo>
                  <a:lnTo>
                    <a:pt x="690" y="120"/>
                  </a:lnTo>
                  <a:lnTo>
                    <a:pt x="686" y="120"/>
                  </a:lnTo>
                  <a:lnTo>
                    <a:pt x="686" y="116"/>
                  </a:lnTo>
                  <a:lnTo>
                    <a:pt x="686" y="112"/>
                  </a:lnTo>
                  <a:lnTo>
                    <a:pt x="690" y="112"/>
                  </a:lnTo>
                  <a:lnTo>
                    <a:pt x="694" y="112"/>
                  </a:lnTo>
                  <a:lnTo>
                    <a:pt x="698" y="112"/>
                  </a:lnTo>
                  <a:lnTo>
                    <a:pt x="702" y="112"/>
                  </a:lnTo>
                  <a:lnTo>
                    <a:pt x="706" y="112"/>
                  </a:lnTo>
                  <a:lnTo>
                    <a:pt x="706" y="108"/>
                  </a:lnTo>
                  <a:lnTo>
                    <a:pt x="702" y="108"/>
                  </a:lnTo>
                  <a:lnTo>
                    <a:pt x="698" y="112"/>
                  </a:lnTo>
                  <a:lnTo>
                    <a:pt x="694" y="112"/>
                  </a:lnTo>
                  <a:lnTo>
                    <a:pt x="690" y="112"/>
                  </a:lnTo>
                  <a:lnTo>
                    <a:pt x="686" y="112"/>
                  </a:lnTo>
                  <a:lnTo>
                    <a:pt x="682" y="112"/>
                  </a:lnTo>
                  <a:lnTo>
                    <a:pt x="682" y="108"/>
                  </a:lnTo>
                  <a:lnTo>
                    <a:pt x="678" y="108"/>
                  </a:lnTo>
                  <a:lnTo>
                    <a:pt x="674" y="104"/>
                  </a:lnTo>
                  <a:lnTo>
                    <a:pt x="670" y="104"/>
                  </a:lnTo>
                  <a:lnTo>
                    <a:pt x="674" y="104"/>
                  </a:lnTo>
                  <a:lnTo>
                    <a:pt x="678" y="104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0" y="96"/>
                  </a:lnTo>
                  <a:lnTo>
                    <a:pt x="674" y="96"/>
                  </a:lnTo>
                  <a:lnTo>
                    <a:pt x="678" y="96"/>
                  </a:lnTo>
                  <a:lnTo>
                    <a:pt x="682" y="96"/>
                  </a:lnTo>
                  <a:lnTo>
                    <a:pt x="682" y="100"/>
                  </a:lnTo>
                  <a:lnTo>
                    <a:pt x="686" y="100"/>
                  </a:lnTo>
                  <a:lnTo>
                    <a:pt x="690" y="100"/>
                  </a:lnTo>
                  <a:lnTo>
                    <a:pt x="694" y="100"/>
                  </a:lnTo>
                  <a:lnTo>
                    <a:pt x="698" y="100"/>
                  </a:lnTo>
                  <a:lnTo>
                    <a:pt x="702" y="100"/>
                  </a:lnTo>
                  <a:lnTo>
                    <a:pt x="706" y="100"/>
                  </a:lnTo>
                  <a:lnTo>
                    <a:pt x="702" y="100"/>
                  </a:lnTo>
                  <a:lnTo>
                    <a:pt x="698" y="96"/>
                  </a:lnTo>
                  <a:lnTo>
                    <a:pt x="702" y="96"/>
                  </a:lnTo>
                  <a:lnTo>
                    <a:pt x="706" y="96"/>
                  </a:lnTo>
                  <a:lnTo>
                    <a:pt x="710" y="96"/>
                  </a:lnTo>
                  <a:lnTo>
                    <a:pt x="706" y="96"/>
                  </a:lnTo>
                  <a:lnTo>
                    <a:pt x="702" y="92"/>
                  </a:lnTo>
                  <a:lnTo>
                    <a:pt x="702" y="96"/>
                  </a:lnTo>
                  <a:lnTo>
                    <a:pt x="698" y="96"/>
                  </a:lnTo>
                  <a:lnTo>
                    <a:pt x="694" y="96"/>
                  </a:lnTo>
                  <a:lnTo>
                    <a:pt x="690" y="96"/>
                  </a:lnTo>
                  <a:lnTo>
                    <a:pt x="686" y="96"/>
                  </a:lnTo>
                  <a:lnTo>
                    <a:pt x="686" y="92"/>
                  </a:lnTo>
                  <a:lnTo>
                    <a:pt x="690" y="92"/>
                  </a:lnTo>
                  <a:lnTo>
                    <a:pt x="694" y="92"/>
                  </a:lnTo>
                  <a:lnTo>
                    <a:pt x="690" y="92"/>
                  </a:lnTo>
                  <a:lnTo>
                    <a:pt x="686" y="92"/>
                  </a:lnTo>
                  <a:lnTo>
                    <a:pt x="682" y="92"/>
                  </a:lnTo>
                  <a:lnTo>
                    <a:pt x="682" y="96"/>
                  </a:lnTo>
                  <a:lnTo>
                    <a:pt x="682" y="92"/>
                  </a:lnTo>
                  <a:lnTo>
                    <a:pt x="678" y="92"/>
                  </a:lnTo>
                  <a:lnTo>
                    <a:pt x="674" y="92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8"/>
                  </a:lnTo>
                  <a:lnTo>
                    <a:pt x="682" y="88"/>
                  </a:lnTo>
                  <a:lnTo>
                    <a:pt x="686" y="88"/>
                  </a:lnTo>
                  <a:lnTo>
                    <a:pt x="690" y="88"/>
                  </a:lnTo>
                  <a:lnTo>
                    <a:pt x="686" y="88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80"/>
                  </a:lnTo>
                  <a:lnTo>
                    <a:pt x="698" y="80"/>
                  </a:lnTo>
                  <a:lnTo>
                    <a:pt x="698" y="84"/>
                  </a:lnTo>
                  <a:lnTo>
                    <a:pt x="702" y="84"/>
                  </a:lnTo>
                  <a:lnTo>
                    <a:pt x="706" y="84"/>
                  </a:lnTo>
                  <a:lnTo>
                    <a:pt x="710" y="84"/>
                  </a:lnTo>
                  <a:lnTo>
                    <a:pt x="714" y="84"/>
                  </a:lnTo>
                  <a:lnTo>
                    <a:pt x="710" y="84"/>
                  </a:lnTo>
                  <a:lnTo>
                    <a:pt x="710" y="80"/>
                  </a:lnTo>
                  <a:lnTo>
                    <a:pt x="706" y="80"/>
                  </a:lnTo>
                  <a:lnTo>
                    <a:pt x="702" y="80"/>
                  </a:lnTo>
                  <a:lnTo>
                    <a:pt x="706" y="80"/>
                  </a:lnTo>
                  <a:lnTo>
                    <a:pt x="710" y="80"/>
                  </a:lnTo>
                  <a:lnTo>
                    <a:pt x="710" y="76"/>
                  </a:lnTo>
                  <a:lnTo>
                    <a:pt x="706" y="76"/>
                  </a:lnTo>
                  <a:lnTo>
                    <a:pt x="702" y="76"/>
                  </a:lnTo>
                  <a:lnTo>
                    <a:pt x="698" y="76"/>
                  </a:lnTo>
                  <a:lnTo>
                    <a:pt x="694" y="76"/>
                  </a:lnTo>
                  <a:lnTo>
                    <a:pt x="690" y="76"/>
                  </a:lnTo>
                  <a:lnTo>
                    <a:pt x="686" y="76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4" y="68"/>
                  </a:lnTo>
                  <a:lnTo>
                    <a:pt x="698" y="68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4" y="68"/>
                  </a:lnTo>
                  <a:lnTo>
                    <a:pt x="710" y="68"/>
                  </a:lnTo>
                  <a:lnTo>
                    <a:pt x="706" y="64"/>
                  </a:lnTo>
                  <a:lnTo>
                    <a:pt x="710" y="64"/>
                  </a:lnTo>
                  <a:lnTo>
                    <a:pt x="714" y="64"/>
                  </a:lnTo>
                  <a:lnTo>
                    <a:pt x="718" y="68"/>
                  </a:lnTo>
                  <a:lnTo>
                    <a:pt x="722" y="68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10" y="60"/>
                  </a:lnTo>
                  <a:lnTo>
                    <a:pt x="706" y="60"/>
                  </a:lnTo>
                  <a:lnTo>
                    <a:pt x="706" y="56"/>
                  </a:lnTo>
                  <a:lnTo>
                    <a:pt x="710" y="56"/>
                  </a:lnTo>
                  <a:lnTo>
                    <a:pt x="714" y="56"/>
                  </a:lnTo>
                  <a:lnTo>
                    <a:pt x="718" y="60"/>
                  </a:lnTo>
                  <a:lnTo>
                    <a:pt x="718" y="56"/>
                  </a:lnTo>
                  <a:lnTo>
                    <a:pt x="722" y="56"/>
                  </a:lnTo>
                  <a:lnTo>
                    <a:pt x="726" y="56"/>
                  </a:lnTo>
                  <a:lnTo>
                    <a:pt x="726" y="60"/>
                  </a:lnTo>
                  <a:lnTo>
                    <a:pt x="730" y="60"/>
                  </a:lnTo>
                  <a:lnTo>
                    <a:pt x="734" y="60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42" y="64"/>
                  </a:lnTo>
                  <a:lnTo>
                    <a:pt x="746" y="64"/>
                  </a:lnTo>
                  <a:lnTo>
                    <a:pt x="746" y="68"/>
                  </a:lnTo>
                  <a:lnTo>
                    <a:pt x="742" y="68"/>
                  </a:lnTo>
                  <a:lnTo>
                    <a:pt x="746" y="68"/>
                  </a:lnTo>
                  <a:lnTo>
                    <a:pt x="750" y="68"/>
                  </a:lnTo>
                  <a:lnTo>
                    <a:pt x="750" y="72"/>
                  </a:lnTo>
                  <a:lnTo>
                    <a:pt x="754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62" y="80"/>
                  </a:lnTo>
                  <a:lnTo>
                    <a:pt x="762" y="84"/>
                  </a:lnTo>
                  <a:lnTo>
                    <a:pt x="766" y="84"/>
                  </a:lnTo>
                  <a:lnTo>
                    <a:pt x="770" y="84"/>
                  </a:lnTo>
                  <a:lnTo>
                    <a:pt x="774" y="84"/>
                  </a:lnTo>
                  <a:lnTo>
                    <a:pt x="778" y="84"/>
                  </a:lnTo>
                  <a:lnTo>
                    <a:pt x="782" y="84"/>
                  </a:lnTo>
                  <a:lnTo>
                    <a:pt x="786" y="84"/>
                  </a:lnTo>
                  <a:lnTo>
                    <a:pt x="786" y="88"/>
                  </a:lnTo>
                  <a:lnTo>
                    <a:pt x="782" y="88"/>
                  </a:lnTo>
                  <a:lnTo>
                    <a:pt x="786" y="88"/>
                  </a:lnTo>
                  <a:lnTo>
                    <a:pt x="786" y="92"/>
                  </a:lnTo>
                  <a:lnTo>
                    <a:pt x="782" y="92"/>
                  </a:lnTo>
                  <a:lnTo>
                    <a:pt x="786" y="92"/>
                  </a:lnTo>
                  <a:lnTo>
                    <a:pt x="786" y="96"/>
                  </a:lnTo>
                  <a:lnTo>
                    <a:pt x="790" y="96"/>
                  </a:lnTo>
                  <a:lnTo>
                    <a:pt x="794" y="96"/>
                  </a:lnTo>
                  <a:lnTo>
                    <a:pt x="797" y="96"/>
                  </a:lnTo>
                  <a:lnTo>
                    <a:pt x="797" y="92"/>
                  </a:lnTo>
                  <a:lnTo>
                    <a:pt x="794" y="92"/>
                  </a:lnTo>
                  <a:lnTo>
                    <a:pt x="790" y="88"/>
                  </a:lnTo>
                  <a:lnTo>
                    <a:pt x="794" y="88"/>
                  </a:lnTo>
                  <a:lnTo>
                    <a:pt x="797" y="88"/>
                  </a:lnTo>
                  <a:lnTo>
                    <a:pt x="801" y="88"/>
                  </a:lnTo>
                  <a:lnTo>
                    <a:pt x="805" y="88"/>
                  </a:lnTo>
                  <a:lnTo>
                    <a:pt x="809" y="92"/>
                  </a:lnTo>
                  <a:lnTo>
                    <a:pt x="809" y="96"/>
                  </a:lnTo>
                  <a:lnTo>
                    <a:pt x="805" y="96"/>
                  </a:lnTo>
                  <a:lnTo>
                    <a:pt x="801" y="96"/>
                  </a:lnTo>
                  <a:lnTo>
                    <a:pt x="801" y="100"/>
                  </a:lnTo>
                  <a:lnTo>
                    <a:pt x="805" y="100"/>
                  </a:lnTo>
                  <a:lnTo>
                    <a:pt x="805" y="96"/>
                  </a:lnTo>
                  <a:lnTo>
                    <a:pt x="809" y="96"/>
                  </a:lnTo>
                  <a:lnTo>
                    <a:pt x="813" y="96"/>
                  </a:lnTo>
                  <a:lnTo>
                    <a:pt x="813" y="100"/>
                  </a:lnTo>
                  <a:lnTo>
                    <a:pt x="817" y="100"/>
                  </a:lnTo>
                  <a:lnTo>
                    <a:pt x="813" y="104"/>
                  </a:lnTo>
                  <a:lnTo>
                    <a:pt x="809" y="104"/>
                  </a:lnTo>
                  <a:lnTo>
                    <a:pt x="813" y="104"/>
                  </a:lnTo>
                  <a:lnTo>
                    <a:pt x="817" y="104"/>
                  </a:lnTo>
                  <a:lnTo>
                    <a:pt x="817" y="108"/>
                  </a:lnTo>
                  <a:lnTo>
                    <a:pt x="813" y="112"/>
                  </a:lnTo>
                  <a:lnTo>
                    <a:pt x="809" y="112"/>
                  </a:lnTo>
                  <a:lnTo>
                    <a:pt x="809" y="116"/>
                  </a:lnTo>
                  <a:lnTo>
                    <a:pt x="813" y="116"/>
                  </a:lnTo>
                  <a:lnTo>
                    <a:pt x="813" y="112"/>
                  </a:lnTo>
                  <a:lnTo>
                    <a:pt x="817" y="112"/>
                  </a:lnTo>
                  <a:lnTo>
                    <a:pt x="821" y="112"/>
                  </a:lnTo>
                  <a:lnTo>
                    <a:pt x="817" y="116"/>
                  </a:lnTo>
                  <a:lnTo>
                    <a:pt x="821" y="116"/>
                  </a:lnTo>
                  <a:lnTo>
                    <a:pt x="821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6"/>
                  </a:lnTo>
                  <a:lnTo>
                    <a:pt x="829" y="116"/>
                  </a:lnTo>
                  <a:lnTo>
                    <a:pt x="833" y="116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6"/>
                  </a:lnTo>
                  <a:lnTo>
                    <a:pt x="841" y="120"/>
                  </a:lnTo>
                  <a:lnTo>
                    <a:pt x="845" y="120"/>
                  </a:lnTo>
                  <a:lnTo>
                    <a:pt x="849" y="120"/>
                  </a:lnTo>
                  <a:lnTo>
                    <a:pt x="849" y="124"/>
                  </a:lnTo>
                  <a:lnTo>
                    <a:pt x="845" y="124"/>
                  </a:lnTo>
                  <a:lnTo>
                    <a:pt x="841" y="124"/>
                  </a:lnTo>
                  <a:lnTo>
                    <a:pt x="837" y="128"/>
                  </a:lnTo>
                  <a:lnTo>
                    <a:pt x="833" y="128"/>
                  </a:lnTo>
                  <a:lnTo>
                    <a:pt x="829" y="128"/>
                  </a:lnTo>
                  <a:lnTo>
                    <a:pt x="825" y="128"/>
                  </a:lnTo>
                  <a:lnTo>
                    <a:pt x="821" y="132"/>
                  </a:lnTo>
                  <a:lnTo>
                    <a:pt x="817" y="132"/>
                  </a:lnTo>
                  <a:lnTo>
                    <a:pt x="817" y="128"/>
                  </a:lnTo>
                  <a:lnTo>
                    <a:pt x="817" y="132"/>
                  </a:lnTo>
                  <a:lnTo>
                    <a:pt x="817" y="136"/>
                  </a:lnTo>
                  <a:lnTo>
                    <a:pt x="813" y="136"/>
                  </a:lnTo>
                  <a:lnTo>
                    <a:pt x="809" y="140"/>
                  </a:lnTo>
                  <a:lnTo>
                    <a:pt x="809" y="144"/>
                  </a:lnTo>
                  <a:lnTo>
                    <a:pt x="805" y="144"/>
                  </a:lnTo>
                  <a:lnTo>
                    <a:pt x="805" y="140"/>
                  </a:lnTo>
                  <a:lnTo>
                    <a:pt x="801" y="140"/>
                  </a:lnTo>
                  <a:lnTo>
                    <a:pt x="801" y="136"/>
                  </a:lnTo>
                  <a:lnTo>
                    <a:pt x="801" y="132"/>
                  </a:lnTo>
                  <a:lnTo>
                    <a:pt x="805" y="132"/>
                  </a:lnTo>
                  <a:lnTo>
                    <a:pt x="805" y="128"/>
                  </a:lnTo>
                  <a:lnTo>
                    <a:pt x="801" y="132"/>
                  </a:lnTo>
                  <a:lnTo>
                    <a:pt x="797" y="132"/>
                  </a:lnTo>
                  <a:lnTo>
                    <a:pt x="797" y="136"/>
                  </a:lnTo>
                  <a:lnTo>
                    <a:pt x="797" y="140"/>
                  </a:lnTo>
                  <a:lnTo>
                    <a:pt x="801" y="140"/>
                  </a:lnTo>
                  <a:lnTo>
                    <a:pt x="801" y="144"/>
                  </a:lnTo>
                  <a:lnTo>
                    <a:pt x="801" y="148"/>
                  </a:lnTo>
                  <a:lnTo>
                    <a:pt x="797" y="148"/>
                  </a:lnTo>
                  <a:lnTo>
                    <a:pt x="797" y="144"/>
                  </a:lnTo>
                  <a:lnTo>
                    <a:pt x="794" y="144"/>
                  </a:lnTo>
                  <a:lnTo>
                    <a:pt x="790" y="144"/>
                  </a:lnTo>
                  <a:lnTo>
                    <a:pt x="794" y="148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90" y="156"/>
                  </a:lnTo>
                  <a:close/>
                  <a:moveTo>
                    <a:pt x="638" y="112"/>
                  </a:moveTo>
                  <a:lnTo>
                    <a:pt x="638" y="108"/>
                  </a:lnTo>
                  <a:lnTo>
                    <a:pt x="634" y="108"/>
                  </a:lnTo>
                  <a:lnTo>
                    <a:pt x="630" y="108"/>
                  </a:lnTo>
                  <a:lnTo>
                    <a:pt x="630" y="104"/>
                  </a:lnTo>
                  <a:lnTo>
                    <a:pt x="626" y="104"/>
                  </a:lnTo>
                  <a:lnTo>
                    <a:pt x="622" y="104"/>
                  </a:lnTo>
                  <a:lnTo>
                    <a:pt x="618" y="104"/>
                  </a:lnTo>
                  <a:lnTo>
                    <a:pt x="618" y="100"/>
                  </a:lnTo>
                  <a:lnTo>
                    <a:pt x="618" y="96"/>
                  </a:lnTo>
                  <a:lnTo>
                    <a:pt x="622" y="96"/>
                  </a:lnTo>
                  <a:lnTo>
                    <a:pt x="626" y="96"/>
                  </a:lnTo>
                  <a:lnTo>
                    <a:pt x="630" y="96"/>
                  </a:lnTo>
                  <a:lnTo>
                    <a:pt x="634" y="96"/>
                  </a:lnTo>
                  <a:lnTo>
                    <a:pt x="638" y="96"/>
                  </a:lnTo>
                  <a:lnTo>
                    <a:pt x="638" y="100"/>
                  </a:lnTo>
                  <a:lnTo>
                    <a:pt x="642" y="108"/>
                  </a:lnTo>
                  <a:lnTo>
                    <a:pt x="638" y="108"/>
                  </a:lnTo>
                  <a:lnTo>
                    <a:pt x="638" y="112"/>
                  </a:lnTo>
                  <a:close/>
                  <a:moveTo>
                    <a:pt x="562" y="140"/>
                  </a:moveTo>
                  <a:lnTo>
                    <a:pt x="562" y="136"/>
                  </a:lnTo>
                  <a:lnTo>
                    <a:pt x="562" y="140"/>
                  </a:lnTo>
                  <a:lnTo>
                    <a:pt x="558" y="140"/>
                  </a:lnTo>
                  <a:lnTo>
                    <a:pt x="558" y="136"/>
                  </a:lnTo>
                  <a:lnTo>
                    <a:pt x="562" y="136"/>
                  </a:lnTo>
                  <a:lnTo>
                    <a:pt x="562" y="132"/>
                  </a:lnTo>
                  <a:lnTo>
                    <a:pt x="558" y="132"/>
                  </a:lnTo>
                  <a:lnTo>
                    <a:pt x="554" y="132"/>
                  </a:lnTo>
                  <a:lnTo>
                    <a:pt x="550" y="132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6" y="132"/>
                  </a:lnTo>
                  <a:lnTo>
                    <a:pt x="550" y="132"/>
                  </a:lnTo>
                  <a:lnTo>
                    <a:pt x="546" y="128"/>
                  </a:lnTo>
                  <a:lnTo>
                    <a:pt x="542" y="128"/>
                  </a:lnTo>
                  <a:lnTo>
                    <a:pt x="542" y="132"/>
                  </a:lnTo>
                  <a:lnTo>
                    <a:pt x="538" y="132"/>
                  </a:lnTo>
                  <a:lnTo>
                    <a:pt x="534" y="132"/>
                  </a:lnTo>
                  <a:lnTo>
                    <a:pt x="534" y="128"/>
                  </a:lnTo>
                  <a:lnTo>
                    <a:pt x="538" y="120"/>
                  </a:lnTo>
                  <a:lnTo>
                    <a:pt x="542" y="120"/>
                  </a:lnTo>
                  <a:lnTo>
                    <a:pt x="546" y="120"/>
                  </a:lnTo>
                  <a:lnTo>
                    <a:pt x="550" y="120"/>
                  </a:lnTo>
                  <a:lnTo>
                    <a:pt x="554" y="120"/>
                  </a:lnTo>
                  <a:lnTo>
                    <a:pt x="558" y="120"/>
                  </a:lnTo>
                  <a:lnTo>
                    <a:pt x="562" y="120"/>
                  </a:lnTo>
                  <a:lnTo>
                    <a:pt x="566" y="120"/>
                  </a:lnTo>
                  <a:lnTo>
                    <a:pt x="570" y="120"/>
                  </a:lnTo>
                  <a:lnTo>
                    <a:pt x="574" y="124"/>
                  </a:lnTo>
                  <a:lnTo>
                    <a:pt x="578" y="124"/>
                  </a:lnTo>
                  <a:lnTo>
                    <a:pt x="578" y="128"/>
                  </a:lnTo>
                  <a:lnTo>
                    <a:pt x="582" y="128"/>
                  </a:lnTo>
                  <a:lnTo>
                    <a:pt x="578" y="132"/>
                  </a:lnTo>
                  <a:lnTo>
                    <a:pt x="582" y="136"/>
                  </a:lnTo>
                  <a:lnTo>
                    <a:pt x="582" y="132"/>
                  </a:lnTo>
                  <a:lnTo>
                    <a:pt x="586" y="132"/>
                  </a:lnTo>
                  <a:lnTo>
                    <a:pt x="590" y="128"/>
                  </a:lnTo>
                  <a:lnTo>
                    <a:pt x="594" y="128"/>
                  </a:lnTo>
                  <a:lnTo>
                    <a:pt x="598" y="128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2" y="136"/>
                  </a:lnTo>
                  <a:lnTo>
                    <a:pt x="606" y="136"/>
                  </a:lnTo>
                  <a:lnTo>
                    <a:pt x="610" y="136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18" y="144"/>
                  </a:lnTo>
                  <a:lnTo>
                    <a:pt x="622" y="144"/>
                  </a:lnTo>
                  <a:lnTo>
                    <a:pt x="626" y="144"/>
                  </a:lnTo>
                  <a:lnTo>
                    <a:pt x="626" y="148"/>
                  </a:lnTo>
                  <a:lnTo>
                    <a:pt x="622" y="148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26" y="156"/>
                  </a:lnTo>
                  <a:lnTo>
                    <a:pt x="630" y="156"/>
                  </a:lnTo>
                  <a:lnTo>
                    <a:pt x="634" y="156"/>
                  </a:lnTo>
                  <a:lnTo>
                    <a:pt x="634" y="160"/>
                  </a:lnTo>
                  <a:lnTo>
                    <a:pt x="638" y="160"/>
                  </a:lnTo>
                  <a:lnTo>
                    <a:pt x="634" y="160"/>
                  </a:lnTo>
                  <a:lnTo>
                    <a:pt x="634" y="164"/>
                  </a:lnTo>
                  <a:lnTo>
                    <a:pt x="630" y="168"/>
                  </a:lnTo>
                  <a:lnTo>
                    <a:pt x="626" y="168"/>
                  </a:lnTo>
                  <a:lnTo>
                    <a:pt x="622" y="168"/>
                  </a:lnTo>
                  <a:lnTo>
                    <a:pt x="618" y="168"/>
                  </a:lnTo>
                  <a:lnTo>
                    <a:pt x="614" y="168"/>
                  </a:lnTo>
                  <a:lnTo>
                    <a:pt x="610" y="164"/>
                  </a:lnTo>
                  <a:lnTo>
                    <a:pt x="606" y="160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4" y="152"/>
                  </a:lnTo>
                  <a:lnTo>
                    <a:pt x="586" y="152"/>
                  </a:lnTo>
                  <a:lnTo>
                    <a:pt x="582" y="152"/>
                  </a:lnTo>
                  <a:lnTo>
                    <a:pt x="582" y="156"/>
                  </a:lnTo>
                  <a:lnTo>
                    <a:pt x="578" y="156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56"/>
                  </a:lnTo>
                  <a:lnTo>
                    <a:pt x="558" y="156"/>
                  </a:lnTo>
                  <a:lnTo>
                    <a:pt x="554" y="156"/>
                  </a:lnTo>
                  <a:lnTo>
                    <a:pt x="554" y="152"/>
                  </a:lnTo>
                  <a:lnTo>
                    <a:pt x="550" y="152"/>
                  </a:lnTo>
                  <a:lnTo>
                    <a:pt x="546" y="152"/>
                  </a:lnTo>
                  <a:lnTo>
                    <a:pt x="546" y="148"/>
                  </a:lnTo>
                  <a:lnTo>
                    <a:pt x="542" y="148"/>
                  </a:lnTo>
                  <a:lnTo>
                    <a:pt x="542" y="144"/>
                  </a:lnTo>
                  <a:lnTo>
                    <a:pt x="546" y="144"/>
                  </a:lnTo>
                  <a:lnTo>
                    <a:pt x="550" y="144"/>
                  </a:lnTo>
                  <a:lnTo>
                    <a:pt x="554" y="144"/>
                  </a:lnTo>
                  <a:lnTo>
                    <a:pt x="558" y="144"/>
                  </a:lnTo>
                  <a:lnTo>
                    <a:pt x="562" y="144"/>
                  </a:lnTo>
                  <a:lnTo>
                    <a:pt x="566" y="148"/>
                  </a:lnTo>
                  <a:lnTo>
                    <a:pt x="566" y="144"/>
                  </a:lnTo>
                  <a:lnTo>
                    <a:pt x="570" y="144"/>
                  </a:lnTo>
                  <a:lnTo>
                    <a:pt x="566" y="144"/>
                  </a:lnTo>
                  <a:lnTo>
                    <a:pt x="562" y="144"/>
                  </a:lnTo>
                  <a:lnTo>
                    <a:pt x="558" y="144"/>
                  </a:lnTo>
                  <a:lnTo>
                    <a:pt x="562" y="140"/>
                  </a:lnTo>
                  <a:lnTo>
                    <a:pt x="566" y="140"/>
                  </a:lnTo>
                  <a:lnTo>
                    <a:pt x="570" y="140"/>
                  </a:lnTo>
                  <a:lnTo>
                    <a:pt x="570" y="136"/>
                  </a:lnTo>
                  <a:lnTo>
                    <a:pt x="566" y="136"/>
                  </a:lnTo>
                  <a:lnTo>
                    <a:pt x="566" y="140"/>
                  </a:lnTo>
                  <a:lnTo>
                    <a:pt x="562" y="140"/>
                  </a:lnTo>
                  <a:close/>
                  <a:moveTo>
                    <a:pt x="666" y="168"/>
                  </a:moveTo>
                  <a:lnTo>
                    <a:pt x="662" y="164"/>
                  </a:lnTo>
                  <a:lnTo>
                    <a:pt x="666" y="164"/>
                  </a:lnTo>
                  <a:lnTo>
                    <a:pt x="662" y="164"/>
                  </a:lnTo>
                  <a:lnTo>
                    <a:pt x="658" y="164"/>
                  </a:lnTo>
                  <a:lnTo>
                    <a:pt x="658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6" y="160"/>
                  </a:lnTo>
                  <a:lnTo>
                    <a:pt x="666" y="156"/>
                  </a:lnTo>
                  <a:lnTo>
                    <a:pt x="662" y="156"/>
                  </a:lnTo>
                  <a:lnTo>
                    <a:pt x="658" y="156"/>
                  </a:lnTo>
                  <a:lnTo>
                    <a:pt x="654" y="156"/>
                  </a:lnTo>
                  <a:lnTo>
                    <a:pt x="654" y="152"/>
                  </a:lnTo>
                  <a:lnTo>
                    <a:pt x="650" y="152"/>
                  </a:lnTo>
                  <a:lnTo>
                    <a:pt x="650" y="148"/>
                  </a:lnTo>
                  <a:lnTo>
                    <a:pt x="646" y="148"/>
                  </a:lnTo>
                  <a:lnTo>
                    <a:pt x="646" y="144"/>
                  </a:lnTo>
                  <a:lnTo>
                    <a:pt x="650" y="144"/>
                  </a:lnTo>
                  <a:lnTo>
                    <a:pt x="646" y="144"/>
                  </a:lnTo>
                  <a:lnTo>
                    <a:pt x="646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4" y="136"/>
                  </a:lnTo>
                  <a:lnTo>
                    <a:pt x="658" y="136"/>
                  </a:lnTo>
                  <a:lnTo>
                    <a:pt x="658" y="140"/>
                  </a:lnTo>
                  <a:lnTo>
                    <a:pt x="662" y="140"/>
                  </a:lnTo>
                  <a:lnTo>
                    <a:pt x="666" y="140"/>
                  </a:lnTo>
                  <a:lnTo>
                    <a:pt x="670" y="140"/>
                  </a:lnTo>
                  <a:lnTo>
                    <a:pt x="674" y="140"/>
                  </a:lnTo>
                  <a:lnTo>
                    <a:pt x="674" y="144"/>
                  </a:lnTo>
                  <a:lnTo>
                    <a:pt x="678" y="144"/>
                  </a:lnTo>
                  <a:lnTo>
                    <a:pt x="682" y="148"/>
                  </a:lnTo>
                  <a:lnTo>
                    <a:pt x="686" y="148"/>
                  </a:lnTo>
                  <a:lnTo>
                    <a:pt x="686" y="144"/>
                  </a:lnTo>
                  <a:lnTo>
                    <a:pt x="686" y="148"/>
                  </a:lnTo>
                  <a:lnTo>
                    <a:pt x="690" y="148"/>
                  </a:lnTo>
                  <a:lnTo>
                    <a:pt x="694" y="148"/>
                  </a:lnTo>
                  <a:lnTo>
                    <a:pt x="698" y="148"/>
                  </a:lnTo>
                  <a:lnTo>
                    <a:pt x="698" y="152"/>
                  </a:lnTo>
                  <a:lnTo>
                    <a:pt x="694" y="152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8" y="156"/>
                  </a:lnTo>
                  <a:lnTo>
                    <a:pt x="698" y="160"/>
                  </a:lnTo>
                  <a:lnTo>
                    <a:pt x="694" y="160"/>
                  </a:lnTo>
                  <a:lnTo>
                    <a:pt x="694" y="164"/>
                  </a:lnTo>
                  <a:lnTo>
                    <a:pt x="690" y="164"/>
                  </a:lnTo>
                  <a:lnTo>
                    <a:pt x="686" y="164"/>
                  </a:lnTo>
                  <a:lnTo>
                    <a:pt x="682" y="164"/>
                  </a:lnTo>
                  <a:lnTo>
                    <a:pt x="678" y="164"/>
                  </a:lnTo>
                  <a:lnTo>
                    <a:pt x="674" y="168"/>
                  </a:lnTo>
                  <a:lnTo>
                    <a:pt x="674" y="164"/>
                  </a:lnTo>
                  <a:lnTo>
                    <a:pt x="670" y="164"/>
                  </a:lnTo>
                  <a:lnTo>
                    <a:pt x="670" y="168"/>
                  </a:lnTo>
                  <a:lnTo>
                    <a:pt x="674" y="164"/>
                  </a:lnTo>
                  <a:lnTo>
                    <a:pt x="674" y="168"/>
                  </a:lnTo>
                  <a:lnTo>
                    <a:pt x="670" y="168"/>
                  </a:lnTo>
                  <a:lnTo>
                    <a:pt x="666" y="168"/>
                  </a:lnTo>
                  <a:close/>
                  <a:moveTo>
                    <a:pt x="470" y="152"/>
                  </a:moveTo>
                  <a:lnTo>
                    <a:pt x="466" y="152"/>
                  </a:lnTo>
                  <a:lnTo>
                    <a:pt x="462" y="152"/>
                  </a:lnTo>
                  <a:lnTo>
                    <a:pt x="458" y="152"/>
                  </a:lnTo>
                  <a:lnTo>
                    <a:pt x="454" y="152"/>
                  </a:lnTo>
                  <a:lnTo>
                    <a:pt x="450" y="148"/>
                  </a:lnTo>
                  <a:lnTo>
                    <a:pt x="450" y="152"/>
                  </a:lnTo>
                  <a:lnTo>
                    <a:pt x="446" y="152"/>
                  </a:lnTo>
                  <a:lnTo>
                    <a:pt x="442" y="152"/>
                  </a:lnTo>
                  <a:lnTo>
                    <a:pt x="439" y="152"/>
                  </a:lnTo>
                  <a:lnTo>
                    <a:pt x="435" y="152"/>
                  </a:lnTo>
                  <a:lnTo>
                    <a:pt x="431" y="152"/>
                  </a:lnTo>
                  <a:lnTo>
                    <a:pt x="427" y="152"/>
                  </a:lnTo>
                  <a:lnTo>
                    <a:pt x="423" y="152"/>
                  </a:lnTo>
                  <a:lnTo>
                    <a:pt x="419" y="152"/>
                  </a:lnTo>
                  <a:lnTo>
                    <a:pt x="419" y="148"/>
                  </a:lnTo>
                  <a:lnTo>
                    <a:pt x="423" y="148"/>
                  </a:lnTo>
                  <a:lnTo>
                    <a:pt x="427" y="148"/>
                  </a:lnTo>
                  <a:lnTo>
                    <a:pt x="431" y="148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42" y="144"/>
                  </a:lnTo>
                  <a:lnTo>
                    <a:pt x="446" y="144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0"/>
                  </a:lnTo>
                  <a:lnTo>
                    <a:pt x="462" y="140"/>
                  </a:lnTo>
                  <a:lnTo>
                    <a:pt x="466" y="140"/>
                  </a:lnTo>
                  <a:lnTo>
                    <a:pt x="470" y="140"/>
                  </a:lnTo>
                  <a:lnTo>
                    <a:pt x="474" y="144"/>
                  </a:lnTo>
                  <a:lnTo>
                    <a:pt x="478" y="144"/>
                  </a:lnTo>
                  <a:lnTo>
                    <a:pt x="478" y="148"/>
                  </a:lnTo>
                  <a:lnTo>
                    <a:pt x="478" y="152"/>
                  </a:lnTo>
                  <a:lnTo>
                    <a:pt x="474" y="152"/>
                  </a:lnTo>
                  <a:lnTo>
                    <a:pt x="470" y="152"/>
                  </a:lnTo>
                  <a:close/>
                  <a:moveTo>
                    <a:pt x="702" y="152"/>
                  </a:moveTo>
                  <a:lnTo>
                    <a:pt x="706" y="156"/>
                  </a:lnTo>
                  <a:lnTo>
                    <a:pt x="702" y="156"/>
                  </a:lnTo>
                  <a:lnTo>
                    <a:pt x="702" y="152"/>
                  </a:lnTo>
                  <a:close/>
                  <a:moveTo>
                    <a:pt x="578" y="152"/>
                  </a:moveTo>
                  <a:lnTo>
                    <a:pt x="578" y="156"/>
                  </a:lnTo>
                  <a:lnTo>
                    <a:pt x="574" y="156"/>
                  </a:lnTo>
                  <a:lnTo>
                    <a:pt x="574" y="160"/>
                  </a:lnTo>
                  <a:lnTo>
                    <a:pt x="570" y="160"/>
                  </a:lnTo>
                  <a:lnTo>
                    <a:pt x="570" y="156"/>
                  </a:lnTo>
                  <a:lnTo>
                    <a:pt x="574" y="156"/>
                  </a:lnTo>
                  <a:lnTo>
                    <a:pt x="574" y="152"/>
                  </a:lnTo>
                  <a:lnTo>
                    <a:pt x="578" y="152"/>
                  </a:lnTo>
                  <a:close/>
                  <a:moveTo>
                    <a:pt x="470" y="160"/>
                  </a:moveTo>
                  <a:lnTo>
                    <a:pt x="474" y="160"/>
                  </a:lnTo>
                  <a:lnTo>
                    <a:pt x="474" y="164"/>
                  </a:lnTo>
                  <a:lnTo>
                    <a:pt x="470" y="164"/>
                  </a:lnTo>
                  <a:lnTo>
                    <a:pt x="466" y="164"/>
                  </a:lnTo>
                  <a:lnTo>
                    <a:pt x="462" y="164"/>
                  </a:lnTo>
                  <a:lnTo>
                    <a:pt x="458" y="164"/>
                  </a:lnTo>
                  <a:lnTo>
                    <a:pt x="454" y="164"/>
                  </a:lnTo>
                  <a:lnTo>
                    <a:pt x="454" y="168"/>
                  </a:lnTo>
                  <a:lnTo>
                    <a:pt x="458" y="168"/>
                  </a:lnTo>
                  <a:lnTo>
                    <a:pt x="462" y="168"/>
                  </a:lnTo>
                  <a:lnTo>
                    <a:pt x="466" y="168"/>
                  </a:lnTo>
                  <a:lnTo>
                    <a:pt x="466" y="171"/>
                  </a:lnTo>
                  <a:lnTo>
                    <a:pt x="466" y="175"/>
                  </a:lnTo>
                  <a:lnTo>
                    <a:pt x="462" y="175"/>
                  </a:lnTo>
                  <a:lnTo>
                    <a:pt x="462" y="179"/>
                  </a:lnTo>
                  <a:lnTo>
                    <a:pt x="454" y="179"/>
                  </a:lnTo>
                  <a:lnTo>
                    <a:pt x="450" y="179"/>
                  </a:lnTo>
                  <a:lnTo>
                    <a:pt x="446" y="179"/>
                  </a:lnTo>
                  <a:lnTo>
                    <a:pt x="442" y="179"/>
                  </a:lnTo>
                  <a:lnTo>
                    <a:pt x="439" y="183"/>
                  </a:lnTo>
                  <a:lnTo>
                    <a:pt x="435" y="183"/>
                  </a:lnTo>
                  <a:lnTo>
                    <a:pt x="431" y="179"/>
                  </a:lnTo>
                  <a:lnTo>
                    <a:pt x="427" y="179"/>
                  </a:lnTo>
                  <a:lnTo>
                    <a:pt x="423" y="175"/>
                  </a:lnTo>
                  <a:lnTo>
                    <a:pt x="419" y="175"/>
                  </a:lnTo>
                  <a:lnTo>
                    <a:pt x="423" y="171"/>
                  </a:lnTo>
                  <a:lnTo>
                    <a:pt x="419" y="168"/>
                  </a:lnTo>
                  <a:lnTo>
                    <a:pt x="419" y="164"/>
                  </a:lnTo>
                  <a:lnTo>
                    <a:pt x="423" y="164"/>
                  </a:lnTo>
                  <a:lnTo>
                    <a:pt x="427" y="164"/>
                  </a:lnTo>
                  <a:lnTo>
                    <a:pt x="431" y="164"/>
                  </a:lnTo>
                  <a:lnTo>
                    <a:pt x="431" y="160"/>
                  </a:lnTo>
                  <a:lnTo>
                    <a:pt x="435" y="160"/>
                  </a:lnTo>
                  <a:lnTo>
                    <a:pt x="439" y="160"/>
                  </a:lnTo>
                  <a:lnTo>
                    <a:pt x="442" y="160"/>
                  </a:lnTo>
                  <a:lnTo>
                    <a:pt x="446" y="160"/>
                  </a:lnTo>
                  <a:lnTo>
                    <a:pt x="450" y="160"/>
                  </a:lnTo>
                  <a:lnTo>
                    <a:pt x="454" y="160"/>
                  </a:lnTo>
                  <a:lnTo>
                    <a:pt x="458" y="160"/>
                  </a:lnTo>
                  <a:lnTo>
                    <a:pt x="462" y="160"/>
                  </a:lnTo>
                  <a:lnTo>
                    <a:pt x="466" y="160"/>
                  </a:lnTo>
                  <a:lnTo>
                    <a:pt x="470" y="160"/>
                  </a:lnTo>
                  <a:close/>
                  <a:moveTo>
                    <a:pt x="407" y="171"/>
                  </a:moveTo>
                  <a:lnTo>
                    <a:pt x="403" y="171"/>
                  </a:lnTo>
                  <a:lnTo>
                    <a:pt x="403" y="168"/>
                  </a:lnTo>
                  <a:lnTo>
                    <a:pt x="399" y="168"/>
                  </a:lnTo>
                  <a:lnTo>
                    <a:pt x="395" y="168"/>
                  </a:lnTo>
                  <a:lnTo>
                    <a:pt x="391" y="164"/>
                  </a:lnTo>
                  <a:lnTo>
                    <a:pt x="395" y="164"/>
                  </a:lnTo>
                  <a:lnTo>
                    <a:pt x="399" y="160"/>
                  </a:lnTo>
                  <a:lnTo>
                    <a:pt x="403" y="160"/>
                  </a:lnTo>
                  <a:lnTo>
                    <a:pt x="407" y="164"/>
                  </a:lnTo>
                  <a:lnTo>
                    <a:pt x="411" y="164"/>
                  </a:lnTo>
                  <a:lnTo>
                    <a:pt x="415" y="164"/>
                  </a:lnTo>
                  <a:lnTo>
                    <a:pt x="415" y="168"/>
                  </a:lnTo>
                  <a:lnTo>
                    <a:pt x="411" y="168"/>
                  </a:lnTo>
                  <a:lnTo>
                    <a:pt x="411" y="171"/>
                  </a:lnTo>
                  <a:lnTo>
                    <a:pt x="407" y="171"/>
                  </a:lnTo>
                  <a:close/>
                  <a:moveTo>
                    <a:pt x="594" y="164"/>
                  </a:moveTo>
                  <a:lnTo>
                    <a:pt x="598" y="164"/>
                  </a:lnTo>
                  <a:lnTo>
                    <a:pt x="598" y="168"/>
                  </a:lnTo>
                  <a:lnTo>
                    <a:pt x="602" y="168"/>
                  </a:lnTo>
                  <a:lnTo>
                    <a:pt x="606" y="168"/>
                  </a:lnTo>
                  <a:lnTo>
                    <a:pt x="606" y="171"/>
                  </a:lnTo>
                  <a:lnTo>
                    <a:pt x="602" y="171"/>
                  </a:lnTo>
                  <a:lnTo>
                    <a:pt x="598" y="171"/>
                  </a:lnTo>
                  <a:lnTo>
                    <a:pt x="594" y="171"/>
                  </a:lnTo>
                  <a:lnTo>
                    <a:pt x="590" y="171"/>
                  </a:lnTo>
                  <a:lnTo>
                    <a:pt x="586" y="171"/>
                  </a:lnTo>
                  <a:lnTo>
                    <a:pt x="582" y="168"/>
                  </a:lnTo>
                  <a:lnTo>
                    <a:pt x="582" y="164"/>
                  </a:lnTo>
                  <a:lnTo>
                    <a:pt x="586" y="164"/>
                  </a:lnTo>
                  <a:lnTo>
                    <a:pt x="590" y="164"/>
                  </a:lnTo>
                  <a:lnTo>
                    <a:pt x="594" y="164"/>
                  </a:lnTo>
                  <a:close/>
                  <a:moveTo>
                    <a:pt x="722" y="171"/>
                  </a:moveTo>
                  <a:lnTo>
                    <a:pt x="726" y="171"/>
                  </a:lnTo>
                  <a:lnTo>
                    <a:pt x="722" y="171"/>
                  </a:lnTo>
                  <a:lnTo>
                    <a:pt x="718" y="175"/>
                  </a:lnTo>
                  <a:lnTo>
                    <a:pt x="718" y="179"/>
                  </a:lnTo>
                  <a:lnTo>
                    <a:pt x="714" y="179"/>
                  </a:lnTo>
                  <a:lnTo>
                    <a:pt x="706" y="179"/>
                  </a:lnTo>
                  <a:lnTo>
                    <a:pt x="706" y="175"/>
                  </a:lnTo>
                  <a:lnTo>
                    <a:pt x="698" y="175"/>
                  </a:lnTo>
                  <a:lnTo>
                    <a:pt x="694" y="175"/>
                  </a:lnTo>
                  <a:lnTo>
                    <a:pt x="694" y="179"/>
                  </a:lnTo>
                  <a:lnTo>
                    <a:pt x="690" y="175"/>
                  </a:lnTo>
                  <a:lnTo>
                    <a:pt x="686" y="175"/>
                  </a:lnTo>
                  <a:lnTo>
                    <a:pt x="682" y="175"/>
                  </a:lnTo>
                  <a:lnTo>
                    <a:pt x="678" y="175"/>
                  </a:lnTo>
                  <a:lnTo>
                    <a:pt x="674" y="171"/>
                  </a:lnTo>
                  <a:lnTo>
                    <a:pt x="678" y="171"/>
                  </a:lnTo>
                  <a:lnTo>
                    <a:pt x="678" y="168"/>
                  </a:lnTo>
                  <a:lnTo>
                    <a:pt x="682" y="168"/>
                  </a:lnTo>
                  <a:lnTo>
                    <a:pt x="686" y="168"/>
                  </a:lnTo>
                  <a:lnTo>
                    <a:pt x="690" y="168"/>
                  </a:lnTo>
                  <a:lnTo>
                    <a:pt x="694" y="168"/>
                  </a:lnTo>
                  <a:lnTo>
                    <a:pt x="698" y="168"/>
                  </a:lnTo>
                  <a:lnTo>
                    <a:pt x="702" y="168"/>
                  </a:lnTo>
                  <a:lnTo>
                    <a:pt x="706" y="168"/>
                  </a:lnTo>
                  <a:lnTo>
                    <a:pt x="710" y="168"/>
                  </a:lnTo>
                  <a:lnTo>
                    <a:pt x="714" y="168"/>
                  </a:lnTo>
                  <a:lnTo>
                    <a:pt x="718" y="168"/>
                  </a:lnTo>
                  <a:lnTo>
                    <a:pt x="722" y="168"/>
                  </a:lnTo>
                  <a:lnTo>
                    <a:pt x="722" y="171"/>
                  </a:lnTo>
                  <a:close/>
                  <a:moveTo>
                    <a:pt x="534" y="168"/>
                  </a:moveTo>
                  <a:lnTo>
                    <a:pt x="538" y="171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46" y="179"/>
                  </a:lnTo>
                  <a:lnTo>
                    <a:pt x="542" y="179"/>
                  </a:lnTo>
                  <a:lnTo>
                    <a:pt x="546" y="179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4" y="187"/>
                  </a:lnTo>
                  <a:lnTo>
                    <a:pt x="550" y="187"/>
                  </a:lnTo>
                  <a:lnTo>
                    <a:pt x="546" y="187"/>
                  </a:lnTo>
                  <a:lnTo>
                    <a:pt x="542" y="187"/>
                  </a:lnTo>
                  <a:lnTo>
                    <a:pt x="538" y="183"/>
                  </a:lnTo>
                  <a:lnTo>
                    <a:pt x="534" y="183"/>
                  </a:lnTo>
                  <a:lnTo>
                    <a:pt x="534" y="179"/>
                  </a:lnTo>
                  <a:lnTo>
                    <a:pt x="534" y="175"/>
                  </a:lnTo>
                  <a:lnTo>
                    <a:pt x="530" y="171"/>
                  </a:lnTo>
                  <a:lnTo>
                    <a:pt x="526" y="171"/>
                  </a:lnTo>
                  <a:lnTo>
                    <a:pt x="526" y="168"/>
                  </a:lnTo>
                  <a:lnTo>
                    <a:pt x="530" y="168"/>
                  </a:lnTo>
                  <a:lnTo>
                    <a:pt x="534" y="168"/>
                  </a:lnTo>
                  <a:close/>
                  <a:moveTo>
                    <a:pt x="766" y="183"/>
                  </a:moveTo>
                  <a:lnTo>
                    <a:pt x="762" y="183"/>
                  </a:lnTo>
                  <a:lnTo>
                    <a:pt x="758" y="183"/>
                  </a:lnTo>
                  <a:lnTo>
                    <a:pt x="754" y="179"/>
                  </a:lnTo>
                  <a:lnTo>
                    <a:pt x="754" y="175"/>
                  </a:lnTo>
                  <a:lnTo>
                    <a:pt x="754" y="171"/>
                  </a:lnTo>
                  <a:lnTo>
                    <a:pt x="758" y="171"/>
                  </a:lnTo>
                  <a:lnTo>
                    <a:pt x="762" y="171"/>
                  </a:lnTo>
                  <a:lnTo>
                    <a:pt x="766" y="171"/>
                  </a:lnTo>
                  <a:lnTo>
                    <a:pt x="770" y="171"/>
                  </a:lnTo>
                  <a:lnTo>
                    <a:pt x="770" y="175"/>
                  </a:lnTo>
                  <a:lnTo>
                    <a:pt x="774" y="175"/>
                  </a:lnTo>
                  <a:lnTo>
                    <a:pt x="778" y="179"/>
                  </a:lnTo>
                  <a:lnTo>
                    <a:pt x="778" y="183"/>
                  </a:lnTo>
                  <a:lnTo>
                    <a:pt x="774" y="183"/>
                  </a:lnTo>
                  <a:lnTo>
                    <a:pt x="770" y="183"/>
                  </a:lnTo>
                  <a:lnTo>
                    <a:pt x="766" y="183"/>
                  </a:lnTo>
                  <a:close/>
                  <a:moveTo>
                    <a:pt x="315" y="227"/>
                  </a:moveTo>
                  <a:lnTo>
                    <a:pt x="315" y="223"/>
                  </a:lnTo>
                  <a:lnTo>
                    <a:pt x="315" y="227"/>
                  </a:lnTo>
                  <a:lnTo>
                    <a:pt x="311" y="227"/>
                  </a:lnTo>
                  <a:lnTo>
                    <a:pt x="311" y="223"/>
                  </a:lnTo>
                  <a:lnTo>
                    <a:pt x="311" y="219"/>
                  </a:lnTo>
                  <a:lnTo>
                    <a:pt x="307" y="219"/>
                  </a:lnTo>
                  <a:lnTo>
                    <a:pt x="307" y="223"/>
                  </a:lnTo>
                  <a:lnTo>
                    <a:pt x="307" y="219"/>
                  </a:lnTo>
                  <a:lnTo>
                    <a:pt x="307" y="215"/>
                  </a:lnTo>
                  <a:lnTo>
                    <a:pt x="303" y="215"/>
                  </a:lnTo>
                  <a:lnTo>
                    <a:pt x="303" y="219"/>
                  </a:lnTo>
                  <a:lnTo>
                    <a:pt x="303" y="223"/>
                  </a:lnTo>
                  <a:lnTo>
                    <a:pt x="303" y="219"/>
                  </a:lnTo>
                  <a:lnTo>
                    <a:pt x="299" y="219"/>
                  </a:lnTo>
                  <a:lnTo>
                    <a:pt x="299" y="223"/>
                  </a:lnTo>
                  <a:lnTo>
                    <a:pt x="295" y="223"/>
                  </a:lnTo>
                  <a:lnTo>
                    <a:pt x="295" y="219"/>
                  </a:lnTo>
                  <a:lnTo>
                    <a:pt x="291" y="219"/>
                  </a:lnTo>
                  <a:lnTo>
                    <a:pt x="283" y="219"/>
                  </a:ln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lnTo>
                    <a:pt x="279" y="219"/>
                  </a:lnTo>
                  <a:lnTo>
                    <a:pt x="279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9" y="215"/>
                  </a:lnTo>
                  <a:lnTo>
                    <a:pt x="275" y="215"/>
                  </a:lnTo>
                  <a:lnTo>
                    <a:pt x="275" y="219"/>
                  </a:lnTo>
                  <a:lnTo>
                    <a:pt x="271" y="219"/>
                  </a:lnTo>
                  <a:lnTo>
                    <a:pt x="271" y="215"/>
                  </a:lnTo>
                  <a:lnTo>
                    <a:pt x="275" y="215"/>
                  </a:lnTo>
                  <a:lnTo>
                    <a:pt x="279" y="211"/>
                  </a:lnTo>
                  <a:lnTo>
                    <a:pt x="283" y="207"/>
                  </a:lnTo>
                  <a:lnTo>
                    <a:pt x="287" y="207"/>
                  </a:lnTo>
                  <a:lnTo>
                    <a:pt x="291" y="207"/>
                  </a:lnTo>
                  <a:lnTo>
                    <a:pt x="295" y="207"/>
                  </a:lnTo>
                  <a:lnTo>
                    <a:pt x="299" y="203"/>
                  </a:lnTo>
                  <a:lnTo>
                    <a:pt x="299" y="199"/>
                  </a:lnTo>
                  <a:lnTo>
                    <a:pt x="303" y="199"/>
                  </a:lnTo>
                  <a:lnTo>
                    <a:pt x="307" y="199"/>
                  </a:lnTo>
                  <a:lnTo>
                    <a:pt x="311" y="195"/>
                  </a:lnTo>
                  <a:lnTo>
                    <a:pt x="315" y="191"/>
                  </a:lnTo>
                  <a:lnTo>
                    <a:pt x="319" y="191"/>
                  </a:lnTo>
                  <a:lnTo>
                    <a:pt x="319" y="187"/>
                  </a:lnTo>
                  <a:lnTo>
                    <a:pt x="323" y="187"/>
                  </a:lnTo>
                  <a:lnTo>
                    <a:pt x="327" y="187"/>
                  </a:lnTo>
                  <a:lnTo>
                    <a:pt x="327" y="183"/>
                  </a:lnTo>
                  <a:lnTo>
                    <a:pt x="331" y="183"/>
                  </a:lnTo>
                  <a:lnTo>
                    <a:pt x="335" y="183"/>
                  </a:lnTo>
                  <a:lnTo>
                    <a:pt x="335" y="179"/>
                  </a:lnTo>
                  <a:lnTo>
                    <a:pt x="339" y="179"/>
                  </a:lnTo>
                  <a:lnTo>
                    <a:pt x="343" y="179"/>
                  </a:lnTo>
                  <a:lnTo>
                    <a:pt x="347" y="179"/>
                  </a:lnTo>
                  <a:lnTo>
                    <a:pt x="351" y="179"/>
                  </a:lnTo>
                  <a:lnTo>
                    <a:pt x="355" y="183"/>
                  </a:lnTo>
                  <a:lnTo>
                    <a:pt x="359" y="183"/>
                  </a:lnTo>
                  <a:lnTo>
                    <a:pt x="363" y="183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9"/>
                  </a:lnTo>
                  <a:lnTo>
                    <a:pt x="363" y="183"/>
                  </a:lnTo>
                  <a:lnTo>
                    <a:pt x="367" y="183"/>
                  </a:lnTo>
                  <a:lnTo>
                    <a:pt x="367" y="179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75" y="175"/>
                  </a:lnTo>
                  <a:lnTo>
                    <a:pt x="379" y="179"/>
                  </a:lnTo>
                  <a:lnTo>
                    <a:pt x="387" y="179"/>
                  </a:lnTo>
                  <a:lnTo>
                    <a:pt x="387" y="183"/>
                  </a:lnTo>
                  <a:lnTo>
                    <a:pt x="383" y="183"/>
                  </a:lnTo>
                  <a:lnTo>
                    <a:pt x="379" y="183"/>
                  </a:lnTo>
                  <a:lnTo>
                    <a:pt x="375" y="187"/>
                  </a:lnTo>
                  <a:lnTo>
                    <a:pt x="375" y="191"/>
                  </a:lnTo>
                  <a:lnTo>
                    <a:pt x="379" y="191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79" y="195"/>
                  </a:lnTo>
                  <a:lnTo>
                    <a:pt x="375" y="195"/>
                  </a:lnTo>
                  <a:lnTo>
                    <a:pt x="375" y="191"/>
                  </a:lnTo>
                  <a:lnTo>
                    <a:pt x="371" y="191"/>
                  </a:lnTo>
                  <a:lnTo>
                    <a:pt x="371" y="195"/>
                  </a:lnTo>
                  <a:lnTo>
                    <a:pt x="375" y="195"/>
                  </a:lnTo>
                  <a:lnTo>
                    <a:pt x="379" y="195"/>
                  </a:lnTo>
                  <a:lnTo>
                    <a:pt x="379" y="199"/>
                  </a:lnTo>
                  <a:lnTo>
                    <a:pt x="379" y="203"/>
                  </a:lnTo>
                  <a:lnTo>
                    <a:pt x="375" y="203"/>
                  </a:lnTo>
                  <a:lnTo>
                    <a:pt x="371" y="203"/>
                  </a:lnTo>
                  <a:lnTo>
                    <a:pt x="367" y="203"/>
                  </a:lnTo>
                  <a:lnTo>
                    <a:pt x="363" y="203"/>
                  </a:lnTo>
                  <a:lnTo>
                    <a:pt x="363" y="207"/>
                  </a:lnTo>
                  <a:lnTo>
                    <a:pt x="363" y="211"/>
                  </a:lnTo>
                  <a:lnTo>
                    <a:pt x="359" y="211"/>
                  </a:lnTo>
                  <a:lnTo>
                    <a:pt x="355" y="211"/>
                  </a:lnTo>
                  <a:lnTo>
                    <a:pt x="351" y="211"/>
                  </a:lnTo>
                  <a:lnTo>
                    <a:pt x="347" y="207"/>
                  </a:lnTo>
                  <a:lnTo>
                    <a:pt x="347" y="203"/>
                  </a:lnTo>
                  <a:lnTo>
                    <a:pt x="347" y="199"/>
                  </a:lnTo>
                  <a:lnTo>
                    <a:pt x="351" y="199"/>
                  </a:lnTo>
                  <a:lnTo>
                    <a:pt x="351" y="195"/>
                  </a:lnTo>
                  <a:lnTo>
                    <a:pt x="347" y="199"/>
                  </a:lnTo>
                  <a:lnTo>
                    <a:pt x="343" y="199"/>
                  </a:lnTo>
                  <a:lnTo>
                    <a:pt x="339" y="199"/>
                  </a:lnTo>
                  <a:lnTo>
                    <a:pt x="343" y="199"/>
                  </a:lnTo>
                  <a:lnTo>
                    <a:pt x="343" y="203"/>
                  </a:lnTo>
                  <a:lnTo>
                    <a:pt x="339" y="207"/>
                  </a:lnTo>
                  <a:lnTo>
                    <a:pt x="335" y="203"/>
                  </a:lnTo>
                  <a:lnTo>
                    <a:pt x="335" y="207"/>
                  </a:lnTo>
                  <a:lnTo>
                    <a:pt x="339" y="207"/>
                  </a:lnTo>
                  <a:lnTo>
                    <a:pt x="339" y="211"/>
                  </a:lnTo>
                  <a:lnTo>
                    <a:pt x="335" y="211"/>
                  </a:lnTo>
                  <a:lnTo>
                    <a:pt x="335" y="215"/>
                  </a:lnTo>
                  <a:lnTo>
                    <a:pt x="331" y="219"/>
                  </a:lnTo>
                  <a:lnTo>
                    <a:pt x="327" y="219"/>
                  </a:lnTo>
                  <a:lnTo>
                    <a:pt x="327" y="215"/>
                  </a:lnTo>
                  <a:lnTo>
                    <a:pt x="323" y="211"/>
                  </a:lnTo>
                  <a:lnTo>
                    <a:pt x="323" y="215"/>
                  </a:lnTo>
                  <a:lnTo>
                    <a:pt x="323" y="219"/>
                  </a:lnTo>
                  <a:lnTo>
                    <a:pt x="319" y="219"/>
                  </a:lnTo>
                  <a:lnTo>
                    <a:pt x="323" y="219"/>
                  </a:lnTo>
                  <a:lnTo>
                    <a:pt x="327" y="219"/>
                  </a:lnTo>
                  <a:lnTo>
                    <a:pt x="327" y="223"/>
                  </a:lnTo>
                  <a:lnTo>
                    <a:pt x="323" y="223"/>
                  </a:lnTo>
                  <a:lnTo>
                    <a:pt x="323" y="219"/>
                  </a:lnTo>
                  <a:lnTo>
                    <a:pt x="323" y="223"/>
                  </a:lnTo>
                  <a:lnTo>
                    <a:pt x="319" y="223"/>
                  </a:lnTo>
                  <a:lnTo>
                    <a:pt x="319" y="227"/>
                  </a:lnTo>
                  <a:lnTo>
                    <a:pt x="315" y="227"/>
                  </a:lnTo>
                  <a:close/>
                  <a:moveTo>
                    <a:pt x="754" y="183"/>
                  </a:moveTo>
                  <a:lnTo>
                    <a:pt x="758" y="183"/>
                  </a:lnTo>
                  <a:lnTo>
                    <a:pt x="762" y="183"/>
                  </a:lnTo>
                  <a:lnTo>
                    <a:pt x="762" y="187"/>
                  </a:lnTo>
                  <a:lnTo>
                    <a:pt x="758" y="187"/>
                  </a:lnTo>
                  <a:lnTo>
                    <a:pt x="754" y="187"/>
                  </a:lnTo>
                  <a:lnTo>
                    <a:pt x="754" y="183"/>
                  </a:lnTo>
                  <a:close/>
                  <a:moveTo>
                    <a:pt x="690" y="183"/>
                  </a:moveTo>
                  <a:lnTo>
                    <a:pt x="694" y="183"/>
                  </a:lnTo>
                  <a:lnTo>
                    <a:pt x="694" y="187"/>
                  </a:lnTo>
                  <a:lnTo>
                    <a:pt x="690" y="187"/>
                  </a:lnTo>
                  <a:lnTo>
                    <a:pt x="686" y="183"/>
                  </a:lnTo>
                  <a:lnTo>
                    <a:pt x="690" y="183"/>
                  </a:lnTo>
                  <a:close/>
                  <a:moveTo>
                    <a:pt x="558" y="187"/>
                  </a:moveTo>
                  <a:lnTo>
                    <a:pt x="554" y="187"/>
                  </a:lnTo>
                  <a:lnTo>
                    <a:pt x="558" y="187"/>
                  </a:lnTo>
                  <a:close/>
                  <a:moveTo>
                    <a:pt x="411" y="187"/>
                  </a:moveTo>
                  <a:lnTo>
                    <a:pt x="415" y="187"/>
                  </a:lnTo>
                  <a:lnTo>
                    <a:pt x="411" y="187"/>
                  </a:lnTo>
                  <a:close/>
                  <a:moveTo>
                    <a:pt x="917" y="251"/>
                  </a:moveTo>
                  <a:lnTo>
                    <a:pt x="921" y="251"/>
                  </a:lnTo>
                  <a:lnTo>
                    <a:pt x="917" y="251"/>
                  </a:lnTo>
                  <a:lnTo>
                    <a:pt x="921" y="251"/>
                  </a:lnTo>
                  <a:lnTo>
                    <a:pt x="925" y="251"/>
                  </a:lnTo>
                  <a:lnTo>
                    <a:pt x="929" y="251"/>
                  </a:lnTo>
                  <a:lnTo>
                    <a:pt x="933" y="251"/>
                  </a:lnTo>
                  <a:lnTo>
                    <a:pt x="933" y="255"/>
                  </a:lnTo>
                  <a:lnTo>
                    <a:pt x="929" y="255"/>
                  </a:lnTo>
                  <a:lnTo>
                    <a:pt x="925" y="255"/>
                  </a:lnTo>
                  <a:lnTo>
                    <a:pt x="921" y="255"/>
                  </a:lnTo>
                  <a:lnTo>
                    <a:pt x="917" y="255"/>
                  </a:lnTo>
                  <a:lnTo>
                    <a:pt x="917" y="251"/>
                  </a:lnTo>
                  <a:lnTo>
                    <a:pt x="917" y="255"/>
                  </a:lnTo>
                  <a:lnTo>
                    <a:pt x="921" y="255"/>
                  </a:lnTo>
                  <a:lnTo>
                    <a:pt x="921" y="259"/>
                  </a:lnTo>
                  <a:lnTo>
                    <a:pt x="921" y="263"/>
                  </a:lnTo>
                  <a:lnTo>
                    <a:pt x="917" y="263"/>
                  </a:lnTo>
                  <a:lnTo>
                    <a:pt x="913" y="263"/>
                  </a:lnTo>
                  <a:lnTo>
                    <a:pt x="909" y="263"/>
                  </a:lnTo>
                  <a:lnTo>
                    <a:pt x="905" y="263"/>
                  </a:lnTo>
                  <a:lnTo>
                    <a:pt x="901" y="263"/>
                  </a:lnTo>
                  <a:lnTo>
                    <a:pt x="897" y="263"/>
                  </a:lnTo>
                  <a:lnTo>
                    <a:pt x="897" y="267"/>
                  </a:lnTo>
                  <a:lnTo>
                    <a:pt x="893" y="267"/>
                  </a:lnTo>
                  <a:lnTo>
                    <a:pt x="889" y="263"/>
                  </a:lnTo>
                  <a:lnTo>
                    <a:pt x="885" y="263"/>
                  </a:lnTo>
                  <a:lnTo>
                    <a:pt x="881" y="263"/>
                  </a:lnTo>
                  <a:lnTo>
                    <a:pt x="877" y="263"/>
                  </a:lnTo>
                  <a:lnTo>
                    <a:pt x="877" y="259"/>
                  </a:lnTo>
                  <a:lnTo>
                    <a:pt x="877" y="255"/>
                  </a:lnTo>
                  <a:lnTo>
                    <a:pt x="873" y="255"/>
                  </a:lnTo>
                  <a:lnTo>
                    <a:pt x="869" y="251"/>
                  </a:lnTo>
                  <a:lnTo>
                    <a:pt x="869" y="255"/>
                  </a:lnTo>
                  <a:lnTo>
                    <a:pt x="873" y="255"/>
                  </a:lnTo>
                  <a:lnTo>
                    <a:pt x="873" y="259"/>
                  </a:lnTo>
                  <a:lnTo>
                    <a:pt x="869" y="263"/>
                  </a:lnTo>
                  <a:lnTo>
                    <a:pt x="865" y="263"/>
                  </a:lnTo>
                  <a:lnTo>
                    <a:pt x="861" y="263"/>
                  </a:lnTo>
                  <a:lnTo>
                    <a:pt x="857" y="263"/>
                  </a:lnTo>
                  <a:lnTo>
                    <a:pt x="853" y="263"/>
                  </a:lnTo>
                  <a:lnTo>
                    <a:pt x="849" y="263"/>
                  </a:lnTo>
                  <a:lnTo>
                    <a:pt x="845" y="263"/>
                  </a:lnTo>
                  <a:lnTo>
                    <a:pt x="849" y="259"/>
                  </a:lnTo>
                  <a:lnTo>
                    <a:pt x="845" y="259"/>
                  </a:lnTo>
                  <a:lnTo>
                    <a:pt x="845" y="263"/>
                  </a:lnTo>
                  <a:lnTo>
                    <a:pt x="841" y="263"/>
                  </a:lnTo>
                  <a:lnTo>
                    <a:pt x="841" y="259"/>
                  </a:lnTo>
                  <a:lnTo>
                    <a:pt x="837" y="259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37" y="263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21" y="259"/>
                  </a:lnTo>
                  <a:lnTo>
                    <a:pt x="821" y="263"/>
                  </a:lnTo>
                  <a:lnTo>
                    <a:pt x="821" y="267"/>
                  </a:lnTo>
                  <a:lnTo>
                    <a:pt x="817" y="267"/>
                  </a:lnTo>
                  <a:lnTo>
                    <a:pt x="813" y="267"/>
                  </a:lnTo>
                  <a:lnTo>
                    <a:pt x="813" y="263"/>
                  </a:lnTo>
                  <a:lnTo>
                    <a:pt x="809" y="267"/>
                  </a:lnTo>
                  <a:lnTo>
                    <a:pt x="805" y="267"/>
                  </a:lnTo>
                  <a:lnTo>
                    <a:pt x="805" y="263"/>
                  </a:lnTo>
                  <a:lnTo>
                    <a:pt x="805" y="267"/>
                  </a:lnTo>
                  <a:lnTo>
                    <a:pt x="801" y="267"/>
                  </a:lnTo>
                  <a:lnTo>
                    <a:pt x="797" y="263"/>
                  </a:lnTo>
                  <a:lnTo>
                    <a:pt x="794" y="263"/>
                  </a:lnTo>
                  <a:lnTo>
                    <a:pt x="797" y="259"/>
                  </a:lnTo>
                  <a:lnTo>
                    <a:pt x="797" y="255"/>
                  </a:lnTo>
                  <a:lnTo>
                    <a:pt x="794" y="255"/>
                  </a:lnTo>
                  <a:lnTo>
                    <a:pt x="794" y="251"/>
                  </a:lnTo>
                  <a:lnTo>
                    <a:pt x="794" y="255"/>
                  </a:lnTo>
                  <a:lnTo>
                    <a:pt x="790" y="255"/>
                  </a:lnTo>
                  <a:lnTo>
                    <a:pt x="790" y="259"/>
                  </a:lnTo>
                  <a:lnTo>
                    <a:pt x="790" y="255"/>
                  </a:lnTo>
                  <a:lnTo>
                    <a:pt x="786" y="255"/>
                  </a:lnTo>
                  <a:lnTo>
                    <a:pt x="786" y="259"/>
                  </a:lnTo>
                  <a:lnTo>
                    <a:pt x="782" y="259"/>
                  </a:lnTo>
                  <a:lnTo>
                    <a:pt x="782" y="255"/>
                  </a:lnTo>
                  <a:lnTo>
                    <a:pt x="782" y="259"/>
                  </a:lnTo>
                  <a:lnTo>
                    <a:pt x="786" y="259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78" y="263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2" y="263"/>
                  </a:lnTo>
                  <a:lnTo>
                    <a:pt x="762" y="259"/>
                  </a:lnTo>
                  <a:lnTo>
                    <a:pt x="758" y="259"/>
                  </a:lnTo>
                  <a:lnTo>
                    <a:pt x="758" y="255"/>
                  </a:lnTo>
                  <a:lnTo>
                    <a:pt x="762" y="255"/>
                  </a:lnTo>
                  <a:lnTo>
                    <a:pt x="758" y="255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0" y="259"/>
                  </a:lnTo>
                  <a:lnTo>
                    <a:pt x="746" y="259"/>
                  </a:lnTo>
                  <a:lnTo>
                    <a:pt x="742" y="259"/>
                  </a:lnTo>
                  <a:lnTo>
                    <a:pt x="742" y="255"/>
                  </a:lnTo>
                  <a:lnTo>
                    <a:pt x="742" y="251"/>
                  </a:lnTo>
                  <a:lnTo>
                    <a:pt x="738" y="251"/>
                  </a:lnTo>
                  <a:lnTo>
                    <a:pt x="738" y="247"/>
                  </a:lnTo>
                  <a:lnTo>
                    <a:pt x="742" y="247"/>
                  </a:lnTo>
                  <a:lnTo>
                    <a:pt x="738" y="247"/>
                  </a:lnTo>
                  <a:lnTo>
                    <a:pt x="734" y="243"/>
                  </a:lnTo>
                  <a:lnTo>
                    <a:pt x="734" y="239"/>
                  </a:lnTo>
                  <a:lnTo>
                    <a:pt x="734" y="235"/>
                  </a:lnTo>
                  <a:lnTo>
                    <a:pt x="738" y="235"/>
                  </a:lnTo>
                  <a:lnTo>
                    <a:pt x="742" y="235"/>
                  </a:lnTo>
                  <a:lnTo>
                    <a:pt x="742" y="231"/>
                  </a:lnTo>
                  <a:lnTo>
                    <a:pt x="738" y="227"/>
                  </a:lnTo>
                  <a:lnTo>
                    <a:pt x="738" y="223"/>
                  </a:lnTo>
                  <a:lnTo>
                    <a:pt x="734" y="223"/>
                  </a:lnTo>
                  <a:lnTo>
                    <a:pt x="734" y="219"/>
                  </a:lnTo>
                  <a:lnTo>
                    <a:pt x="730" y="219"/>
                  </a:lnTo>
                  <a:lnTo>
                    <a:pt x="730" y="215"/>
                  </a:lnTo>
                  <a:lnTo>
                    <a:pt x="726" y="215"/>
                  </a:lnTo>
                  <a:lnTo>
                    <a:pt x="726" y="211"/>
                  </a:lnTo>
                  <a:lnTo>
                    <a:pt x="722" y="211"/>
                  </a:lnTo>
                  <a:lnTo>
                    <a:pt x="718" y="211"/>
                  </a:lnTo>
                  <a:lnTo>
                    <a:pt x="714" y="211"/>
                  </a:lnTo>
                  <a:lnTo>
                    <a:pt x="714" y="215"/>
                  </a:lnTo>
                  <a:lnTo>
                    <a:pt x="710" y="211"/>
                  </a:lnTo>
                  <a:lnTo>
                    <a:pt x="706" y="211"/>
                  </a:lnTo>
                  <a:lnTo>
                    <a:pt x="702" y="211"/>
                  </a:lnTo>
                  <a:lnTo>
                    <a:pt x="698" y="211"/>
                  </a:lnTo>
                  <a:lnTo>
                    <a:pt x="694" y="215"/>
                  </a:lnTo>
                  <a:lnTo>
                    <a:pt x="690" y="215"/>
                  </a:lnTo>
                  <a:lnTo>
                    <a:pt x="690" y="211"/>
                  </a:lnTo>
                  <a:lnTo>
                    <a:pt x="694" y="211"/>
                  </a:lnTo>
                  <a:lnTo>
                    <a:pt x="698" y="211"/>
                  </a:lnTo>
                  <a:lnTo>
                    <a:pt x="694" y="211"/>
                  </a:lnTo>
                  <a:lnTo>
                    <a:pt x="690" y="211"/>
                  </a:lnTo>
                  <a:lnTo>
                    <a:pt x="686" y="211"/>
                  </a:lnTo>
                  <a:lnTo>
                    <a:pt x="686" y="207"/>
                  </a:lnTo>
                  <a:lnTo>
                    <a:pt x="682" y="207"/>
                  </a:lnTo>
                  <a:lnTo>
                    <a:pt x="678" y="207"/>
                  </a:lnTo>
                  <a:lnTo>
                    <a:pt x="682" y="207"/>
                  </a:lnTo>
                  <a:lnTo>
                    <a:pt x="686" y="207"/>
                  </a:lnTo>
                  <a:lnTo>
                    <a:pt x="686" y="203"/>
                  </a:lnTo>
                  <a:lnTo>
                    <a:pt x="682" y="203"/>
                  </a:lnTo>
                  <a:lnTo>
                    <a:pt x="678" y="203"/>
                  </a:lnTo>
                  <a:lnTo>
                    <a:pt x="674" y="203"/>
                  </a:lnTo>
                  <a:lnTo>
                    <a:pt x="674" y="199"/>
                  </a:lnTo>
                  <a:lnTo>
                    <a:pt x="670" y="199"/>
                  </a:lnTo>
                  <a:lnTo>
                    <a:pt x="666" y="199"/>
                  </a:lnTo>
                  <a:lnTo>
                    <a:pt x="666" y="195"/>
                  </a:lnTo>
                  <a:lnTo>
                    <a:pt x="670" y="199"/>
                  </a:lnTo>
                  <a:lnTo>
                    <a:pt x="674" y="199"/>
                  </a:lnTo>
                  <a:lnTo>
                    <a:pt x="678" y="199"/>
                  </a:lnTo>
                  <a:lnTo>
                    <a:pt x="674" y="195"/>
                  </a:lnTo>
                  <a:lnTo>
                    <a:pt x="670" y="195"/>
                  </a:lnTo>
                  <a:lnTo>
                    <a:pt x="666" y="195"/>
                  </a:lnTo>
                  <a:lnTo>
                    <a:pt x="670" y="191"/>
                  </a:lnTo>
                  <a:lnTo>
                    <a:pt x="674" y="191"/>
                  </a:lnTo>
                  <a:lnTo>
                    <a:pt x="678" y="191"/>
                  </a:lnTo>
                  <a:lnTo>
                    <a:pt x="682" y="191"/>
                  </a:lnTo>
                  <a:lnTo>
                    <a:pt x="686" y="187"/>
                  </a:lnTo>
                  <a:lnTo>
                    <a:pt x="686" y="191"/>
                  </a:lnTo>
                  <a:lnTo>
                    <a:pt x="690" y="191"/>
                  </a:lnTo>
                  <a:lnTo>
                    <a:pt x="694" y="191"/>
                  </a:lnTo>
                  <a:lnTo>
                    <a:pt x="698" y="191"/>
                  </a:lnTo>
                  <a:lnTo>
                    <a:pt x="702" y="191"/>
                  </a:lnTo>
                  <a:lnTo>
                    <a:pt x="706" y="195"/>
                  </a:lnTo>
                  <a:lnTo>
                    <a:pt x="710" y="195"/>
                  </a:lnTo>
                  <a:lnTo>
                    <a:pt x="710" y="191"/>
                  </a:lnTo>
                  <a:lnTo>
                    <a:pt x="714" y="191"/>
                  </a:lnTo>
                  <a:lnTo>
                    <a:pt x="714" y="195"/>
                  </a:lnTo>
                  <a:lnTo>
                    <a:pt x="718" y="195"/>
                  </a:lnTo>
                  <a:lnTo>
                    <a:pt x="722" y="199"/>
                  </a:lnTo>
                  <a:lnTo>
                    <a:pt x="722" y="203"/>
                  </a:lnTo>
                  <a:lnTo>
                    <a:pt x="718" y="207"/>
                  </a:lnTo>
                  <a:lnTo>
                    <a:pt x="718" y="211"/>
                  </a:lnTo>
                  <a:lnTo>
                    <a:pt x="718" y="207"/>
                  </a:lnTo>
                  <a:lnTo>
                    <a:pt x="722" y="207"/>
                  </a:lnTo>
                  <a:lnTo>
                    <a:pt x="726" y="203"/>
                  </a:lnTo>
                  <a:lnTo>
                    <a:pt x="730" y="203"/>
                  </a:lnTo>
                  <a:lnTo>
                    <a:pt x="734" y="203"/>
                  </a:lnTo>
                  <a:lnTo>
                    <a:pt x="738" y="203"/>
                  </a:lnTo>
                  <a:lnTo>
                    <a:pt x="742" y="203"/>
                  </a:lnTo>
                  <a:lnTo>
                    <a:pt x="742" y="199"/>
                  </a:lnTo>
                  <a:lnTo>
                    <a:pt x="746" y="199"/>
                  </a:lnTo>
                  <a:lnTo>
                    <a:pt x="750" y="199"/>
                  </a:lnTo>
                  <a:lnTo>
                    <a:pt x="754" y="199"/>
                  </a:lnTo>
                  <a:lnTo>
                    <a:pt x="758" y="203"/>
                  </a:lnTo>
                  <a:lnTo>
                    <a:pt x="762" y="203"/>
                  </a:lnTo>
                  <a:lnTo>
                    <a:pt x="766" y="203"/>
                  </a:lnTo>
                  <a:lnTo>
                    <a:pt x="766" y="207"/>
                  </a:lnTo>
                  <a:lnTo>
                    <a:pt x="762" y="207"/>
                  </a:lnTo>
                  <a:lnTo>
                    <a:pt x="758" y="207"/>
                  </a:lnTo>
                  <a:lnTo>
                    <a:pt x="754" y="207"/>
                  </a:lnTo>
                  <a:lnTo>
                    <a:pt x="750" y="207"/>
                  </a:lnTo>
                  <a:lnTo>
                    <a:pt x="754" y="207"/>
                  </a:lnTo>
                  <a:lnTo>
                    <a:pt x="758" y="207"/>
                  </a:lnTo>
                  <a:lnTo>
                    <a:pt x="762" y="207"/>
                  </a:lnTo>
                  <a:lnTo>
                    <a:pt x="766" y="207"/>
                  </a:lnTo>
                  <a:lnTo>
                    <a:pt x="766" y="211"/>
                  </a:lnTo>
                  <a:lnTo>
                    <a:pt x="770" y="211"/>
                  </a:lnTo>
                  <a:lnTo>
                    <a:pt x="774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5"/>
                  </a:lnTo>
                  <a:lnTo>
                    <a:pt x="782" y="215"/>
                  </a:lnTo>
                  <a:lnTo>
                    <a:pt x="778" y="215"/>
                  </a:lnTo>
                  <a:lnTo>
                    <a:pt x="774" y="215"/>
                  </a:lnTo>
                  <a:lnTo>
                    <a:pt x="766" y="215"/>
                  </a:lnTo>
                  <a:lnTo>
                    <a:pt x="770" y="215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58" y="215"/>
                  </a:lnTo>
                  <a:lnTo>
                    <a:pt x="754" y="215"/>
                  </a:lnTo>
                  <a:lnTo>
                    <a:pt x="750" y="215"/>
                  </a:lnTo>
                  <a:lnTo>
                    <a:pt x="750" y="211"/>
                  </a:lnTo>
                  <a:lnTo>
                    <a:pt x="746" y="211"/>
                  </a:lnTo>
                  <a:lnTo>
                    <a:pt x="746" y="215"/>
                  </a:lnTo>
                  <a:lnTo>
                    <a:pt x="750" y="215"/>
                  </a:lnTo>
                  <a:lnTo>
                    <a:pt x="754" y="215"/>
                  </a:lnTo>
                  <a:lnTo>
                    <a:pt x="758" y="215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66" y="219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54" y="219"/>
                  </a:lnTo>
                  <a:lnTo>
                    <a:pt x="758" y="223"/>
                  </a:lnTo>
                  <a:lnTo>
                    <a:pt x="754" y="223"/>
                  </a:lnTo>
                  <a:lnTo>
                    <a:pt x="754" y="227"/>
                  </a:lnTo>
                  <a:lnTo>
                    <a:pt x="754" y="223"/>
                  </a:lnTo>
                  <a:lnTo>
                    <a:pt x="758" y="223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7"/>
                  </a:lnTo>
                  <a:lnTo>
                    <a:pt x="778" y="227"/>
                  </a:lnTo>
                  <a:lnTo>
                    <a:pt x="778" y="223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2" y="231"/>
                  </a:lnTo>
                  <a:lnTo>
                    <a:pt x="778" y="231"/>
                  </a:lnTo>
                  <a:lnTo>
                    <a:pt x="774" y="235"/>
                  </a:lnTo>
                  <a:lnTo>
                    <a:pt x="778" y="231"/>
                  </a:lnTo>
                  <a:lnTo>
                    <a:pt x="778" y="235"/>
                  </a:lnTo>
                  <a:lnTo>
                    <a:pt x="778" y="231"/>
                  </a:lnTo>
                  <a:lnTo>
                    <a:pt x="782" y="231"/>
                  </a:lnTo>
                  <a:lnTo>
                    <a:pt x="786" y="235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0" y="235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7" y="231"/>
                  </a:lnTo>
                  <a:lnTo>
                    <a:pt x="797" y="235"/>
                  </a:lnTo>
                  <a:lnTo>
                    <a:pt x="801" y="235"/>
                  </a:lnTo>
                  <a:lnTo>
                    <a:pt x="805" y="235"/>
                  </a:lnTo>
                  <a:lnTo>
                    <a:pt x="809" y="235"/>
                  </a:lnTo>
                  <a:lnTo>
                    <a:pt x="809" y="231"/>
                  </a:lnTo>
                  <a:lnTo>
                    <a:pt x="813" y="231"/>
                  </a:lnTo>
                  <a:lnTo>
                    <a:pt x="817" y="231"/>
                  </a:lnTo>
                  <a:lnTo>
                    <a:pt x="817" y="235"/>
                  </a:lnTo>
                  <a:lnTo>
                    <a:pt x="821" y="235"/>
                  </a:lnTo>
                  <a:lnTo>
                    <a:pt x="825" y="235"/>
                  </a:lnTo>
                  <a:lnTo>
                    <a:pt x="825" y="239"/>
                  </a:lnTo>
                  <a:lnTo>
                    <a:pt x="821" y="239"/>
                  </a:lnTo>
                  <a:lnTo>
                    <a:pt x="825" y="239"/>
                  </a:lnTo>
                  <a:lnTo>
                    <a:pt x="829" y="239"/>
                  </a:lnTo>
                  <a:lnTo>
                    <a:pt x="833" y="239"/>
                  </a:lnTo>
                  <a:lnTo>
                    <a:pt x="837" y="239"/>
                  </a:lnTo>
                  <a:lnTo>
                    <a:pt x="833" y="235"/>
                  </a:lnTo>
                  <a:lnTo>
                    <a:pt x="829" y="235"/>
                  </a:lnTo>
                  <a:lnTo>
                    <a:pt x="833" y="235"/>
                  </a:lnTo>
                  <a:lnTo>
                    <a:pt x="837" y="235"/>
                  </a:lnTo>
                  <a:lnTo>
                    <a:pt x="841" y="235"/>
                  </a:lnTo>
                  <a:lnTo>
                    <a:pt x="845" y="231"/>
                  </a:lnTo>
                  <a:lnTo>
                    <a:pt x="849" y="231"/>
                  </a:lnTo>
                  <a:lnTo>
                    <a:pt x="853" y="231"/>
                  </a:lnTo>
                  <a:lnTo>
                    <a:pt x="857" y="231"/>
                  </a:lnTo>
                  <a:lnTo>
                    <a:pt x="861" y="227"/>
                  </a:lnTo>
                  <a:lnTo>
                    <a:pt x="865" y="227"/>
                  </a:lnTo>
                  <a:lnTo>
                    <a:pt x="869" y="227"/>
                  </a:lnTo>
                  <a:lnTo>
                    <a:pt x="873" y="227"/>
                  </a:lnTo>
                  <a:lnTo>
                    <a:pt x="877" y="227"/>
                  </a:lnTo>
                  <a:lnTo>
                    <a:pt x="881" y="227"/>
                  </a:lnTo>
                  <a:lnTo>
                    <a:pt x="885" y="227"/>
                  </a:lnTo>
                  <a:lnTo>
                    <a:pt x="889" y="227"/>
                  </a:lnTo>
                  <a:lnTo>
                    <a:pt x="893" y="227"/>
                  </a:lnTo>
                  <a:lnTo>
                    <a:pt x="897" y="227"/>
                  </a:lnTo>
                  <a:lnTo>
                    <a:pt x="901" y="227"/>
                  </a:lnTo>
                  <a:lnTo>
                    <a:pt x="905" y="227"/>
                  </a:lnTo>
                  <a:lnTo>
                    <a:pt x="905" y="231"/>
                  </a:lnTo>
                  <a:lnTo>
                    <a:pt x="909" y="231"/>
                  </a:lnTo>
                  <a:lnTo>
                    <a:pt x="913" y="231"/>
                  </a:lnTo>
                  <a:lnTo>
                    <a:pt x="917" y="231"/>
                  </a:lnTo>
                  <a:lnTo>
                    <a:pt x="921" y="231"/>
                  </a:lnTo>
                  <a:lnTo>
                    <a:pt x="925" y="235"/>
                  </a:lnTo>
                  <a:lnTo>
                    <a:pt x="921" y="235"/>
                  </a:lnTo>
                  <a:lnTo>
                    <a:pt x="917" y="235"/>
                  </a:lnTo>
                  <a:lnTo>
                    <a:pt x="921" y="235"/>
                  </a:lnTo>
                  <a:lnTo>
                    <a:pt x="925" y="235"/>
                  </a:lnTo>
                  <a:lnTo>
                    <a:pt x="929" y="235"/>
                  </a:lnTo>
                  <a:lnTo>
                    <a:pt x="929" y="239"/>
                  </a:lnTo>
                  <a:lnTo>
                    <a:pt x="929" y="243"/>
                  </a:lnTo>
                  <a:lnTo>
                    <a:pt x="933" y="243"/>
                  </a:lnTo>
                  <a:lnTo>
                    <a:pt x="929" y="243"/>
                  </a:lnTo>
                  <a:lnTo>
                    <a:pt x="925" y="247"/>
                  </a:lnTo>
                  <a:lnTo>
                    <a:pt x="925" y="243"/>
                  </a:lnTo>
                  <a:lnTo>
                    <a:pt x="925" y="247"/>
                  </a:lnTo>
                  <a:lnTo>
                    <a:pt x="921" y="247"/>
                  </a:lnTo>
                  <a:lnTo>
                    <a:pt x="917" y="247"/>
                  </a:lnTo>
                  <a:lnTo>
                    <a:pt x="917" y="251"/>
                  </a:lnTo>
                  <a:close/>
                  <a:moveTo>
                    <a:pt x="662" y="191"/>
                  </a:moveTo>
                  <a:lnTo>
                    <a:pt x="666" y="191"/>
                  </a:lnTo>
                  <a:lnTo>
                    <a:pt x="662" y="191"/>
                  </a:lnTo>
                  <a:lnTo>
                    <a:pt x="658" y="191"/>
                  </a:lnTo>
                  <a:lnTo>
                    <a:pt x="662" y="191"/>
                  </a:lnTo>
                  <a:close/>
                  <a:moveTo>
                    <a:pt x="407" y="199"/>
                  </a:moveTo>
                  <a:lnTo>
                    <a:pt x="399" y="199"/>
                  </a:lnTo>
                  <a:lnTo>
                    <a:pt x="395" y="199"/>
                  </a:lnTo>
                  <a:lnTo>
                    <a:pt x="395" y="195"/>
                  </a:lnTo>
                  <a:lnTo>
                    <a:pt x="399" y="195"/>
                  </a:lnTo>
                  <a:lnTo>
                    <a:pt x="403" y="195"/>
                  </a:lnTo>
                  <a:lnTo>
                    <a:pt x="407" y="195"/>
                  </a:lnTo>
                  <a:lnTo>
                    <a:pt x="411" y="195"/>
                  </a:lnTo>
                  <a:lnTo>
                    <a:pt x="415" y="195"/>
                  </a:lnTo>
                  <a:lnTo>
                    <a:pt x="415" y="199"/>
                  </a:lnTo>
                  <a:lnTo>
                    <a:pt x="411" y="199"/>
                  </a:lnTo>
                  <a:lnTo>
                    <a:pt x="407" y="199"/>
                  </a:lnTo>
                  <a:close/>
                  <a:moveTo>
                    <a:pt x="395" y="251"/>
                  </a:moveTo>
                  <a:lnTo>
                    <a:pt x="391" y="251"/>
                  </a:lnTo>
                  <a:lnTo>
                    <a:pt x="391" y="247"/>
                  </a:lnTo>
                  <a:lnTo>
                    <a:pt x="391" y="243"/>
                  </a:lnTo>
                  <a:lnTo>
                    <a:pt x="391" y="247"/>
                  </a:lnTo>
                  <a:lnTo>
                    <a:pt x="387" y="247"/>
                  </a:lnTo>
                  <a:lnTo>
                    <a:pt x="383" y="247"/>
                  </a:lnTo>
                  <a:lnTo>
                    <a:pt x="387" y="247"/>
                  </a:lnTo>
                  <a:lnTo>
                    <a:pt x="387" y="251"/>
                  </a:lnTo>
                  <a:lnTo>
                    <a:pt x="383" y="251"/>
                  </a:lnTo>
                  <a:lnTo>
                    <a:pt x="379" y="251"/>
                  </a:lnTo>
                  <a:lnTo>
                    <a:pt x="375" y="247"/>
                  </a:lnTo>
                  <a:lnTo>
                    <a:pt x="375" y="243"/>
                  </a:lnTo>
                  <a:lnTo>
                    <a:pt x="371" y="243"/>
                  </a:lnTo>
                  <a:lnTo>
                    <a:pt x="367" y="247"/>
                  </a:lnTo>
                  <a:lnTo>
                    <a:pt x="359" y="247"/>
                  </a:lnTo>
                  <a:lnTo>
                    <a:pt x="359" y="243"/>
                  </a:lnTo>
                  <a:lnTo>
                    <a:pt x="355" y="243"/>
                  </a:lnTo>
                  <a:lnTo>
                    <a:pt x="351" y="243"/>
                  </a:lnTo>
                  <a:lnTo>
                    <a:pt x="355" y="239"/>
                  </a:lnTo>
                  <a:lnTo>
                    <a:pt x="359" y="239"/>
                  </a:lnTo>
                  <a:lnTo>
                    <a:pt x="359" y="235"/>
                  </a:lnTo>
                  <a:lnTo>
                    <a:pt x="363" y="235"/>
                  </a:lnTo>
                  <a:lnTo>
                    <a:pt x="367" y="235"/>
                  </a:lnTo>
                  <a:lnTo>
                    <a:pt x="375" y="235"/>
                  </a:lnTo>
                  <a:lnTo>
                    <a:pt x="379" y="235"/>
                  </a:lnTo>
                  <a:lnTo>
                    <a:pt x="383" y="235"/>
                  </a:lnTo>
                  <a:lnTo>
                    <a:pt x="383" y="231"/>
                  </a:lnTo>
                  <a:lnTo>
                    <a:pt x="387" y="231"/>
                  </a:lnTo>
                  <a:lnTo>
                    <a:pt x="391" y="231"/>
                  </a:lnTo>
                  <a:lnTo>
                    <a:pt x="395" y="231"/>
                  </a:lnTo>
                  <a:lnTo>
                    <a:pt x="391" y="231"/>
                  </a:lnTo>
                  <a:lnTo>
                    <a:pt x="387" y="231"/>
                  </a:lnTo>
                  <a:lnTo>
                    <a:pt x="383" y="231"/>
                  </a:lnTo>
                  <a:lnTo>
                    <a:pt x="379" y="231"/>
                  </a:lnTo>
                  <a:lnTo>
                    <a:pt x="375" y="231"/>
                  </a:lnTo>
                  <a:lnTo>
                    <a:pt x="375" y="235"/>
                  </a:lnTo>
                  <a:lnTo>
                    <a:pt x="371" y="235"/>
                  </a:lnTo>
                  <a:lnTo>
                    <a:pt x="367" y="235"/>
                  </a:lnTo>
                  <a:lnTo>
                    <a:pt x="359" y="235"/>
                  </a:lnTo>
                  <a:lnTo>
                    <a:pt x="359" y="231"/>
                  </a:lnTo>
                  <a:lnTo>
                    <a:pt x="363" y="231"/>
                  </a:lnTo>
                  <a:lnTo>
                    <a:pt x="363" y="227"/>
                  </a:lnTo>
                  <a:lnTo>
                    <a:pt x="367" y="227"/>
                  </a:lnTo>
                  <a:lnTo>
                    <a:pt x="371" y="227"/>
                  </a:lnTo>
                  <a:lnTo>
                    <a:pt x="375" y="227"/>
                  </a:lnTo>
                  <a:lnTo>
                    <a:pt x="379" y="227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7" y="227"/>
                  </a:lnTo>
                  <a:lnTo>
                    <a:pt x="387" y="223"/>
                  </a:lnTo>
                  <a:lnTo>
                    <a:pt x="391" y="223"/>
                  </a:lnTo>
                  <a:lnTo>
                    <a:pt x="395" y="223"/>
                  </a:lnTo>
                  <a:lnTo>
                    <a:pt x="391" y="223"/>
                  </a:lnTo>
                  <a:lnTo>
                    <a:pt x="387" y="223"/>
                  </a:lnTo>
                  <a:lnTo>
                    <a:pt x="383" y="223"/>
                  </a:lnTo>
                  <a:lnTo>
                    <a:pt x="379" y="223"/>
                  </a:lnTo>
                  <a:lnTo>
                    <a:pt x="375" y="223"/>
                  </a:lnTo>
                  <a:lnTo>
                    <a:pt x="371" y="223"/>
                  </a:lnTo>
                  <a:lnTo>
                    <a:pt x="367" y="223"/>
                  </a:lnTo>
                  <a:lnTo>
                    <a:pt x="371" y="223"/>
                  </a:lnTo>
                  <a:lnTo>
                    <a:pt x="371" y="219"/>
                  </a:lnTo>
                  <a:lnTo>
                    <a:pt x="367" y="219"/>
                  </a:lnTo>
                  <a:lnTo>
                    <a:pt x="371" y="215"/>
                  </a:lnTo>
                  <a:lnTo>
                    <a:pt x="375" y="215"/>
                  </a:lnTo>
                  <a:lnTo>
                    <a:pt x="379" y="215"/>
                  </a:lnTo>
                  <a:lnTo>
                    <a:pt x="383" y="215"/>
                  </a:lnTo>
                  <a:lnTo>
                    <a:pt x="387" y="215"/>
                  </a:lnTo>
                  <a:lnTo>
                    <a:pt x="391" y="215"/>
                  </a:lnTo>
                  <a:lnTo>
                    <a:pt x="395" y="215"/>
                  </a:lnTo>
                  <a:lnTo>
                    <a:pt x="399" y="215"/>
                  </a:lnTo>
                  <a:lnTo>
                    <a:pt x="395" y="215"/>
                  </a:lnTo>
                  <a:lnTo>
                    <a:pt x="391" y="215"/>
                  </a:lnTo>
                  <a:lnTo>
                    <a:pt x="387" y="215"/>
                  </a:lnTo>
                  <a:lnTo>
                    <a:pt x="383" y="215"/>
                  </a:lnTo>
                  <a:lnTo>
                    <a:pt x="379" y="215"/>
                  </a:lnTo>
                  <a:lnTo>
                    <a:pt x="379" y="211"/>
                  </a:lnTo>
                  <a:lnTo>
                    <a:pt x="383" y="207"/>
                  </a:lnTo>
                  <a:lnTo>
                    <a:pt x="387" y="207"/>
                  </a:lnTo>
                  <a:lnTo>
                    <a:pt x="391" y="207"/>
                  </a:lnTo>
                  <a:lnTo>
                    <a:pt x="395" y="207"/>
                  </a:lnTo>
                  <a:lnTo>
                    <a:pt x="399" y="207"/>
                  </a:lnTo>
                  <a:lnTo>
                    <a:pt x="403" y="207"/>
                  </a:lnTo>
                  <a:lnTo>
                    <a:pt x="407" y="207"/>
                  </a:lnTo>
                  <a:lnTo>
                    <a:pt x="407" y="211"/>
                  </a:lnTo>
                  <a:lnTo>
                    <a:pt x="407" y="215"/>
                  </a:lnTo>
                  <a:lnTo>
                    <a:pt x="411" y="215"/>
                  </a:lnTo>
                  <a:lnTo>
                    <a:pt x="415" y="215"/>
                  </a:lnTo>
                  <a:lnTo>
                    <a:pt x="419" y="211"/>
                  </a:lnTo>
                  <a:lnTo>
                    <a:pt x="423" y="211"/>
                  </a:lnTo>
                  <a:lnTo>
                    <a:pt x="427" y="211"/>
                  </a:lnTo>
                  <a:lnTo>
                    <a:pt x="427" y="215"/>
                  </a:lnTo>
                  <a:lnTo>
                    <a:pt x="431" y="215"/>
                  </a:lnTo>
                  <a:lnTo>
                    <a:pt x="431" y="219"/>
                  </a:lnTo>
                  <a:lnTo>
                    <a:pt x="435" y="219"/>
                  </a:lnTo>
                  <a:lnTo>
                    <a:pt x="439" y="219"/>
                  </a:lnTo>
                  <a:lnTo>
                    <a:pt x="439" y="223"/>
                  </a:lnTo>
                  <a:lnTo>
                    <a:pt x="442" y="223"/>
                  </a:lnTo>
                  <a:lnTo>
                    <a:pt x="439" y="223"/>
                  </a:lnTo>
                  <a:lnTo>
                    <a:pt x="435" y="223"/>
                  </a:lnTo>
                  <a:lnTo>
                    <a:pt x="435" y="227"/>
                  </a:lnTo>
                  <a:lnTo>
                    <a:pt x="439" y="227"/>
                  </a:lnTo>
                  <a:lnTo>
                    <a:pt x="442" y="227"/>
                  </a:lnTo>
                  <a:lnTo>
                    <a:pt x="446" y="227"/>
                  </a:lnTo>
                  <a:lnTo>
                    <a:pt x="446" y="231"/>
                  </a:lnTo>
                  <a:lnTo>
                    <a:pt x="446" y="235"/>
                  </a:lnTo>
                  <a:lnTo>
                    <a:pt x="450" y="235"/>
                  </a:lnTo>
                  <a:lnTo>
                    <a:pt x="454" y="235"/>
                  </a:lnTo>
                  <a:lnTo>
                    <a:pt x="458" y="235"/>
                  </a:lnTo>
                  <a:lnTo>
                    <a:pt x="462" y="235"/>
                  </a:lnTo>
                  <a:lnTo>
                    <a:pt x="466" y="235"/>
                  </a:lnTo>
                  <a:lnTo>
                    <a:pt x="470" y="235"/>
                  </a:lnTo>
                  <a:lnTo>
                    <a:pt x="474" y="235"/>
                  </a:lnTo>
                  <a:lnTo>
                    <a:pt x="478" y="235"/>
                  </a:lnTo>
                  <a:lnTo>
                    <a:pt x="482" y="235"/>
                  </a:lnTo>
                  <a:lnTo>
                    <a:pt x="486" y="235"/>
                  </a:lnTo>
                  <a:lnTo>
                    <a:pt x="486" y="231"/>
                  </a:lnTo>
                  <a:lnTo>
                    <a:pt x="482" y="227"/>
                  </a:lnTo>
                  <a:lnTo>
                    <a:pt x="478" y="227"/>
                  </a:lnTo>
                  <a:lnTo>
                    <a:pt x="474" y="227"/>
                  </a:lnTo>
                  <a:lnTo>
                    <a:pt x="474" y="223"/>
                  </a:lnTo>
                  <a:lnTo>
                    <a:pt x="470" y="223"/>
                  </a:lnTo>
                  <a:lnTo>
                    <a:pt x="466" y="223"/>
                  </a:lnTo>
                  <a:lnTo>
                    <a:pt x="470" y="223"/>
                  </a:lnTo>
                  <a:lnTo>
                    <a:pt x="474" y="223"/>
                  </a:lnTo>
                  <a:lnTo>
                    <a:pt x="478" y="219"/>
                  </a:lnTo>
                  <a:lnTo>
                    <a:pt x="478" y="215"/>
                  </a:lnTo>
                  <a:lnTo>
                    <a:pt x="474" y="215"/>
                  </a:lnTo>
                  <a:lnTo>
                    <a:pt x="470" y="215"/>
                  </a:lnTo>
                  <a:lnTo>
                    <a:pt x="466" y="215"/>
                  </a:lnTo>
                  <a:lnTo>
                    <a:pt x="466" y="211"/>
                  </a:lnTo>
                  <a:lnTo>
                    <a:pt x="462" y="211"/>
                  </a:lnTo>
                  <a:lnTo>
                    <a:pt x="462" y="207"/>
                  </a:lnTo>
                  <a:lnTo>
                    <a:pt x="466" y="207"/>
                  </a:lnTo>
                  <a:lnTo>
                    <a:pt x="470" y="207"/>
                  </a:lnTo>
                  <a:lnTo>
                    <a:pt x="474" y="207"/>
                  </a:lnTo>
                  <a:lnTo>
                    <a:pt x="474" y="203"/>
                  </a:lnTo>
                  <a:lnTo>
                    <a:pt x="470" y="203"/>
                  </a:lnTo>
                  <a:lnTo>
                    <a:pt x="474" y="203"/>
                  </a:lnTo>
                  <a:lnTo>
                    <a:pt x="474" y="199"/>
                  </a:lnTo>
                  <a:lnTo>
                    <a:pt x="478" y="195"/>
                  </a:lnTo>
                  <a:lnTo>
                    <a:pt x="482" y="195"/>
                  </a:lnTo>
                  <a:lnTo>
                    <a:pt x="486" y="195"/>
                  </a:lnTo>
                  <a:lnTo>
                    <a:pt x="490" y="195"/>
                  </a:lnTo>
                  <a:lnTo>
                    <a:pt x="490" y="199"/>
                  </a:lnTo>
                  <a:lnTo>
                    <a:pt x="490" y="203"/>
                  </a:lnTo>
                  <a:lnTo>
                    <a:pt x="486" y="203"/>
                  </a:lnTo>
                  <a:lnTo>
                    <a:pt x="490" y="203"/>
                  </a:lnTo>
                  <a:lnTo>
                    <a:pt x="490" y="207"/>
                  </a:lnTo>
                  <a:lnTo>
                    <a:pt x="494" y="207"/>
                  </a:lnTo>
                  <a:lnTo>
                    <a:pt x="494" y="211"/>
                  </a:lnTo>
                  <a:lnTo>
                    <a:pt x="498" y="211"/>
                  </a:lnTo>
                  <a:lnTo>
                    <a:pt x="494" y="215"/>
                  </a:lnTo>
                  <a:lnTo>
                    <a:pt x="494" y="219"/>
                  </a:lnTo>
                  <a:lnTo>
                    <a:pt x="498" y="219"/>
                  </a:lnTo>
                  <a:lnTo>
                    <a:pt x="502" y="219"/>
                  </a:lnTo>
                  <a:lnTo>
                    <a:pt x="506" y="219"/>
                  </a:lnTo>
                  <a:lnTo>
                    <a:pt x="502" y="223"/>
                  </a:lnTo>
                  <a:lnTo>
                    <a:pt x="498" y="223"/>
                  </a:lnTo>
                  <a:lnTo>
                    <a:pt x="498" y="227"/>
                  </a:lnTo>
                  <a:lnTo>
                    <a:pt x="502" y="227"/>
                  </a:lnTo>
                  <a:lnTo>
                    <a:pt x="502" y="223"/>
                  </a:lnTo>
                  <a:lnTo>
                    <a:pt x="506" y="223"/>
                  </a:lnTo>
                  <a:lnTo>
                    <a:pt x="510" y="223"/>
                  </a:lnTo>
                  <a:lnTo>
                    <a:pt x="514" y="223"/>
                  </a:lnTo>
                  <a:lnTo>
                    <a:pt x="514" y="227"/>
                  </a:lnTo>
                  <a:lnTo>
                    <a:pt x="518" y="227"/>
                  </a:lnTo>
                  <a:lnTo>
                    <a:pt x="514" y="227"/>
                  </a:lnTo>
                  <a:lnTo>
                    <a:pt x="514" y="223"/>
                  </a:lnTo>
                  <a:lnTo>
                    <a:pt x="518" y="219"/>
                  </a:lnTo>
                  <a:lnTo>
                    <a:pt x="522" y="219"/>
                  </a:lnTo>
                  <a:lnTo>
                    <a:pt x="526" y="219"/>
                  </a:lnTo>
                  <a:lnTo>
                    <a:pt x="530" y="219"/>
                  </a:lnTo>
                  <a:lnTo>
                    <a:pt x="534" y="223"/>
                  </a:lnTo>
                  <a:lnTo>
                    <a:pt x="538" y="223"/>
                  </a:lnTo>
                  <a:lnTo>
                    <a:pt x="538" y="227"/>
                  </a:lnTo>
                  <a:lnTo>
                    <a:pt x="538" y="231"/>
                  </a:lnTo>
                  <a:lnTo>
                    <a:pt x="538" y="235"/>
                  </a:lnTo>
                  <a:lnTo>
                    <a:pt x="534" y="235"/>
                  </a:lnTo>
                  <a:lnTo>
                    <a:pt x="534" y="239"/>
                  </a:lnTo>
                  <a:lnTo>
                    <a:pt x="534" y="243"/>
                  </a:lnTo>
                  <a:lnTo>
                    <a:pt x="530" y="243"/>
                  </a:lnTo>
                  <a:lnTo>
                    <a:pt x="530" y="247"/>
                  </a:lnTo>
                  <a:lnTo>
                    <a:pt x="526" y="247"/>
                  </a:lnTo>
                  <a:lnTo>
                    <a:pt x="530" y="247"/>
                  </a:lnTo>
                  <a:lnTo>
                    <a:pt x="526" y="251"/>
                  </a:lnTo>
                  <a:lnTo>
                    <a:pt x="522" y="251"/>
                  </a:lnTo>
                  <a:lnTo>
                    <a:pt x="518" y="251"/>
                  </a:lnTo>
                  <a:lnTo>
                    <a:pt x="514" y="251"/>
                  </a:lnTo>
                  <a:lnTo>
                    <a:pt x="510" y="251"/>
                  </a:lnTo>
                  <a:lnTo>
                    <a:pt x="506" y="251"/>
                  </a:lnTo>
                  <a:lnTo>
                    <a:pt x="502" y="251"/>
                  </a:lnTo>
                  <a:lnTo>
                    <a:pt x="502" y="247"/>
                  </a:lnTo>
                  <a:lnTo>
                    <a:pt x="502" y="251"/>
                  </a:lnTo>
                  <a:lnTo>
                    <a:pt x="498" y="251"/>
                  </a:lnTo>
                  <a:lnTo>
                    <a:pt x="494" y="251"/>
                  </a:lnTo>
                  <a:lnTo>
                    <a:pt x="490" y="251"/>
                  </a:lnTo>
                  <a:lnTo>
                    <a:pt x="486" y="251"/>
                  </a:lnTo>
                  <a:lnTo>
                    <a:pt x="490" y="251"/>
                  </a:lnTo>
                  <a:lnTo>
                    <a:pt x="490" y="247"/>
                  </a:lnTo>
                  <a:lnTo>
                    <a:pt x="486" y="247"/>
                  </a:lnTo>
                  <a:lnTo>
                    <a:pt x="482" y="251"/>
                  </a:lnTo>
                  <a:lnTo>
                    <a:pt x="478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58" y="255"/>
                  </a:lnTo>
                  <a:lnTo>
                    <a:pt x="458" y="259"/>
                  </a:lnTo>
                  <a:lnTo>
                    <a:pt x="454" y="259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39" y="267"/>
                  </a:lnTo>
                  <a:lnTo>
                    <a:pt x="435" y="267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3" y="267"/>
                  </a:lnTo>
                  <a:lnTo>
                    <a:pt x="419" y="267"/>
                  </a:lnTo>
                  <a:lnTo>
                    <a:pt x="415" y="267"/>
                  </a:lnTo>
                  <a:lnTo>
                    <a:pt x="411" y="263"/>
                  </a:lnTo>
                  <a:lnTo>
                    <a:pt x="407" y="263"/>
                  </a:lnTo>
                  <a:lnTo>
                    <a:pt x="403" y="263"/>
                  </a:lnTo>
                  <a:lnTo>
                    <a:pt x="403" y="259"/>
                  </a:lnTo>
                  <a:lnTo>
                    <a:pt x="407" y="255"/>
                  </a:lnTo>
                  <a:lnTo>
                    <a:pt x="411" y="255"/>
                  </a:lnTo>
                  <a:lnTo>
                    <a:pt x="415" y="255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51"/>
                  </a:lnTo>
                  <a:lnTo>
                    <a:pt x="427" y="251"/>
                  </a:lnTo>
                  <a:lnTo>
                    <a:pt x="431" y="251"/>
                  </a:lnTo>
                  <a:lnTo>
                    <a:pt x="435" y="251"/>
                  </a:lnTo>
                  <a:lnTo>
                    <a:pt x="439" y="251"/>
                  </a:lnTo>
                  <a:lnTo>
                    <a:pt x="442" y="251"/>
                  </a:lnTo>
                  <a:lnTo>
                    <a:pt x="446" y="251"/>
                  </a:lnTo>
                  <a:lnTo>
                    <a:pt x="450" y="247"/>
                  </a:lnTo>
                  <a:lnTo>
                    <a:pt x="454" y="243"/>
                  </a:lnTo>
                  <a:lnTo>
                    <a:pt x="450" y="243"/>
                  </a:lnTo>
                  <a:lnTo>
                    <a:pt x="446" y="243"/>
                  </a:lnTo>
                  <a:lnTo>
                    <a:pt x="446" y="247"/>
                  </a:lnTo>
                  <a:lnTo>
                    <a:pt x="442" y="247"/>
                  </a:lnTo>
                  <a:lnTo>
                    <a:pt x="442" y="243"/>
                  </a:lnTo>
                  <a:lnTo>
                    <a:pt x="439" y="247"/>
                  </a:lnTo>
                  <a:lnTo>
                    <a:pt x="435" y="247"/>
                  </a:lnTo>
                  <a:lnTo>
                    <a:pt x="431" y="247"/>
                  </a:lnTo>
                  <a:lnTo>
                    <a:pt x="435" y="243"/>
                  </a:lnTo>
                  <a:lnTo>
                    <a:pt x="431" y="243"/>
                  </a:lnTo>
                  <a:lnTo>
                    <a:pt x="427" y="243"/>
                  </a:lnTo>
                  <a:lnTo>
                    <a:pt x="427" y="247"/>
                  </a:lnTo>
                  <a:lnTo>
                    <a:pt x="423" y="247"/>
                  </a:lnTo>
                  <a:lnTo>
                    <a:pt x="419" y="247"/>
                  </a:lnTo>
                  <a:lnTo>
                    <a:pt x="415" y="247"/>
                  </a:lnTo>
                  <a:lnTo>
                    <a:pt x="411" y="247"/>
                  </a:lnTo>
                  <a:lnTo>
                    <a:pt x="407" y="247"/>
                  </a:lnTo>
                  <a:lnTo>
                    <a:pt x="411" y="243"/>
                  </a:lnTo>
                  <a:lnTo>
                    <a:pt x="411" y="239"/>
                  </a:lnTo>
                  <a:lnTo>
                    <a:pt x="415" y="239"/>
                  </a:lnTo>
                  <a:lnTo>
                    <a:pt x="419" y="239"/>
                  </a:lnTo>
                  <a:lnTo>
                    <a:pt x="415" y="239"/>
                  </a:lnTo>
                  <a:lnTo>
                    <a:pt x="411" y="239"/>
                  </a:lnTo>
                  <a:lnTo>
                    <a:pt x="407" y="239"/>
                  </a:lnTo>
                  <a:lnTo>
                    <a:pt x="407" y="235"/>
                  </a:lnTo>
                  <a:lnTo>
                    <a:pt x="407" y="239"/>
                  </a:lnTo>
                  <a:lnTo>
                    <a:pt x="407" y="243"/>
                  </a:lnTo>
                  <a:lnTo>
                    <a:pt x="403" y="243"/>
                  </a:lnTo>
                  <a:lnTo>
                    <a:pt x="399" y="239"/>
                  </a:lnTo>
                  <a:lnTo>
                    <a:pt x="399" y="243"/>
                  </a:lnTo>
                  <a:lnTo>
                    <a:pt x="403" y="243"/>
                  </a:lnTo>
                  <a:lnTo>
                    <a:pt x="403" y="247"/>
                  </a:lnTo>
                  <a:lnTo>
                    <a:pt x="399" y="247"/>
                  </a:lnTo>
                  <a:lnTo>
                    <a:pt x="399" y="251"/>
                  </a:lnTo>
                  <a:lnTo>
                    <a:pt x="395" y="251"/>
                  </a:lnTo>
                  <a:close/>
                  <a:moveTo>
                    <a:pt x="774" y="207"/>
                  </a:moveTo>
                  <a:lnTo>
                    <a:pt x="770" y="207"/>
                  </a:lnTo>
                  <a:lnTo>
                    <a:pt x="770" y="203"/>
                  </a:lnTo>
                  <a:lnTo>
                    <a:pt x="766" y="203"/>
                  </a:lnTo>
                  <a:lnTo>
                    <a:pt x="766" y="199"/>
                  </a:lnTo>
                  <a:lnTo>
                    <a:pt x="762" y="199"/>
                  </a:lnTo>
                  <a:lnTo>
                    <a:pt x="766" y="199"/>
                  </a:lnTo>
                  <a:lnTo>
                    <a:pt x="766" y="195"/>
                  </a:lnTo>
                  <a:lnTo>
                    <a:pt x="770" y="195"/>
                  </a:lnTo>
                  <a:lnTo>
                    <a:pt x="774" y="195"/>
                  </a:lnTo>
                  <a:lnTo>
                    <a:pt x="774" y="199"/>
                  </a:lnTo>
                  <a:lnTo>
                    <a:pt x="778" y="199"/>
                  </a:lnTo>
                  <a:lnTo>
                    <a:pt x="774" y="199"/>
                  </a:lnTo>
                  <a:lnTo>
                    <a:pt x="774" y="203"/>
                  </a:lnTo>
                  <a:lnTo>
                    <a:pt x="774" y="207"/>
                  </a:lnTo>
                  <a:lnTo>
                    <a:pt x="778" y="207"/>
                  </a:lnTo>
                  <a:lnTo>
                    <a:pt x="774" y="207"/>
                  </a:lnTo>
                  <a:close/>
                  <a:moveTo>
                    <a:pt x="614" y="199"/>
                  </a:moveTo>
                  <a:lnTo>
                    <a:pt x="610" y="203"/>
                  </a:lnTo>
                  <a:lnTo>
                    <a:pt x="606" y="203"/>
                  </a:lnTo>
                  <a:lnTo>
                    <a:pt x="602" y="203"/>
                  </a:lnTo>
                  <a:lnTo>
                    <a:pt x="598" y="203"/>
                  </a:lnTo>
                  <a:lnTo>
                    <a:pt x="594" y="203"/>
                  </a:lnTo>
                  <a:lnTo>
                    <a:pt x="598" y="203"/>
                  </a:lnTo>
                  <a:lnTo>
                    <a:pt x="602" y="203"/>
                  </a:lnTo>
                  <a:lnTo>
                    <a:pt x="602" y="199"/>
                  </a:lnTo>
                  <a:lnTo>
                    <a:pt x="606" y="199"/>
                  </a:lnTo>
                  <a:lnTo>
                    <a:pt x="610" y="199"/>
                  </a:lnTo>
                  <a:lnTo>
                    <a:pt x="614" y="199"/>
                  </a:lnTo>
                  <a:lnTo>
                    <a:pt x="618" y="199"/>
                  </a:lnTo>
                  <a:lnTo>
                    <a:pt x="614" y="199"/>
                  </a:lnTo>
                  <a:close/>
                  <a:moveTo>
                    <a:pt x="626" y="199"/>
                  </a:moveTo>
                  <a:lnTo>
                    <a:pt x="630" y="199"/>
                  </a:lnTo>
                  <a:lnTo>
                    <a:pt x="626" y="199"/>
                  </a:lnTo>
                  <a:lnTo>
                    <a:pt x="622" y="199"/>
                  </a:lnTo>
                  <a:lnTo>
                    <a:pt x="618" y="199"/>
                  </a:lnTo>
                  <a:lnTo>
                    <a:pt x="622" y="199"/>
                  </a:lnTo>
                  <a:lnTo>
                    <a:pt x="626" y="199"/>
                  </a:lnTo>
                  <a:close/>
                  <a:moveTo>
                    <a:pt x="626" y="251"/>
                  </a:moveTo>
                  <a:lnTo>
                    <a:pt x="622" y="251"/>
                  </a:lnTo>
                  <a:lnTo>
                    <a:pt x="618" y="251"/>
                  </a:lnTo>
                  <a:lnTo>
                    <a:pt x="614" y="251"/>
                  </a:lnTo>
                  <a:lnTo>
                    <a:pt x="614" y="247"/>
                  </a:lnTo>
                  <a:lnTo>
                    <a:pt x="614" y="243"/>
                  </a:lnTo>
                  <a:lnTo>
                    <a:pt x="610" y="243"/>
                  </a:lnTo>
                  <a:lnTo>
                    <a:pt x="614" y="243"/>
                  </a:lnTo>
                  <a:lnTo>
                    <a:pt x="618" y="243"/>
                  </a:lnTo>
                  <a:lnTo>
                    <a:pt x="622" y="243"/>
                  </a:lnTo>
                  <a:lnTo>
                    <a:pt x="618" y="243"/>
                  </a:lnTo>
                  <a:lnTo>
                    <a:pt x="614" y="243"/>
                  </a:lnTo>
                  <a:lnTo>
                    <a:pt x="618" y="239"/>
                  </a:lnTo>
                  <a:lnTo>
                    <a:pt x="614" y="239"/>
                  </a:lnTo>
                  <a:lnTo>
                    <a:pt x="614" y="243"/>
                  </a:lnTo>
                  <a:lnTo>
                    <a:pt x="610" y="239"/>
                  </a:lnTo>
                  <a:lnTo>
                    <a:pt x="614" y="239"/>
                  </a:lnTo>
                  <a:lnTo>
                    <a:pt x="610" y="239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22" y="235"/>
                  </a:lnTo>
                  <a:lnTo>
                    <a:pt x="618" y="235"/>
                  </a:lnTo>
                  <a:lnTo>
                    <a:pt x="622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30" y="231"/>
                  </a:lnTo>
                  <a:lnTo>
                    <a:pt x="634" y="231"/>
                  </a:lnTo>
                  <a:lnTo>
                    <a:pt x="638" y="231"/>
                  </a:lnTo>
                  <a:lnTo>
                    <a:pt x="634" y="231"/>
                  </a:lnTo>
                  <a:lnTo>
                    <a:pt x="630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18" y="231"/>
                  </a:lnTo>
                  <a:lnTo>
                    <a:pt x="614" y="231"/>
                  </a:lnTo>
                  <a:lnTo>
                    <a:pt x="610" y="231"/>
                  </a:lnTo>
                  <a:lnTo>
                    <a:pt x="606" y="231"/>
                  </a:lnTo>
                  <a:lnTo>
                    <a:pt x="602" y="231"/>
                  </a:lnTo>
                  <a:lnTo>
                    <a:pt x="598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86" y="235"/>
                  </a:lnTo>
                  <a:lnTo>
                    <a:pt x="582" y="235"/>
                  </a:lnTo>
                  <a:lnTo>
                    <a:pt x="578" y="235"/>
                  </a:lnTo>
                  <a:lnTo>
                    <a:pt x="578" y="231"/>
                  </a:lnTo>
                  <a:lnTo>
                    <a:pt x="582" y="227"/>
                  </a:lnTo>
                  <a:lnTo>
                    <a:pt x="586" y="227"/>
                  </a:lnTo>
                  <a:lnTo>
                    <a:pt x="586" y="231"/>
                  </a:lnTo>
                  <a:lnTo>
                    <a:pt x="590" y="231"/>
                  </a:lnTo>
                  <a:lnTo>
                    <a:pt x="590" y="227"/>
                  </a:lnTo>
                  <a:lnTo>
                    <a:pt x="586" y="227"/>
                  </a:lnTo>
                  <a:lnTo>
                    <a:pt x="586" y="223"/>
                  </a:lnTo>
                  <a:lnTo>
                    <a:pt x="590" y="223"/>
                  </a:lnTo>
                  <a:lnTo>
                    <a:pt x="594" y="223"/>
                  </a:lnTo>
                  <a:lnTo>
                    <a:pt x="598" y="227"/>
                  </a:lnTo>
                  <a:lnTo>
                    <a:pt x="602" y="227"/>
                  </a:lnTo>
                  <a:lnTo>
                    <a:pt x="598" y="227"/>
                  </a:lnTo>
                  <a:lnTo>
                    <a:pt x="598" y="223"/>
                  </a:lnTo>
                  <a:lnTo>
                    <a:pt x="602" y="219"/>
                  </a:lnTo>
                  <a:lnTo>
                    <a:pt x="598" y="219"/>
                  </a:lnTo>
                  <a:lnTo>
                    <a:pt x="594" y="223"/>
                  </a:lnTo>
                  <a:lnTo>
                    <a:pt x="594" y="219"/>
                  </a:lnTo>
                  <a:lnTo>
                    <a:pt x="590" y="219"/>
                  </a:lnTo>
                  <a:lnTo>
                    <a:pt x="594" y="215"/>
                  </a:lnTo>
                  <a:lnTo>
                    <a:pt x="598" y="215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86" y="215"/>
                  </a:lnTo>
                  <a:lnTo>
                    <a:pt x="590" y="215"/>
                  </a:lnTo>
                  <a:lnTo>
                    <a:pt x="590" y="211"/>
                  </a:lnTo>
                  <a:lnTo>
                    <a:pt x="590" y="207"/>
                  </a:lnTo>
                  <a:lnTo>
                    <a:pt x="594" y="207"/>
                  </a:lnTo>
                  <a:lnTo>
                    <a:pt x="598" y="207"/>
                  </a:lnTo>
                  <a:lnTo>
                    <a:pt x="602" y="207"/>
                  </a:lnTo>
                  <a:lnTo>
                    <a:pt x="602" y="211"/>
                  </a:lnTo>
                  <a:lnTo>
                    <a:pt x="606" y="215"/>
                  </a:lnTo>
                  <a:lnTo>
                    <a:pt x="610" y="215"/>
                  </a:lnTo>
                  <a:lnTo>
                    <a:pt x="614" y="219"/>
                  </a:lnTo>
                  <a:lnTo>
                    <a:pt x="618" y="223"/>
                  </a:lnTo>
                  <a:lnTo>
                    <a:pt x="622" y="223"/>
                  </a:lnTo>
                  <a:lnTo>
                    <a:pt x="626" y="223"/>
                  </a:lnTo>
                  <a:lnTo>
                    <a:pt x="630" y="223"/>
                  </a:lnTo>
                  <a:lnTo>
                    <a:pt x="626" y="223"/>
                  </a:lnTo>
                  <a:lnTo>
                    <a:pt x="622" y="223"/>
                  </a:lnTo>
                  <a:lnTo>
                    <a:pt x="618" y="219"/>
                  </a:lnTo>
                  <a:lnTo>
                    <a:pt x="618" y="215"/>
                  </a:lnTo>
                  <a:lnTo>
                    <a:pt x="622" y="215"/>
                  </a:lnTo>
                  <a:lnTo>
                    <a:pt x="626" y="219"/>
                  </a:lnTo>
                  <a:lnTo>
                    <a:pt x="626" y="215"/>
                  </a:lnTo>
                  <a:lnTo>
                    <a:pt x="630" y="215"/>
                  </a:lnTo>
                  <a:lnTo>
                    <a:pt x="626" y="215"/>
                  </a:lnTo>
                  <a:lnTo>
                    <a:pt x="622" y="215"/>
                  </a:lnTo>
                  <a:lnTo>
                    <a:pt x="618" y="215"/>
                  </a:lnTo>
                  <a:lnTo>
                    <a:pt x="614" y="215"/>
                  </a:lnTo>
                  <a:lnTo>
                    <a:pt x="614" y="211"/>
                  </a:lnTo>
                  <a:lnTo>
                    <a:pt x="618" y="211"/>
                  </a:lnTo>
                  <a:lnTo>
                    <a:pt x="622" y="211"/>
                  </a:lnTo>
                  <a:lnTo>
                    <a:pt x="618" y="211"/>
                  </a:lnTo>
                  <a:lnTo>
                    <a:pt x="614" y="211"/>
                  </a:lnTo>
                  <a:lnTo>
                    <a:pt x="610" y="211"/>
                  </a:lnTo>
                  <a:lnTo>
                    <a:pt x="606" y="207"/>
                  </a:lnTo>
                  <a:lnTo>
                    <a:pt x="610" y="203"/>
                  </a:lnTo>
                  <a:lnTo>
                    <a:pt x="614" y="203"/>
                  </a:lnTo>
                  <a:lnTo>
                    <a:pt x="618" y="203"/>
                  </a:lnTo>
                  <a:lnTo>
                    <a:pt x="622" y="203"/>
                  </a:lnTo>
                  <a:lnTo>
                    <a:pt x="626" y="203"/>
                  </a:lnTo>
                  <a:lnTo>
                    <a:pt x="630" y="203"/>
                  </a:lnTo>
                  <a:lnTo>
                    <a:pt x="630" y="207"/>
                  </a:lnTo>
                  <a:lnTo>
                    <a:pt x="634" y="207"/>
                  </a:lnTo>
                  <a:lnTo>
                    <a:pt x="638" y="207"/>
                  </a:lnTo>
                  <a:lnTo>
                    <a:pt x="634" y="207"/>
                  </a:lnTo>
                  <a:lnTo>
                    <a:pt x="634" y="203"/>
                  </a:lnTo>
                  <a:lnTo>
                    <a:pt x="638" y="203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42" y="199"/>
                  </a:lnTo>
                  <a:lnTo>
                    <a:pt x="646" y="199"/>
                  </a:lnTo>
                  <a:lnTo>
                    <a:pt x="646" y="203"/>
                  </a:lnTo>
                  <a:lnTo>
                    <a:pt x="650" y="203"/>
                  </a:lnTo>
                  <a:lnTo>
                    <a:pt x="650" y="207"/>
                  </a:lnTo>
                  <a:lnTo>
                    <a:pt x="654" y="207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8" y="215"/>
                  </a:lnTo>
                  <a:lnTo>
                    <a:pt x="658" y="219"/>
                  </a:lnTo>
                  <a:lnTo>
                    <a:pt x="654" y="223"/>
                  </a:lnTo>
                  <a:lnTo>
                    <a:pt x="658" y="223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0" y="227"/>
                  </a:lnTo>
                  <a:lnTo>
                    <a:pt x="654" y="227"/>
                  </a:lnTo>
                  <a:lnTo>
                    <a:pt x="658" y="231"/>
                  </a:lnTo>
                  <a:lnTo>
                    <a:pt x="658" y="235"/>
                  </a:lnTo>
                  <a:lnTo>
                    <a:pt x="658" y="239"/>
                  </a:lnTo>
                  <a:lnTo>
                    <a:pt x="662" y="239"/>
                  </a:lnTo>
                  <a:lnTo>
                    <a:pt x="658" y="239"/>
                  </a:lnTo>
                  <a:lnTo>
                    <a:pt x="658" y="235"/>
                  </a:lnTo>
                  <a:lnTo>
                    <a:pt x="654" y="235"/>
                  </a:lnTo>
                  <a:lnTo>
                    <a:pt x="650" y="235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46" y="239"/>
                  </a:lnTo>
                  <a:lnTo>
                    <a:pt x="650" y="243"/>
                  </a:lnTo>
                  <a:lnTo>
                    <a:pt x="654" y="243"/>
                  </a:lnTo>
                  <a:lnTo>
                    <a:pt x="654" y="247"/>
                  </a:lnTo>
                  <a:lnTo>
                    <a:pt x="658" y="247"/>
                  </a:lnTo>
                  <a:lnTo>
                    <a:pt x="654" y="247"/>
                  </a:lnTo>
                  <a:lnTo>
                    <a:pt x="650" y="243"/>
                  </a:lnTo>
                  <a:lnTo>
                    <a:pt x="650" y="247"/>
                  </a:lnTo>
                  <a:lnTo>
                    <a:pt x="650" y="251"/>
                  </a:lnTo>
                  <a:lnTo>
                    <a:pt x="646" y="251"/>
                  </a:lnTo>
                  <a:lnTo>
                    <a:pt x="642" y="251"/>
                  </a:lnTo>
                  <a:lnTo>
                    <a:pt x="638" y="251"/>
                  </a:lnTo>
                  <a:lnTo>
                    <a:pt x="634" y="251"/>
                  </a:lnTo>
                  <a:lnTo>
                    <a:pt x="630" y="251"/>
                  </a:lnTo>
                  <a:lnTo>
                    <a:pt x="630" y="247"/>
                  </a:lnTo>
                  <a:lnTo>
                    <a:pt x="626" y="247"/>
                  </a:lnTo>
                  <a:lnTo>
                    <a:pt x="626" y="251"/>
                  </a:lnTo>
                  <a:lnTo>
                    <a:pt x="630" y="251"/>
                  </a:lnTo>
                  <a:lnTo>
                    <a:pt x="626" y="251"/>
                  </a:lnTo>
                  <a:close/>
                  <a:moveTo>
                    <a:pt x="558" y="199"/>
                  </a:moveTo>
                  <a:lnTo>
                    <a:pt x="558" y="203"/>
                  </a:lnTo>
                  <a:lnTo>
                    <a:pt x="562" y="203"/>
                  </a:lnTo>
                  <a:lnTo>
                    <a:pt x="558" y="203"/>
                  </a:lnTo>
                  <a:lnTo>
                    <a:pt x="562" y="203"/>
                  </a:lnTo>
                  <a:lnTo>
                    <a:pt x="566" y="203"/>
                  </a:lnTo>
                  <a:lnTo>
                    <a:pt x="566" y="207"/>
                  </a:lnTo>
                  <a:lnTo>
                    <a:pt x="570" y="207"/>
                  </a:lnTo>
                  <a:lnTo>
                    <a:pt x="574" y="207"/>
                  </a:lnTo>
                  <a:lnTo>
                    <a:pt x="574" y="211"/>
                  </a:lnTo>
                  <a:lnTo>
                    <a:pt x="570" y="211"/>
                  </a:lnTo>
                  <a:lnTo>
                    <a:pt x="566" y="211"/>
                  </a:lnTo>
                  <a:lnTo>
                    <a:pt x="562" y="211"/>
                  </a:lnTo>
                  <a:lnTo>
                    <a:pt x="558" y="211"/>
                  </a:lnTo>
                  <a:lnTo>
                    <a:pt x="554" y="211"/>
                  </a:lnTo>
                  <a:lnTo>
                    <a:pt x="554" y="207"/>
                  </a:lnTo>
                  <a:lnTo>
                    <a:pt x="550" y="207"/>
                  </a:lnTo>
                  <a:lnTo>
                    <a:pt x="550" y="203"/>
                  </a:lnTo>
                  <a:lnTo>
                    <a:pt x="554" y="203"/>
                  </a:lnTo>
                  <a:lnTo>
                    <a:pt x="554" y="199"/>
                  </a:lnTo>
                  <a:lnTo>
                    <a:pt x="558" y="199"/>
                  </a:lnTo>
                  <a:close/>
                  <a:moveTo>
                    <a:pt x="698" y="215"/>
                  </a:moveTo>
                  <a:lnTo>
                    <a:pt x="698" y="219"/>
                  </a:lnTo>
                  <a:lnTo>
                    <a:pt x="694" y="219"/>
                  </a:lnTo>
                  <a:lnTo>
                    <a:pt x="698" y="219"/>
                  </a:lnTo>
                  <a:lnTo>
                    <a:pt x="698" y="215"/>
                  </a:lnTo>
                  <a:close/>
                  <a:moveTo>
                    <a:pt x="355" y="219"/>
                  </a:moveTo>
                  <a:lnTo>
                    <a:pt x="355" y="223"/>
                  </a:lnTo>
                  <a:lnTo>
                    <a:pt x="351" y="223"/>
                  </a:lnTo>
                  <a:lnTo>
                    <a:pt x="347" y="227"/>
                  </a:lnTo>
                  <a:lnTo>
                    <a:pt x="347" y="231"/>
                  </a:lnTo>
                  <a:lnTo>
                    <a:pt x="343" y="231"/>
                  </a:lnTo>
                  <a:lnTo>
                    <a:pt x="343" y="235"/>
                  </a:lnTo>
                  <a:lnTo>
                    <a:pt x="339" y="235"/>
                  </a:lnTo>
                  <a:lnTo>
                    <a:pt x="335" y="235"/>
                  </a:lnTo>
                  <a:lnTo>
                    <a:pt x="331" y="235"/>
                  </a:lnTo>
                  <a:lnTo>
                    <a:pt x="327" y="231"/>
                  </a:lnTo>
                  <a:lnTo>
                    <a:pt x="331" y="231"/>
                  </a:lnTo>
                  <a:lnTo>
                    <a:pt x="331" y="227"/>
                  </a:lnTo>
                  <a:lnTo>
                    <a:pt x="335" y="227"/>
                  </a:lnTo>
                  <a:lnTo>
                    <a:pt x="335" y="223"/>
                  </a:lnTo>
                  <a:lnTo>
                    <a:pt x="339" y="223"/>
                  </a:lnTo>
                  <a:lnTo>
                    <a:pt x="343" y="223"/>
                  </a:lnTo>
                  <a:lnTo>
                    <a:pt x="347" y="223"/>
                  </a:lnTo>
                  <a:lnTo>
                    <a:pt x="347" y="219"/>
                  </a:lnTo>
                  <a:lnTo>
                    <a:pt x="351" y="219"/>
                  </a:lnTo>
                  <a:lnTo>
                    <a:pt x="355" y="219"/>
                  </a:lnTo>
                  <a:close/>
                  <a:moveTo>
                    <a:pt x="586" y="219"/>
                  </a:moveTo>
                  <a:lnTo>
                    <a:pt x="582" y="219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0" y="223"/>
                  </a:lnTo>
                  <a:lnTo>
                    <a:pt x="566" y="223"/>
                  </a:lnTo>
                  <a:lnTo>
                    <a:pt x="562" y="223"/>
                  </a:lnTo>
                  <a:lnTo>
                    <a:pt x="558" y="223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66" y="219"/>
                  </a:lnTo>
                  <a:lnTo>
                    <a:pt x="570" y="219"/>
                  </a:lnTo>
                  <a:lnTo>
                    <a:pt x="574" y="219"/>
                  </a:lnTo>
                  <a:lnTo>
                    <a:pt x="578" y="219"/>
                  </a:lnTo>
                  <a:lnTo>
                    <a:pt x="582" y="219"/>
                  </a:lnTo>
                  <a:lnTo>
                    <a:pt x="586" y="219"/>
                  </a:lnTo>
                  <a:close/>
                  <a:moveTo>
                    <a:pt x="590" y="223"/>
                  </a:moveTo>
                  <a:lnTo>
                    <a:pt x="586" y="223"/>
                  </a:lnTo>
                  <a:lnTo>
                    <a:pt x="582" y="223"/>
                  </a:lnTo>
                  <a:lnTo>
                    <a:pt x="582" y="227"/>
                  </a:lnTo>
                  <a:lnTo>
                    <a:pt x="578" y="227"/>
                  </a:lnTo>
                  <a:lnTo>
                    <a:pt x="574" y="227"/>
                  </a:lnTo>
                  <a:lnTo>
                    <a:pt x="570" y="227"/>
                  </a:lnTo>
                  <a:lnTo>
                    <a:pt x="574" y="223"/>
                  </a:lnTo>
                  <a:lnTo>
                    <a:pt x="578" y="223"/>
                  </a:lnTo>
                  <a:lnTo>
                    <a:pt x="582" y="223"/>
                  </a:lnTo>
                  <a:lnTo>
                    <a:pt x="586" y="223"/>
                  </a:lnTo>
                  <a:lnTo>
                    <a:pt x="586" y="219"/>
                  </a:lnTo>
                  <a:lnTo>
                    <a:pt x="590" y="223"/>
                  </a:lnTo>
                  <a:close/>
                  <a:moveTo>
                    <a:pt x="702" y="223"/>
                  </a:moveTo>
                  <a:lnTo>
                    <a:pt x="706" y="223"/>
                  </a:lnTo>
                  <a:lnTo>
                    <a:pt x="706" y="227"/>
                  </a:lnTo>
                  <a:lnTo>
                    <a:pt x="702" y="227"/>
                  </a:lnTo>
                  <a:lnTo>
                    <a:pt x="698" y="227"/>
                  </a:lnTo>
                  <a:lnTo>
                    <a:pt x="698" y="223"/>
                  </a:lnTo>
                  <a:lnTo>
                    <a:pt x="702" y="223"/>
                  </a:lnTo>
                  <a:lnTo>
                    <a:pt x="702" y="219"/>
                  </a:lnTo>
                  <a:lnTo>
                    <a:pt x="702" y="223"/>
                  </a:lnTo>
                  <a:close/>
                  <a:moveTo>
                    <a:pt x="674" y="227"/>
                  </a:moveTo>
                  <a:lnTo>
                    <a:pt x="670" y="227"/>
                  </a:lnTo>
                  <a:lnTo>
                    <a:pt x="674" y="227"/>
                  </a:lnTo>
                  <a:close/>
                  <a:moveTo>
                    <a:pt x="682" y="231"/>
                  </a:moveTo>
                  <a:lnTo>
                    <a:pt x="682" y="235"/>
                  </a:lnTo>
                  <a:lnTo>
                    <a:pt x="678" y="235"/>
                  </a:lnTo>
                  <a:lnTo>
                    <a:pt x="674" y="235"/>
                  </a:lnTo>
                  <a:lnTo>
                    <a:pt x="670" y="239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70" y="235"/>
                  </a:lnTo>
                  <a:lnTo>
                    <a:pt x="674" y="231"/>
                  </a:lnTo>
                  <a:lnTo>
                    <a:pt x="678" y="231"/>
                  </a:lnTo>
                  <a:lnTo>
                    <a:pt x="682" y="231"/>
                  </a:lnTo>
                  <a:close/>
                  <a:moveTo>
                    <a:pt x="682" y="255"/>
                  </a:moveTo>
                  <a:lnTo>
                    <a:pt x="678" y="251"/>
                  </a:lnTo>
                  <a:lnTo>
                    <a:pt x="674" y="251"/>
                  </a:lnTo>
                  <a:lnTo>
                    <a:pt x="670" y="251"/>
                  </a:lnTo>
                  <a:lnTo>
                    <a:pt x="670" y="247"/>
                  </a:lnTo>
                  <a:lnTo>
                    <a:pt x="674" y="247"/>
                  </a:lnTo>
                  <a:lnTo>
                    <a:pt x="674" y="243"/>
                  </a:lnTo>
                  <a:lnTo>
                    <a:pt x="678" y="243"/>
                  </a:lnTo>
                  <a:lnTo>
                    <a:pt x="682" y="243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86" y="239"/>
                  </a:lnTo>
                  <a:lnTo>
                    <a:pt x="682" y="239"/>
                  </a:lnTo>
                  <a:lnTo>
                    <a:pt x="682" y="235"/>
                  </a:lnTo>
                  <a:lnTo>
                    <a:pt x="686" y="235"/>
                  </a:lnTo>
                  <a:lnTo>
                    <a:pt x="690" y="235"/>
                  </a:lnTo>
                  <a:lnTo>
                    <a:pt x="690" y="231"/>
                  </a:lnTo>
                  <a:lnTo>
                    <a:pt x="694" y="231"/>
                  </a:lnTo>
                  <a:lnTo>
                    <a:pt x="698" y="231"/>
                  </a:lnTo>
                  <a:lnTo>
                    <a:pt x="702" y="231"/>
                  </a:lnTo>
                  <a:lnTo>
                    <a:pt x="706" y="231"/>
                  </a:lnTo>
                  <a:lnTo>
                    <a:pt x="706" y="235"/>
                  </a:lnTo>
                  <a:lnTo>
                    <a:pt x="710" y="235"/>
                  </a:lnTo>
                  <a:lnTo>
                    <a:pt x="710" y="239"/>
                  </a:lnTo>
                  <a:lnTo>
                    <a:pt x="714" y="239"/>
                  </a:lnTo>
                  <a:lnTo>
                    <a:pt x="718" y="243"/>
                  </a:lnTo>
                  <a:lnTo>
                    <a:pt x="718" y="247"/>
                  </a:lnTo>
                  <a:lnTo>
                    <a:pt x="718" y="251"/>
                  </a:lnTo>
                  <a:lnTo>
                    <a:pt x="722" y="255"/>
                  </a:lnTo>
                  <a:lnTo>
                    <a:pt x="718" y="259"/>
                  </a:lnTo>
                  <a:lnTo>
                    <a:pt x="714" y="259"/>
                  </a:lnTo>
                  <a:lnTo>
                    <a:pt x="710" y="259"/>
                  </a:lnTo>
                  <a:lnTo>
                    <a:pt x="706" y="259"/>
                  </a:lnTo>
                  <a:lnTo>
                    <a:pt x="702" y="259"/>
                  </a:lnTo>
                  <a:lnTo>
                    <a:pt x="694" y="259"/>
                  </a:lnTo>
                  <a:lnTo>
                    <a:pt x="690" y="255"/>
                  </a:lnTo>
                  <a:lnTo>
                    <a:pt x="686" y="255"/>
                  </a:lnTo>
                  <a:lnTo>
                    <a:pt x="682" y="255"/>
                  </a:lnTo>
                  <a:close/>
                  <a:moveTo>
                    <a:pt x="558" y="239"/>
                  </a:moveTo>
                  <a:lnTo>
                    <a:pt x="562" y="239"/>
                  </a:lnTo>
                  <a:lnTo>
                    <a:pt x="562" y="243"/>
                  </a:lnTo>
                  <a:lnTo>
                    <a:pt x="566" y="247"/>
                  </a:lnTo>
                  <a:lnTo>
                    <a:pt x="562" y="247"/>
                  </a:lnTo>
                  <a:lnTo>
                    <a:pt x="554" y="251"/>
                  </a:lnTo>
                  <a:lnTo>
                    <a:pt x="550" y="247"/>
                  </a:lnTo>
                  <a:lnTo>
                    <a:pt x="546" y="247"/>
                  </a:lnTo>
                  <a:lnTo>
                    <a:pt x="546" y="243"/>
                  </a:lnTo>
                  <a:lnTo>
                    <a:pt x="550" y="243"/>
                  </a:lnTo>
                  <a:lnTo>
                    <a:pt x="546" y="243"/>
                  </a:lnTo>
                  <a:lnTo>
                    <a:pt x="550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686" y="259"/>
                  </a:moveTo>
                  <a:lnTo>
                    <a:pt x="690" y="259"/>
                  </a:lnTo>
                  <a:lnTo>
                    <a:pt x="690" y="263"/>
                  </a:lnTo>
                  <a:lnTo>
                    <a:pt x="694" y="263"/>
                  </a:lnTo>
                  <a:lnTo>
                    <a:pt x="690" y="263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86" y="259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67"/>
                  </a:lnTo>
                  <a:lnTo>
                    <a:pt x="654" y="267"/>
                  </a:lnTo>
                  <a:lnTo>
                    <a:pt x="654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267" y="355"/>
                  </a:moveTo>
                  <a:lnTo>
                    <a:pt x="263" y="355"/>
                  </a:lnTo>
                  <a:lnTo>
                    <a:pt x="263" y="351"/>
                  </a:lnTo>
                  <a:lnTo>
                    <a:pt x="259" y="347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1" y="343"/>
                  </a:lnTo>
                  <a:lnTo>
                    <a:pt x="247" y="343"/>
                  </a:lnTo>
                  <a:lnTo>
                    <a:pt x="247" y="339"/>
                  </a:lnTo>
                  <a:lnTo>
                    <a:pt x="243" y="339"/>
                  </a:lnTo>
                  <a:lnTo>
                    <a:pt x="239" y="339"/>
                  </a:lnTo>
                  <a:lnTo>
                    <a:pt x="239" y="335"/>
                  </a:lnTo>
                  <a:lnTo>
                    <a:pt x="243" y="339"/>
                  </a:lnTo>
                  <a:lnTo>
                    <a:pt x="243" y="335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1" y="335"/>
                  </a:lnTo>
                  <a:lnTo>
                    <a:pt x="227" y="335"/>
                  </a:lnTo>
                  <a:lnTo>
                    <a:pt x="231" y="335"/>
                  </a:lnTo>
                  <a:lnTo>
                    <a:pt x="231" y="331"/>
                  </a:lnTo>
                  <a:lnTo>
                    <a:pt x="231" y="327"/>
                  </a:lnTo>
                  <a:lnTo>
                    <a:pt x="235" y="327"/>
                  </a:lnTo>
                  <a:lnTo>
                    <a:pt x="235" y="323"/>
                  </a:lnTo>
                  <a:lnTo>
                    <a:pt x="239" y="323"/>
                  </a:lnTo>
                  <a:lnTo>
                    <a:pt x="239" y="319"/>
                  </a:lnTo>
                  <a:lnTo>
                    <a:pt x="243" y="319"/>
                  </a:lnTo>
                  <a:lnTo>
                    <a:pt x="243" y="315"/>
                  </a:lnTo>
                  <a:lnTo>
                    <a:pt x="243" y="311"/>
                  </a:lnTo>
                  <a:lnTo>
                    <a:pt x="247" y="311"/>
                  </a:lnTo>
                  <a:lnTo>
                    <a:pt x="251" y="311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47" y="299"/>
                  </a:lnTo>
                  <a:lnTo>
                    <a:pt x="251" y="299"/>
                  </a:lnTo>
                  <a:lnTo>
                    <a:pt x="251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9" y="287"/>
                  </a:lnTo>
                  <a:lnTo>
                    <a:pt x="259" y="283"/>
                  </a:lnTo>
                  <a:lnTo>
                    <a:pt x="255" y="283"/>
                  </a:lnTo>
                  <a:lnTo>
                    <a:pt x="251" y="279"/>
                  </a:lnTo>
                  <a:lnTo>
                    <a:pt x="251" y="275"/>
                  </a:lnTo>
                  <a:lnTo>
                    <a:pt x="247" y="271"/>
                  </a:lnTo>
                  <a:lnTo>
                    <a:pt x="243" y="271"/>
                  </a:lnTo>
                  <a:lnTo>
                    <a:pt x="247" y="267"/>
                  </a:lnTo>
                  <a:lnTo>
                    <a:pt x="251" y="267"/>
                  </a:lnTo>
                  <a:lnTo>
                    <a:pt x="255" y="267"/>
                  </a:lnTo>
                  <a:lnTo>
                    <a:pt x="259" y="267"/>
                  </a:lnTo>
                  <a:lnTo>
                    <a:pt x="263" y="267"/>
                  </a:lnTo>
                  <a:lnTo>
                    <a:pt x="267" y="267"/>
                  </a:lnTo>
                  <a:lnTo>
                    <a:pt x="271" y="267"/>
                  </a:lnTo>
                  <a:lnTo>
                    <a:pt x="275" y="267"/>
                  </a:lnTo>
                  <a:lnTo>
                    <a:pt x="279" y="267"/>
                  </a:lnTo>
                  <a:lnTo>
                    <a:pt x="283" y="267"/>
                  </a:lnTo>
                  <a:lnTo>
                    <a:pt x="287" y="263"/>
                  </a:lnTo>
                  <a:lnTo>
                    <a:pt x="291" y="263"/>
                  </a:lnTo>
                  <a:lnTo>
                    <a:pt x="295" y="263"/>
                  </a:lnTo>
                  <a:lnTo>
                    <a:pt x="299" y="263"/>
                  </a:lnTo>
                  <a:lnTo>
                    <a:pt x="303" y="263"/>
                  </a:lnTo>
                  <a:lnTo>
                    <a:pt x="303" y="267"/>
                  </a:lnTo>
                  <a:lnTo>
                    <a:pt x="307" y="267"/>
                  </a:lnTo>
                  <a:lnTo>
                    <a:pt x="311" y="271"/>
                  </a:lnTo>
                  <a:lnTo>
                    <a:pt x="315" y="271"/>
                  </a:lnTo>
                  <a:lnTo>
                    <a:pt x="319" y="271"/>
                  </a:lnTo>
                  <a:lnTo>
                    <a:pt x="323" y="271"/>
                  </a:lnTo>
                  <a:lnTo>
                    <a:pt x="323" y="275"/>
                  </a:lnTo>
                  <a:lnTo>
                    <a:pt x="319" y="275"/>
                  </a:lnTo>
                  <a:lnTo>
                    <a:pt x="319" y="279"/>
                  </a:lnTo>
                  <a:lnTo>
                    <a:pt x="323" y="279"/>
                  </a:lnTo>
                  <a:lnTo>
                    <a:pt x="323" y="275"/>
                  </a:lnTo>
                  <a:lnTo>
                    <a:pt x="327" y="271"/>
                  </a:lnTo>
                  <a:lnTo>
                    <a:pt x="331" y="271"/>
                  </a:lnTo>
                  <a:lnTo>
                    <a:pt x="331" y="275"/>
                  </a:lnTo>
                  <a:lnTo>
                    <a:pt x="331" y="279"/>
                  </a:lnTo>
                  <a:lnTo>
                    <a:pt x="335" y="279"/>
                  </a:lnTo>
                  <a:lnTo>
                    <a:pt x="335" y="275"/>
                  </a:lnTo>
                  <a:lnTo>
                    <a:pt x="335" y="271"/>
                  </a:lnTo>
                  <a:lnTo>
                    <a:pt x="339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9" y="275"/>
                  </a:lnTo>
                  <a:lnTo>
                    <a:pt x="367" y="275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7" y="295"/>
                  </a:lnTo>
                  <a:lnTo>
                    <a:pt x="383" y="295"/>
                  </a:lnTo>
                  <a:lnTo>
                    <a:pt x="379" y="299"/>
                  </a:lnTo>
                  <a:lnTo>
                    <a:pt x="375" y="299"/>
                  </a:lnTo>
                  <a:lnTo>
                    <a:pt x="371" y="299"/>
                  </a:lnTo>
                  <a:lnTo>
                    <a:pt x="367" y="303"/>
                  </a:lnTo>
                  <a:lnTo>
                    <a:pt x="363" y="303"/>
                  </a:lnTo>
                  <a:lnTo>
                    <a:pt x="359" y="303"/>
                  </a:lnTo>
                  <a:lnTo>
                    <a:pt x="359" y="307"/>
                  </a:lnTo>
                  <a:lnTo>
                    <a:pt x="355" y="307"/>
                  </a:lnTo>
                  <a:lnTo>
                    <a:pt x="351" y="307"/>
                  </a:lnTo>
                  <a:lnTo>
                    <a:pt x="351" y="311"/>
                  </a:lnTo>
                  <a:lnTo>
                    <a:pt x="347" y="311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5" y="315"/>
                  </a:lnTo>
                  <a:lnTo>
                    <a:pt x="331" y="319"/>
                  </a:lnTo>
                  <a:lnTo>
                    <a:pt x="327" y="323"/>
                  </a:lnTo>
                  <a:lnTo>
                    <a:pt x="327" y="327"/>
                  </a:lnTo>
                  <a:lnTo>
                    <a:pt x="323" y="327"/>
                  </a:lnTo>
                  <a:lnTo>
                    <a:pt x="323" y="331"/>
                  </a:lnTo>
                  <a:lnTo>
                    <a:pt x="319" y="331"/>
                  </a:lnTo>
                  <a:lnTo>
                    <a:pt x="315" y="327"/>
                  </a:lnTo>
                  <a:lnTo>
                    <a:pt x="315" y="331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9"/>
                  </a:lnTo>
                  <a:lnTo>
                    <a:pt x="311" y="343"/>
                  </a:lnTo>
                  <a:lnTo>
                    <a:pt x="311" y="347"/>
                  </a:lnTo>
                  <a:lnTo>
                    <a:pt x="307" y="351"/>
                  </a:lnTo>
                  <a:lnTo>
                    <a:pt x="303" y="351"/>
                  </a:lnTo>
                  <a:lnTo>
                    <a:pt x="299" y="351"/>
                  </a:lnTo>
                  <a:lnTo>
                    <a:pt x="295" y="351"/>
                  </a:lnTo>
                  <a:lnTo>
                    <a:pt x="291" y="351"/>
                  </a:lnTo>
                  <a:lnTo>
                    <a:pt x="287" y="351"/>
                  </a:lnTo>
                  <a:lnTo>
                    <a:pt x="287" y="355"/>
                  </a:lnTo>
                  <a:lnTo>
                    <a:pt x="283" y="355"/>
                  </a:lnTo>
                  <a:lnTo>
                    <a:pt x="283" y="359"/>
                  </a:lnTo>
                  <a:lnTo>
                    <a:pt x="279" y="359"/>
                  </a:lnTo>
                  <a:lnTo>
                    <a:pt x="275" y="359"/>
                  </a:lnTo>
                  <a:lnTo>
                    <a:pt x="275" y="363"/>
                  </a:lnTo>
                  <a:lnTo>
                    <a:pt x="271" y="363"/>
                  </a:lnTo>
                  <a:lnTo>
                    <a:pt x="271" y="359"/>
                  </a:lnTo>
                  <a:lnTo>
                    <a:pt x="267" y="359"/>
                  </a:lnTo>
                  <a:lnTo>
                    <a:pt x="267" y="355"/>
                  </a:lnTo>
                  <a:close/>
                  <a:moveTo>
                    <a:pt x="754" y="299"/>
                  </a:moveTo>
                  <a:lnTo>
                    <a:pt x="750" y="303"/>
                  </a:lnTo>
                  <a:lnTo>
                    <a:pt x="750" y="307"/>
                  </a:lnTo>
                  <a:lnTo>
                    <a:pt x="746" y="307"/>
                  </a:lnTo>
                  <a:lnTo>
                    <a:pt x="746" y="311"/>
                  </a:lnTo>
                  <a:lnTo>
                    <a:pt x="742" y="311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2" y="315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10" y="315"/>
                  </a:lnTo>
                  <a:lnTo>
                    <a:pt x="714" y="315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18" y="323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10" y="335"/>
                  </a:lnTo>
                  <a:lnTo>
                    <a:pt x="706" y="335"/>
                  </a:lnTo>
                  <a:lnTo>
                    <a:pt x="698" y="335"/>
                  </a:lnTo>
                  <a:lnTo>
                    <a:pt x="694" y="335"/>
                  </a:lnTo>
                  <a:lnTo>
                    <a:pt x="694" y="331"/>
                  </a:lnTo>
                  <a:lnTo>
                    <a:pt x="698" y="331"/>
                  </a:lnTo>
                  <a:lnTo>
                    <a:pt x="694" y="331"/>
                  </a:lnTo>
                  <a:lnTo>
                    <a:pt x="694" y="327"/>
                  </a:lnTo>
                  <a:lnTo>
                    <a:pt x="694" y="323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90" y="315"/>
                  </a:lnTo>
                  <a:lnTo>
                    <a:pt x="686" y="315"/>
                  </a:lnTo>
                  <a:lnTo>
                    <a:pt x="686" y="311"/>
                  </a:lnTo>
                  <a:lnTo>
                    <a:pt x="686" y="307"/>
                  </a:lnTo>
                  <a:lnTo>
                    <a:pt x="686" y="303"/>
                  </a:lnTo>
                  <a:lnTo>
                    <a:pt x="686" y="299"/>
                  </a:lnTo>
                  <a:lnTo>
                    <a:pt x="686" y="295"/>
                  </a:lnTo>
                  <a:lnTo>
                    <a:pt x="686" y="291"/>
                  </a:lnTo>
                  <a:lnTo>
                    <a:pt x="686" y="287"/>
                  </a:lnTo>
                  <a:lnTo>
                    <a:pt x="690" y="287"/>
                  </a:lnTo>
                  <a:lnTo>
                    <a:pt x="694" y="287"/>
                  </a:lnTo>
                  <a:lnTo>
                    <a:pt x="698" y="287"/>
                  </a:lnTo>
                  <a:lnTo>
                    <a:pt x="702" y="287"/>
                  </a:lnTo>
                  <a:lnTo>
                    <a:pt x="698" y="287"/>
                  </a:lnTo>
                  <a:lnTo>
                    <a:pt x="694" y="287"/>
                  </a:lnTo>
                  <a:lnTo>
                    <a:pt x="694" y="283"/>
                  </a:lnTo>
                  <a:lnTo>
                    <a:pt x="698" y="283"/>
                  </a:lnTo>
                  <a:lnTo>
                    <a:pt x="694" y="283"/>
                  </a:lnTo>
                  <a:lnTo>
                    <a:pt x="690" y="283"/>
                  </a:lnTo>
                  <a:lnTo>
                    <a:pt x="690" y="279"/>
                  </a:lnTo>
                  <a:lnTo>
                    <a:pt x="694" y="279"/>
                  </a:lnTo>
                  <a:lnTo>
                    <a:pt x="698" y="279"/>
                  </a:lnTo>
                  <a:lnTo>
                    <a:pt x="698" y="275"/>
                  </a:lnTo>
                  <a:lnTo>
                    <a:pt x="702" y="275"/>
                  </a:lnTo>
                  <a:lnTo>
                    <a:pt x="706" y="275"/>
                  </a:lnTo>
                  <a:lnTo>
                    <a:pt x="710" y="275"/>
                  </a:lnTo>
                  <a:lnTo>
                    <a:pt x="714" y="275"/>
                  </a:lnTo>
                  <a:lnTo>
                    <a:pt x="718" y="275"/>
                  </a:lnTo>
                  <a:lnTo>
                    <a:pt x="722" y="275"/>
                  </a:lnTo>
                  <a:lnTo>
                    <a:pt x="726" y="275"/>
                  </a:lnTo>
                  <a:lnTo>
                    <a:pt x="730" y="275"/>
                  </a:lnTo>
                  <a:lnTo>
                    <a:pt x="734" y="279"/>
                  </a:lnTo>
                  <a:lnTo>
                    <a:pt x="738" y="279"/>
                  </a:lnTo>
                  <a:lnTo>
                    <a:pt x="742" y="279"/>
                  </a:lnTo>
                  <a:lnTo>
                    <a:pt x="750" y="279"/>
                  </a:lnTo>
                  <a:lnTo>
                    <a:pt x="754" y="279"/>
                  </a:lnTo>
                  <a:lnTo>
                    <a:pt x="762" y="279"/>
                  </a:lnTo>
                  <a:lnTo>
                    <a:pt x="766" y="283"/>
                  </a:lnTo>
                  <a:lnTo>
                    <a:pt x="766" y="279"/>
                  </a:lnTo>
                  <a:lnTo>
                    <a:pt x="770" y="283"/>
                  </a:lnTo>
                  <a:lnTo>
                    <a:pt x="766" y="283"/>
                  </a:lnTo>
                  <a:lnTo>
                    <a:pt x="766" y="287"/>
                  </a:lnTo>
                  <a:lnTo>
                    <a:pt x="762" y="287"/>
                  </a:lnTo>
                  <a:lnTo>
                    <a:pt x="762" y="291"/>
                  </a:lnTo>
                  <a:lnTo>
                    <a:pt x="758" y="291"/>
                  </a:lnTo>
                  <a:lnTo>
                    <a:pt x="758" y="295"/>
                  </a:lnTo>
                  <a:lnTo>
                    <a:pt x="754" y="295"/>
                  </a:lnTo>
                  <a:lnTo>
                    <a:pt x="754" y="299"/>
                  </a:lnTo>
                  <a:close/>
                  <a:moveTo>
                    <a:pt x="770" y="279"/>
                  </a:moveTo>
                  <a:lnTo>
                    <a:pt x="766" y="279"/>
                  </a:lnTo>
                  <a:lnTo>
                    <a:pt x="770" y="279"/>
                  </a:lnTo>
                  <a:lnTo>
                    <a:pt x="770" y="275"/>
                  </a:lnTo>
                  <a:lnTo>
                    <a:pt x="774" y="275"/>
                  </a:lnTo>
                  <a:lnTo>
                    <a:pt x="774" y="279"/>
                  </a:lnTo>
                  <a:lnTo>
                    <a:pt x="770" y="279"/>
                  </a:lnTo>
                  <a:close/>
                  <a:moveTo>
                    <a:pt x="662" y="295"/>
                  </a:moveTo>
                  <a:lnTo>
                    <a:pt x="662" y="299"/>
                  </a:lnTo>
                  <a:lnTo>
                    <a:pt x="658" y="299"/>
                  </a:lnTo>
                  <a:lnTo>
                    <a:pt x="654" y="299"/>
                  </a:lnTo>
                  <a:lnTo>
                    <a:pt x="650" y="303"/>
                  </a:lnTo>
                  <a:lnTo>
                    <a:pt x="646" y="303"/>
                  </a:lnTo>
                  <a:lnTo>
                    <a:pt x="646" y="307"/>
                  </a:lnTo>
                  <a:lnTo>
                    <a:pt x="642" y="307"/>
                  </a:lnTo>
                  <a:lnTo>
                    <a:pt x="642" y="311"/>
                  </a:lnTo>
                  <a:lnTo>
                    <a:pt x="646" y="311"/>
                  </a:lnTo>
                  <a:lnTo>
                    <a:pt x="646" y="307"/>
                  </a:lnTo>
                  <a:lnTo>
                    <a:pt x="650" y="307"/>
                  </a:lnTo>
                  <a:lnTo>
                    <a:pt x="654" y="307"/>
                  </a:lnTo>
                  <a:lnTo>
                    <a:pt x="658" y="307"/>
                  </a:lnTo>
                  <a:lnTo>
                    <a:pt x="662" y="307"/>
                  </a:lnTo>
                  <a:lnTo>
                    <a:pt x="662" y="311"/>
                  </a:lnTo>
                  <a:lnTo>
                    <a:pt x="666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15"/>
                  </a:lnTo>
                  <a:lnTo>
                    <a:pt x="670" y="315"/>
                  </a:lnTo>
                  <a:lnTo>
                    <a:pt x="674" y="315"/>
                  </a:lnTo>
                  <a:lnTo>
                    <a:pt x="674" y="319"/>
                  </a:lnTo>
                  <a:lnTo>
                    <a:pt x="674" y="323"/>
                  </a:lnTo>
                  <a:lnTo>
                    <a:pt x="678" y="323"/>
                  </a:lnTo>
                  <a:lnTo>
                    <a:pt x="674" y="327"/>
                  </a:lnTo>
                  <a:lnTo>
                    <a:pt x="670" y="327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4" y="331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66" y="335"/>
                  </a:lnTo>
                  <a:lnTo>
                    <a:pt x="670" y="335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43"/>
                  </a:lnTo>
                  <a:lnTo>
                    <a:pt x="662" y="343"/>
                  </a:lnTo>
                  <a:lnTo>
                    <a:pt x="658" y="347"/>
                  </a:lnTo>
                  <a:lnTo>
                    <a:pt x="654" y="347"/>
                  </a:lnTo>
                  <a:lnTo>
                    <a:pt x="650" y="343"/>
                  </a:lnTo>
                  <a:lnTo>
                    <a:pt x="650" y="347"/>
                  </a:lnTo>
                  <a:lnTo>
                    <a:pt x="646" y="347"/>
                  </a:lnTo>
                  <a:lnTo>
                    <a:pt x="646" y="343"/>
                  </a:lnTo>
                  <a:lnTo>
                    <a:pt x="646" y="339"/>
                  </a:lnTo>
                  <a:lnTo>
                    <a:pt x="642" y="343"/>
                  </a:lnTo>
                  <a:lnTo>
                    <a:pt x="646" y="347"/>
                  </a:lnTo>
                  <a:lnTo>
                    <a:pt x="650" y="347"/>
                  </a:lnTo>
                  <a:lnTo>
                    <a:pt x="650" y="351"/>
                  </a:lnTo>
                  <a:lnTo>
                    <a:pt x="646" y="351"/>
                  </a:lnTo>
                  <a:lnTo>
                    <a:pt x="642" y="355"/>
                  </a:lnTo>
                  <a:lnTo>
                    <a:pt x="638" y="355"/>
                  </a:lnTo>
                  <a:lnTo>
                    <a:pt x="634" y="351"/>
                  </a:lnTo>
                  <a:lnTo>
                    <a:pt x="634" y="355"/>
                  </a:lnTo>
                  <a:lnTo>
                    <a:pt x="630" y="355"/>
                  </a:lnTo>
                  <a:lnTo>
                    <a:pt x="630" y="351"/>
                  </a:lnTo>
                  <a:lnTo>
                    <a:pt x="630" y="347"/>
                  </a:lnTo>
                  <a:lnTo>
                    <a:pt x="626" y="347"/>
                  </a:lnTo>
                  <a:lnTo>
                    <a:pt x="626" y="343"/>
                  </a:lnTo>
                  <a:lnTo>
                    <a:pt x="622" y="339"/>
                  </a:lnTo>
                  <a:lnTo>
                    <a:pt x="618" y="339"/>
                  </a:lnTo>
                  <a:lnTo>
                    <a:pt x="614" y="335"/>
                  </a:lnTo>
                  <a:lnTo>
                    <a:pt x="610" y="331"/>
                  </a:lnTo>
                  <a:lnTo>
                    <a:pt x="606" y="331"/>
                  </a:lnTo>
                  <a:lnTo>
                    <a:pt x="606" y="327"/>
                  </a:lnTo>
                  <a:lnTo>
                    <a:pt x="602" y="327"/>
                  </a:lnTo>
                  <a:lnTo>
                    <a:pt x="598" y="327"/>
                  </a:lnTo>
                  <a:lnTo>
                    <a:pt x="594" y="327"/>
                  </a:lnTo>
                  <a:lnTo>
                    <a:pt x="590" y="327"/>
                  </a:lnTo>
                  <a:lnTo>
                    <a:pt x="590" y="323"/>
                  </a:lnTo>
                  <a:lnTo>
                    <a:pt x="590" y="319"/>
                  </a:lnTo>
                  <a:lnTo>
                    <a:pt x="586" y="319"/>
                  </a:lnTo>
                  <a:lnTo>
                    <a:pt x="582" y="319"/>
                  </a:lnTo>
                  <a:lnTo>
                    <a:pt x="582" y="315"/>
                  </a:lnTo>
                  <a:lnTo>
                    <a:pt x="578" y="315"/>
                  </a:lnTo>
                  <a:lnTo>
                    <a:pt x="578" y="311"/>
                  </a:lnTo>
                  <a:lnTo>
                    <a:pt x="582" y="311"/>
                  </a:lnTo>
                  <a:lnTo>
                    <a:pt x="582" y="307"/>
                  </a:lnTo>
                  <a:lnTo>
                    <a:pt x="586" y="307"/>
                  </a:lnTo>
                  <a:lnTo>
                    <a:pt x="586" y="303"/>
                  </a:lnTo>
                  <a:lnTo>
                    <a:pt x="590" y="303"/>
                  </a:lnTo>
                  <a:lnTo>
                    <a:pt x="590" y="307"/>
                  </a:lnTo>
                  <a:lnTo>
                    <a:pt x="594" y="307"/>
                  </a:lnTo>
                  <a:lnTo>
                    <a:pt x="594" y="311"/>
                  </a:lnTo>
                  <a:lnTo>
                    <a:pt x="598" y="311"/>
                  </a:lnTo>
                  <a:lnTo>
                    <a:pt x="598" y="315"/>
                  </a:lnTo>
                  <a:lnTo>
                    <a:pt x="602" y="315"/>
                  </a:lnTo>
                  <a:lnTo>
                    <a:pt x="606" y="315"/>
                  </a:lnTo>
                  <a:lnTo>
                    <a:pt x="610" y="315"/>
                  </a:lnTo>
                  <a:lnTo>
                    <a:pt x="614" y="315"/>
                  </a:lnTo>
                  <a:lnTo>
                    <a:pt x="614" y="311"/>
                  </a:lnTo>
                  <a:lnTo>
                    <a:pt x="614" y="307"/>
                  </a:lnTo>
                  <a:lnTo>
                    <a:pt x="614" y="311"/>
                  </a:lnTo>
                  <a:lnTo>
                    <a:pt x="618" y="311"/>
                  </a:lnTo>
                  <a:lnTo>
                    <a:pt x="618" y="307"/>
                  </a:lnTo>
                  <a:lnTo>
                    <a:pt x="618" y="303"/>
                  </a:lnTo>
                  <a:lnTo>
                    <a:pt x="614" y="303"/>
                  </a:lnTo>
                  <a:lnTo>
                    <a:pt x="610" y="303"/>
                  </a:lnTo>
                  <a:lnTo>
                    <a:pt x="614" y="299"/>
                  </a:lnTo>
                  <a:lnTo>
                    <a:pt x="618" y="303"/>
                  </a:lnTo>
                  <a:lnTo>
                    <a:pt x="622" y="303"/>
                  </a:lnTo>
                  <a:lnTo>
                    <a:pt x="618" y="299"/>
                  </a:lnTo>
                  <a:lnTo>
                    <a:pt x="614" y="299"/>
                  </a:lnTo>
                  <a:lnTo>
                    <a:pt x="614" y="295"/>
                  </a:lnTo>
                  <a:lnTo>
                    <a:pt x="614" y="299"/>
                  </a:lnTo>
                  <a:lnTo>
                    <a:pt x="610" y="299"/>
                  </a:lnTo>
                  <a:lnTo>
                    <a:pt x="606" y="299"/>
                  </a:lnTo>
                  <a:lnTo>
                    <a:pt x="602" y="295"/>
                  </a:lnTo>
                  <a:lnTo>
                    <a:pt x="598" y="295"/>
                  </a:lnTo>
                  <a:lnTo>
                    <a:pt x="594" y="295"/>
                  </a:lnTo>
                  <a:lnTo>
                    <a:pt x="598" y="291"/>
                  </a:lnTo>
                  <a:lnTo>
                    <a:pt x="602" y="291"/>
                  </a:lnTo>
                  <a:lnTo>
                    <a:pt x="606" y="291"/>
                  </a:lnTo>
                  <a:lnTo>
                    <a:pt x="610" y="291"/>
                  </a:lnTo>
                  <a:lnTo>
                    <a:pt x="610" y="295"/>
                  </a:lnTo>
                  <a:lnTo>
                    <a:pt x="614" y="295"/>
                  </a:lnTo>
                  <a:lnTo>
                    <a:pt x="610" y="295"/>
                  </a:lnTo>
                  <a:lnTo>
                    <a:pt x="610" y="291"/>
                  </a:lnTo>
                  <a:lnTo>
                    <a:pt x="606" y="291"/>
                  </a:lnTo>
                  <a:lnTo>
                    <a:pt x="606" y="287"/>
                  </a:lnTo>
                  <a:lnTo>
                    <a:pt x="602" y="287"/>
                  </a:lnTo>
                  <a:lnTo>
                    <a:pt x="606" y="283"/>
                  </a:lnTo>
                  <a:lnTo>
                    <a:pt x="610" y="283"/>
                  </a:lnTo>
                  <a:lnTo>
                    <a:pt x="614" y="283"/>
                  </a:lnTo>
                  <a:lnTo>
                    <a:pt x="618" y="287"/>
                  </a:lnTo>
                  <a:lnTo>
                    <a:pt x="622" y="283"/>
                  </a:lnTo>
                  <a:lnTo>
                    <a:pt x="618" y="283"/>
                  </a:lnTo>
                  <a:lnTo>
                    <a:pt x="614" y="283"/>
                  </a:lnTo>
                  <a:lnTo>
                    <a:pt x="618" y="283"/>
                  </a:lnTo>
                  <a:lnTo>
                    <a:pt x="618" y="279"/>
                  </a:lnTo>
                  <a:lnTo>
                    <a:pt x="622" y="279"/>
                  </a:lnTo>
                  <a:lnTo>
                    <a:pt x="622" y="283"/>
                  </a:lnTo>
                  <a:lnTo>
                    <a:pt x="626" y="283"/>
                  </a:lnTo>
                  <a:lnTo>
                    <a:pt x="630" y="287"/>
                  </a:lnTo>
                  <a:lnTo>
                    <a:pt x="634" y="287"/>
                  </a:lnTo>
                  <a:lnTo>
                    <a:pt x="638" y="287"/>
                  </a:lnTo>
                  <a:lnTo>
                    <a:pt x="642" y="287"/>
                  </a:lnTo>
                  <a:lnTo>
                    <a:pt x="642" y="283"/>
                  </a:lnTo>
                  <a:lnTo>
                    <a:pt x="646" y="283"/>
                  </a:lnTo>
                  <a:lnTo>
                    <a:pt x="650" y="283"/>
                  </a:lnTo>
                  <a:lnTo>
                    <a:pt x="654" y="283"/>
                  </a:lnTo>
                  <a:lnTo>
                    <a:pt x="658" y="283"/>
                  </a:lnTo>
                  <a:lnTo>
                    <a:pt x="662" y="283"/>
                  </a:lnTo>
                  <a:lnTo>
                    <a:pt x="666" y="287"/>
                  </a:lnTo>
                  <a:lnTo>
                    <a:pt x="666" y="291"/>
                  </a:lnTo>
                  <a:lnTo>
                    <a:pt x="662" y="291"/>
                  </a:lnTo>
                  <a:lnTo>
                    <a:pt x="658" y="291"/>
                  </a:lnTo>
                  <a:lnTo>
                    <a:pt x="654" y="295"/>
                  </a:lnTo>
                  <a:lnTo>
                    <a:pt x="658" y="295"/>
                  </a:lnTo>
                  <a:lnTo>
                    <a:pt x="662" y="295"/>
                  </a:lnTo>
                  <a:close/>
                  <a:moveTo>
                    <a:pt x="1073" y="579"/>
                  </a:moveTo>
                  <a:lnTo>
                    <a:pt x="1069" y="579"/>
                  </a:lnTo>
                  <a:lnTo>
                    <a:pt x="1065" y="579"/>
                  </a:lnTo>
                  <a:lnTo>
                    <a:pt x="1061" y="575"/>
                  </a:lnTo>
                  <a:lnTo>
                    <a:pt x="1057" y="575"/>
                  </a:lnTo>
                  <a:lnTo>
                    <a:pt x="1061" y="575"/>
                  </a:lnTo>
                  <a:lnTo>
                    <a:pt x="1061" y="571"/>
                  </a:lnTo>
                  <a:lnTo>
                    <a:pt x="1057" y="571"/>
                  </a:lnTo>
                  <a:lnTo>
                    <a:pt x="1057" y="575"/>
                  </a:lnTo>
                  <a:lnTo>
                    <a:pt x="1053" y="571"/>
                  </a:lnTo>
                  <a:lnTo>
                    <a:pt x="1049" y="571"/>
                  </a:lnTo>
                  <a:lnTo>
                    <a:pt x="1049" y="567"/>
                  </a:lnTo>
                  <a:lnTo>
                    <a:pt x="1049" y="563"/>
                  </a:lnTo>
                  <a:lnTo>
                    <a:pt x="1045" y="563"/>
                  </a:lnTo>
                  <a:lnTo>
                    <a:pt x="1041" y="563"/>
                  </a:lnTo>
                  <a:lnTo>
                    <a:pt x="1045" y="563"/>
                  </a:lnTo>
                  <a:lnTo>
                    <a:pt x="1049" y="563"/>
                  </a:lnTo>
                  <a:lnTo>
                    <a:pt x="1053" y="563"/>
                  </a:lnTo>
                  <a:lnTo>
                    <a:pt x="1053" y="559"/>
                  </a:lnTo>
                  <a:lnTo>
                    <a:pt x="1057" y="559"/>
                  </a:lnTo>
                  <a:lnTo>
                    <a:pt x="1053" y="559"/>
                  </a:lnTo>
                  <a:lnTo>
                    <a:pt x="1049" y="559"/>
                  </a:lnTo>
                  <a:lnTo>
                    <a:pt x="1049" y="555"/>
                  </a:lnTo>
                  <a:lnTo>
                    <a:pt x="1045" y="555"/>
                  </a:lnTo>
                  <a:lnTo>
                    <a:pt x="1045" y="559"/>
                  </a:lnTo>
                  <a:lnTo>
                    <a:pt x="1041" y="555"/>
                  </a:lnTo>
                  <a:lnTo>
                    <a:pt x="1041" y="559"/>
                  </a:lnTo>
                  <a:lnTo>
                    <a:pt x="1037" y="555"/>
                  </a:lnTo>
                  <a:lnTo>
                    <a:pt x="1041" y="555"/>
                  </a:lnTo>
                  <a:lnTo>
                    <a:pt x="1041" y="551"/>
                  </a:lnTo>
                  <a:lnTo>
                    <a:pt x="1037" y="551"/>
                  </a:lnTo>
                  <a:lnTo>
                    <a:pt x="1037" y="555"/>
                  </a:lnTo>
                  <a:lnTo>
                    <a:pt x="1037" y="551"/>
                  </a:lnTo>
                  <a:lnTo>
                    <a:pt x="1033" y="551"/>
                  </a:lnTo>
                  <a:lnTo>
                    <a:pt x="1037" y="547"/>
                  </a:lnTo>
                  <a:lnTo>
                    <a:pt x="1033" y="547"/>
                  </a:lnTo>
                  <a:lnTo>
                    <a:pt x="1033" y="551"/>
                  </a:lnTo>
                  <a:lnTo>
                    <a:pt x="1033" y="547"/>
                  </a:lnTo>
                  <a:lnTo>
                    <a:pt x="1029" y="547"/>
                  </a:lnTo>
                  <a:lnTo>
                    <a:pt x="1029" y="543"/>
                  </a:lnTo>
                  <a:lnTo>
                    <a:pt x="1025" y="543"/>
                  </a:lnTo>
                  <a:lnTo>
                    <a:pt x="1021" y="539"/>
                  </a:lnTo>
                  <a:lnTo>
                    <a:pt x="1025" y="535"/>
                  </a:lnTo>
                  <a:lnTo>
                    <a:pt x="1025" y="531"/>
                  </a:lnTo>
                  <a:lnTo>
                    <a:pt x="1025" y="535"/>
                  </a:lnTo>
                  <a:lnTo>
                    <a:pt x="1021" y="535"/>
                  </a:lnTo>
                  <a:lnTo>
                    <a:pt x="1021" y="531"/>
                  </a:lnTo>
                  <a:lnTo>
                    <a:pt x="1017" y="531"/>
                  </a:lnTo>
                  <a:lnTo>
                    <a:pt x="1017" y="535"/>
                  </a:lnTo>
                  <a:lnTo>
                    <a:pt x="1013" y="535"/>
                  </a:lnTo>
                  <a:lnTo>
                    <a:pt x="1017" y="535"/>
                  </a:lnTo>
                  <a:lnTo>
                    <a:pt x="1013" y="539"/>
                  </a:lnTo>
                  <a:lnTo>
                    <a:pt x="1013" y="535"/>
                  </a:lnTo>
                  <a:lnTo>
                    <a:pt x="1013" y="531"/>
                  </a:lnTo>
                  <a:lnTo>
                    <a:pt x="1009" y="531"/>
                  </a:lnTo>
                  <a:lnTo>
                    <a:pt x="1009" y="535"/>
                  </a:lnTo>
                  <a:lnTo>
                    <a:pt x="1005" y="535"/>
                  </a:lnTo>
                  <a:lnTo>
                    <a:pt x="1005" y="531"/>
                  </a:lnTo>
                  <a:lnTo>
                    <a:pt x="1005" y="527"/>
                  </a:lnTo>
                  <a:lnTo>
                    <a:pt x="1001" y="527"/>
                  </a:lnTo>
                  <a:lnTo>
                    <a:pt x="1001" y="531"/>
                  </a:lnTo>
                  <a:lnTo>
                    <a:pt x="1001" y="527"/>
                  </a:lnTo>
                  <a:lnTo>
                    <a:pt x="997" y="527"/>
                  </a:lnTo>
                  <a:lnTo>
                    <a:pt x="1001" y="531"/>
                  </a:lnTo>
                  <a:lnTo>
                    <a:pt x="1005" y="531"/>
                  </a:lnTo>
                  <a:lnTo>
                    <a:pt x="1005" y="535"/>
                  </a:lnTo>
                  <a:lnTo>
                    <a:pt x="1005" y="539"/>
                  </a:lnTo>
                  <a:lnTo>
                    <a:pt x="1001" y="539"/>
                  </a:lnTo>
                  <a:lnTo>
                    <a:pt x="997" y="539"/>
                  </a:lnTo>
                  <a:lnTo>
                    <a:pt x="997" y="535"/>
                  </a:lnTo>
                  <a:lnTo>
                    <a:pt x="997" y="539"/>
                  </a:lnTo>
                  <a:lnTo>
                    <a:pt x="993" y="539"/>
                  </a:lnTo>
                  <a:lnTo>
                    <a:pt x="993" y="535"/>
                  </a:lnTo>
                  <a:lnTo>
                    <a:pt x="989" y="535"/>
                  </a:lnTo>
                  <a:lnTo>
                    <a:pt x="985" y="535"/>
                  </a:lnTo>
                  <a:lnTo>
                    <a:pt x="989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5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1" y="539"/>
                  </a:lnTo>
                  <a:lnTo>
                    <a:pt x="981" y="543"/>
                  </a:lnTo>
                  <a:lnTo>
                    <a:pt x="977" y="543"/>
                  </a:lnTo>
                  <a:lnTo>
                    <a:pt x="973" y="543"/>
                  </a:lnTo>
                  <a:lnTo>
                    <a:pt x="969" y="543"/>
                  </a:lnTo>
                  <a:lnTo>
                    <a:pt x="965" y="543"/>
                  </a:lnTo>
                  <a:lnTo>
                    <a:pt x="961" y="543"/>
                  </a:lnTo>
                  <a:lnTo>
                    <a:pt x="961" y="539"/>
                  </a:lnTo>
                  <a:lnTo>
                    <a:pt x="957" y="539"/>
                  </a:lnTo>
                  <a:lnTo>
                    <a:pt x="953" y="539"/>
                  </a:lnTo>
                  <a:lnTo>
                    <a:pt x="949" y="535"/>
                  </a:lnTo>
                  <a:lnTo>
                    <a:pt x="949" y="531"/>
                  </a:lnTo>
                  <a:lnTo>
                    <a:pt x="953" y="527"/>
                  </a:lnTo>
                  <a:lnTo>
                    <a:pt x="949" y="523"/>
                  </a:lnTo>
                  <a:lnTo>
                    <a:pt x="953" y="523"/>
                  </a:lnTo>
                  <a:lnTo>
                    <a:pt x="957" y="519"/>
                  </a:lnTo>
                  <a:lnTo>
                    <a:pt x="961" y="519"/>
                  </a:lnTo>
                  <a:lnTo>
                    <a:pt x="965" y="519"/>
                  </a:lnTo>
                  <a:lnTo>
                    <a:pt x="961" y="515"/>
                  </a:lnTo>
                  <a:lnTo>
                    <a:pt x="965" y="515"/>
                  </a:lnTo>
                  <a:lnTo>
                    <a:pt x="961" y="511"/>
                  </a:lnTo>
                  <a:lnTo>
                    <a:pt x="965" y="511"/>
                  </a:lnTo>
                  <a:lnTo>
                    <a:pt x="969" y="511"/>
                  </a:lnTo>
                  <a:lnTo>
                    <a:pt x="973" y="515"/>
                  </a:lnTo>
                  <a:lnTo>
                    <a:pt x="977" y="515"/>
                  </a:lnTo>
                  <a:lnTo>
                    <a:pt x="981" y="515"/>
                  </a:lnTo>
                  <a:lnTo>
                    <a:pt x="985" y="515"/>
                  </a:lnTo>
                  <a:lnTo>
                    <a:pt x="985" y="519"/>
                  </a:lnTo>
                  <a:lnTo>
                    <a:pt x="989" y="519"/>
                  </a:lnTo>
                  <a:lnTo>
                    <a:pt x="993" y="523"/>
                  </a:lnTo>
                  <a:lnTo>
                    <a:pt x="989" y="523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31"/>
                  </a:lnTo>
                  <a:lnTo>
                    <a:pt x="993" y="527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23"/>
                  </a:lnTo>
                  <a:lnTo>
                    <a:pt x="997" y="523"/>
                  </a:lnTo>
                  <a:lnTo>
                    <a:pt x="997" y="519"/>
                  </a:lnTo>
                  <a:lnTo>
                    <a:pt x="993" y="519"/>
                  </a:lnTo>
                  <a:lnTo>
                    <a:pt x="993" y="523"/>
                  </a:lnTo>
                  <a:lnTo>
                    <a:pt x="993" y="519"/>
                  </a:lnTo>
                  <a:lnTo>
                    <a:pt x="989" y="519"/>
                  </a:lnTo>
                  <a:lnTo>
                    <a:pt x="985" y="519"/>
                  </a:lnTo>
                  <a:lnTo>
                    <a:pt x="985" y="515"/>
                  </a:lnTo>
                  <a:lnTo>
                    <a:pt x="989" y="515"/>
                  </a:lnTo>
                  <a:lnTo>
                    <a:pt x="993" y="515"/>
                  </a:lnTo>
                  <a:lnTo>
                    <a:pt x="997" y="515"/>
                  </a:lnTo>
                  <a:lnTo>
                    <a:pt x="1001" y="515"/>
                  </a:lnTo>
                  <a:lnTo>
                    <a:pt x="1005" y="515"/>
                  </a:lnTo>
                  <a:lnTo>
                    <a:pt x="1009" y="511"/>
                  </a:lnTo>
                  <a:lnTo>
                    <a:pt x="1013" y="511"/>
                  </a:lnTo>
                  <a:lnTo>
                    <a:pt x="1017" y="511"/>
                  </a:lnTo>
                  <a:lnTo>
                    <a:pt x="1021" y="511"/>
                  </a:lnTo>
                  <a:lnTo>
                    <a:pt x="1021" y="507"/>
                  </a:lnTo>
                  <a:lnTo>
                    <a:pt x="1017" y="507"/>
                  </a:lnTo>
                  <a:lnTo>
                    <a:pt x="1017" y="503"/>
                  </a:lnTo>
                  <a:lnTo>
                    <a:pt x="1013" y="503"/>
                  </a:lnTo>
                  <a:lnTo>
                    <a:pt x="1013" y="499"/>
                  </a:lnTo>
                  <a:lnTo>
                    <a:pt x="1009" y="499"/>
                  </a:lnTo>
                  <a:lnTo>
                    <a:pt x="1009" y="495"/>
                  </a:lnTo>
                  <a:lnTo>
                    <a:pt x="1005" y="495"/>
                  </a:lnTo>
                  <a:lnTo>
                    <a:pt x="1009" y="491"/>
                  </a:lnTo>
                  <a:lnTo>
                    <a:pt x="1013" y="491"/>
                  </a:lnTo>
                  <a:lnTo>
                    <a:pt x="1017" y="487"/>
                  </a:lnTo>
                  <a:lnTo>
                    <a:pt x="1021" y="483"/>
                  </a:lnTo>
                  <a:lnTo>
                    <a:pt x="1025" y="479"/>
                  </a:lnTo>
                  <a:lnTo>
                    <a:pt x="1029" y="479"/>
                  </a:lnTo>
                  <a:lnTo>
                    <a:pt x="1029" y="475"/>
                  </a:lnTo>
                  <a:lnTo>
                    <a:pt x="1033" y="471"/>
                  </a:lnTo>
                  <a:lnTo>
                    <a:pt x="1037" y="471"/>
                  </a:lnTo>
                  <a:lnTo>
                    <a:pt x="1037" y="467"/>
                  </a:lnTo>
                  <a:lnTo>
                    <a:pt x="1041" y="467"/>
                  </a:lnTo>
                  <a:lnTo>
                    <a:pt x="1041" y="463"/>
                  </a:lnTo>
                  <a:lnTo>
                    <a:pt x="1037" y="463"/>
                  </a:lnTo>
                  <a:lnTo>
                    <a:pt x="1037" y="459"/>
                  </a:lnTo>
                  <a:lnTo>
                    <a:pt x="1037" y="455"/>
                  </a:lnTo>
                  <a:lnTo>
                    <a:pt x="1033" y="455"/>
                  </a:lnTo>
                  <a:lnTo>
                    <a:pt x="1033" y="451"/>
                  </a:lnTo>
                  <a:lnTo>
                    <a:pt x="1037" y="451"/>
                  </a:lnTo>
                  <a:lnTo>
                    <a:pt x="1033" y="451"/>
                  </a:lnTo>
                  <a:lnTo>
                    <a:pt x="1033" y="447"/>
                  </a:lnTo>
                  <a:lnTo>
                    <a:pt x="1029" y="447"/>
                  </a:lnTo>
                  <a:lnTo>
                    <a:pt x="1029" y="443"/>
                  </a:lnTo>
                  <a:lnTo>
                    <a:pt x="1029" y="439"/>
                  </a:lnTo>
                  <a:lnTo>
                    <a:pt x="1025" y="439"/>
                  </a:lnTo>
                  <a:lnTo>
                    <a:pt x="1021" y="439"/>
                  </a:lnTo>
                  <a:lnTo>
                    <a:pt x="1021" y="435"/>
                  </a:lnTo>
                  <a:lnTo>
                    <a:pt x="1025" y="435"/>
                  </a:lnTo>
                  <a:lnTo>
                    <a:pt x="1021" y="435"/>
                  </a:lnTo>
                  <a:lnTo>
                    <a:pt x="1021" y="439"/>
                  </a:lnTo>
                  <a:lnTo>
                    <a:pt x="1017" y="435"/>
                  </a:lnTo>
                  <a:lnTo>
                    <a:pt x="1017" y="431"/>
                  </a:lnTo>
                  <a:lnTo>
                    <a:pt x="1017" y="427"/>
                  </a:lnTo>
                  <a:lnTo>
                    <a:pt x="1013" y="427"/>
                  </a:lnTo>
                  <a:lnTo>
                    <a:pt x="1017" y="431"/>
                  </a:lnTo>
                  <a:lnTo>
                    <a:pt x="1013" y="431"/>
                  </a:lnTo>
                  <a:lnTo>
                    <a:pt x="1009" y="431"/>
                  </a:lnTo>
                  <a:lnTo>
                    <a:pt x="1005" y="427"/>
                  </a:lnTo>
                  <a:lnTo>
                    <a:pt x="1001" y="427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1" y="419"/>
                  </a:lnTo>
                  <a:lnTo>
                    <a:pt x="997" y="419"/>
                  </a:lnTo>
                  <a:lnTo>
                    <a:pt x="1001" y="419"/>
                  </a:lnTo>
                  <a:lnTo>
                    <a:pt x="1005" y="419"/>
                  </a:lnTo>
                  <a:lnTo>
                    <a:pt x="1005" y="415"/>
                  </a:lnTo>
                  <a:lnTo>
                    <a:pt x="1001" y="415"/>
                  </a:lnTo>
                  <a:lnTo>
                    <a:pt x="997" y="419"/>
                  </a:lnTo>
                  <a:lnTo>
                    <a:pt x="993" y="419"/>
                  </a:lnTo>
                  <a:lnTo>
                    <a:pt x="989" y="419"/>
                  </a:lnTo>
                  <a:lnTo>
                    <a:pt x="989" y="423"/>
                  </a:lnTo>
                  <a:lnTo>
                    <a:pt x="985" y="423"/>
                  </a:lnTo>
                  <a:lnTo>
                    <a:pt x="981" y="423"/>
                  </a:lnTo>
                  <a:lnTo>
                    <a:pt x="981" y="427"/>
                  </a:lnTo>
                  <a:lnTo>
                    <a:pt x="977" y="427"/>
                  </a:lnTo>
                  <a:lnTo>
                    <a:pt x="973" y="427"/>
                  </a:lnTo>
                  <a:lnTo>
                    <a:pt x="973" y="423"/>
                  </a:lnTo>
                  <a:lnTo>
                    <a:pt x="977" y="423"/>
                  </a:lnTo>
                  <a:lnTo>
                    <a:pt x="973" y="423"/>
                  </a:lnTo>
                  <a:lnTo>
                    <a:pt x="973" y="419"/>
                  </a:lnTo>
                  <a:lnTo>
                    <a:pt x="977" y="415"/>
                  </a:lnTo>
                  <a:lnTo>
                    <a:pt x="981" y="415"/>
                  </a:lnTo>
                  <a:lnTo>
                    <a:pt x="981" y="419"/>
                  </a:lnTo>
                  <a:lnTo>
                    <a:pt x="985" y="419"/>
                  </a:lnTo>
                  <a:lnTo>
                    <a:pt x="985" y="415"/>
                  </a:lnTo>
                  <a:lnTo>
                    <a:pt x="989" y="415"/>
                  </a:lnTo>
                  <a:lnTo>
                    <a:pt x="989" y="411"/>
                  </a:lnTo>
                  <a:lnTo>
                    <a:pt x="985" y="411"/>
                  </a:lnTo>
                  <a:lnTo>
                    <a:pt x="985" y="407"/>
                  </a:lnTo>
                  <a:lnTo>
                    <a:pt x="981" y="407"/>
                  </a:lnTo>
                  <a:lnTo>
                    <a:pt x="977" y="407"/>
                  </a:lnTo>
                  <a:lnTo>
                    <a:pt x="973" y="403"/>
                  </a:lnTo>
                  <a:lnTo>
                    <a:pt x="977" y="399"/>
                  </a:lnTo>
                  <a:lnTo>
                    <a:pt x="981" y="399"/>
                  </a:lnTo>
                  <a:lnTo>
                    <a:pt x="977" y="399"/>
                  </a:lnTo>
                  <a:lnTo>
                    <a:pt x="973" y="399"/>
                  </a:lnTo>
                  <a:lnTo>
                    <a:pt x="977" y="399"/>
                  </a:lnTo>
                  <a:lnTo>
                    <a:pt x="973" y="403"/>
                  </a:lnTo>
                  <a:lnTo>
                    <a:pt x="969" y="403"/>
                  </a:lnTo>
                  <a:lnTo>
                    <a:pt x="965" y="399"/>
                  </a:lnTo>
                  <a:lnTo>
                    <a:pt x="969" y="399"/>
                  </a:lnTo>
                  <a:lnTo>
                    <a:pt x="973" y="399"/>
                  </a:lnTo>
                  <a:lnTo>
                    <a:pt x="969" y="395"/>
                  </a:lnTo>
                  <a:lnTo>
                    <a:pt x="965" y="395"/>
                  </a:lnTo>
                  <a:lnTo>
                    <a:pt x="969" y="391"/>
                  </a:lnTo>
                  <a:lnTo>
                    <a:pt x="965" y="391"/>
                  </a:lnTo>
                  <a:lnTo>
                    <a:pt x="965" y="395"/>
                  </a:lnTo>
                  <a:lnTo>
                    <a:pt x="961" y="395"/>
                  </a:lnTo>
                  <a:lnTo>
                    <a:pt x="961" y="399"/>
                  </a:lnTo>
                  <a:lnTo>
                    <a:pt x="957" y="399"/>
                  </a:lnTo>
                  <a:lnTo>
                    <a:pt x="957" y="395"/>
                  </a:lnTo>
                  <a:lnTo>
                    <a:pt x="957" y="391"/>
                  </a:lnTo>
                  <a:lnTo>
                    <a:pt x="957" y="387"/>
                  </a:lnTo>
                  <a:lnTo>
                    <a:pt x="957" y="383"/>
                  </a:lnTo>
                  <a:lnTo>
                    <a:pt x="953" y="383"/>
                  </a:lnTo>
                  <a:lnTo>
                    <a:pt x="949" y="383"/>
                  </a:lnTo>
                  <a:lnTo>
                    <a:pt x="949" y="387"/>
                  </a:lnTo>
                  <a:lnTo>
                    <a:pt x="945" y="383"/>
                  </a:lnTo>
                  <a:lnTo>
                    <a:pt x="945" y="379"/>
                  </a:lnTo>
                  <a:lnTo>
                    <a:pt x="945" y="383"/>
                  </a:lnTo>
                  <a:lnTo>
                    <a:pt x="941" y="379"/>
                  </a:lnTo>
                  <a:lnTo>
                    <a:pt x="937" y="379"/>
                  </a:lnTo>
                  <a:lnTo>
                    <a:pt x="937" y="375"/>
                  </a:lnTo>
                  <a:lnTo>
                    <a:pt x="941" y="375"/>
                  </a:lnTo>
                  <a:lnTo>
                    <a:pt x="937" y="375"/>
                  </a:lnTo>
                  <a:lnTo>
                    <a:pt x="937" y="371"/>
                  </a:lnTo>
                  <a:lnTo>
                    <a:pt x="937" y="375"/>
                  </a:lnTo>
                  <a:lnTo>
                    <a:pt x="937" y="379"/>
                  </a:lnTo>
                  <a:lnTo>
                    <a:pt x="933" y="379"/>
                  </a:lnTo>
                  <a:lnTo>
                    <a:pt x="929" y="379"/>
                  </a:lnTo>
                  <a:lnTo>
                    <a:pt x="933" y="379"/>
                  </a:lnTo>
                  <a:lnTo>
                    <a:pt x="933" y="383"/>
                  </a:lnTo>
                  <a:lnTo>
                    <a:pt x="937" y="383"/>
                  </a:lnTo>
                  <a:lnTo>
                    <a:pt x="941" y="383"/>
                  </a:lnTo>
                  <a:lnTo>
                    <a:pt x="941" y="387"/>
                  </a:lnTo>
                  <a:lnTo>
                    <a:pt x="941" y="391"/>
                  </a:lnTo>
                  <a:lnTo>
                    <a:pt x="941" y="395"/>
                  </a:lnTo>
                  <a:lnTo>
                    <a:pt x="937" y="395"/>
                  </a:lnTo>
                  <a:lnTo>
                    <a:pt x="933" y="395"/>
                  </a:lnTo>
                  <a:lnTo>
                    <a:pt x="929" y="395"/>
                  </a:lnTo>
                  <a:lnTo>
                    <a:pt x="925" y="395"/>
                  </a:lnTo>
                  <a:lnTo>
                    <a:pt x="925" y="391"/>
                  </a:lnTo>
                  <a:lnTo>
                    <a:pt x="921" y="391"/>
                  </a:lnTo>
                  <a:lnTo>
                    <a:pt x="917" y="391"/>
                  </a:lnTo>
                  <a:lnTo>
                    <a:pt x="913" y="391"/>
                  </a:lnTo>
                  <a:lnTo>
                    <a:pt x="909" y="391"/>
                  </a:lnTo>
                  <a:lnTo>
                    <a:pt x="909" y="387"/>
                  </a:lnTo>
                  <a:lnTo>
                    <a:pt x="905" y="387"/>
                  </a:lnTo>
                  <a:lnTo>
                    <a:pt x="901" y="387"/>
                  </a:lnTo>
                  <a:lnTo>
                    <a:pt x="897" y="387"/>
                  </a:lnTo>
                  <a:lnTo>
                    <a:pt x="897" y="391"/>
                  </a:lnTo>
                  <a:lnTo>
                    <a:pt x="901" y="391"/>
                  </a:lnTo>
                  <a:lnTo>
                    <a:pt x="905" y="391"/>
                  </a:lnTo>
                  <a:lnTo>
                    <a:pt x="905" y="395"/>
                  </a:lnTo>
                  <a:lnTo>
                    <a:pt x="909" y="395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05" y="399"/>
                  </a:lnTo>
                  <a:lnTo>
                    <a:pt x="905" y="395"/>
                  </a:lnTo>
                  <a:lnTo>
                    <a:pt x="901" y="395"/>
                  </a:lnTo>
                  <a:lnTo>
                    <a:pt x="901" y="391"/>
                  </a:lnTo>
                  <a:lnTo>
                    <a:pt x="897" y="391"/>
                  </a:lnTo>
                  <a:lnTo>
                    <a:pt x="893" y="391"/>
                  </a:lnTo>
                  <a:lnTo>
                    <a:pt x="893" y="387"/>
                  </a:lnTo>
                  <a:lnTo>
                    <a:pt x="889" y="387"/>
                  </a:lnTo>
                  <a:lnTo>
                    <a:pt x="885" y="387"/>
                  </a:lnTo>
                  <a:lnTo>
                    <a:pt x="881" y="383"/>
                  </a:lnTo>
                  <a:lnTo>
                    <a:pt x="877" y="383"/>
                  </a:lnTo>
                  <a:lnTo>
                    <a:pt x="881" y="383"/>
                  </a:lnTo>
                  <a:lnTo>
                    <a:pt x="881" y="387"/>
                  </a:lnTo>
                  <a:lnTo>
                    <a:pt x="885" y="387"/>
                  </a:lnTo>
                  <a:lnTo>
                    <a:pt x="889" y="387"/>
                  </a:lnTo>
                  <a:lnTo>
                    <a:pt x="893" y="391"/>
                  </a:lnTo>
                  <a:lnTo>
                    <a:pt x="897" y="391"/>
                  </a:lnTo>
                  <a:lnTo>
                    <a:pt x="897" y="395"/>
                  </a:lnTo>
                  <a:lnTo>
                    <a:pt x="893" y="395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5"/>
                  </a:lnTo>
                  <a:lnTo>
                    <a:pt x="877" y="391"/>
                  </a:lnTo>
                  <a:lnTo>
                    <a:pt x="873" y="391"/>
                  </a:lnTo>
                  <a:lnTo>
                    <a:pt x="869" y="391"/>
                  </a:lnTo>
                  <a:lnTo>
                    <a:pt x="865" y="391"/>
                  </a:lnTo>
                  <a:lnTo>
                    <a:pt x="861" y="391"/>
                  </a:lnTo>
                  <a:lnTo>
                    <a:pt x="857" y="391"/>
                  </a:lnTo>
                  <a:lnTo>
                    <a:pt x="853" y="391"/>
                  </a:lnTo>
                  <a:lnTo>
                    <a:pt x="849" y="391"/>
                  </a:lnTo>
                  <a:lnTo>
                    <a:pt x="845" y="387"/>
                  </a:lnTo>
                  <a:lnTo>
                    <a:pt x="841" y="387"/>
                  </a:lnTo>
                  <a:lnTo>
                    <a:pt x="837" y="387"/>
                  </a:lnTo>
                  <a:lnTo>
                    <a:pt x="833" y="387"/>
                  </a:lnTo>
                  <a:lnTo>
                    <a:pt x="833" y="391"/>
                  </a:lnTo>
                  <a:lnTo>
                    <a:pt x="837" y="387"/>
                  </a:lnTo>
                  <a:lnTo>
                    <a:pt x="841" y="391"/>
                  </a:lnTo>
                  <a:lnTo>
                    <a:pt x="845" y="391"/>
                  </a:lnTo>
                  <a:lnTo>
                    <a:pt x="841" y="391"/>
                  </a:lnTo>
                  <a:lnTo>
                    <a:pt x="837" y="391"/>
                  </a:lnTo>
                  <a:lnTo>
                    <a:pt x="833" y="391"/>
                  </a:lnTo>
                  <a:lnTo>
                    <a:pt x="829" y="391"/>
                  </a:lnTo>
                  <a:lnTo>
                    <a:pt x="829" y="387"/>
                  </a:lnTo>
                  <a:lnTo>
                    <a:pt x="825" y="387"/>
                  </a:lnTo>
                  <a:lnTo>
                    <a:pt x="825" y="383"/>
                  </a:lnTo>
                  <a:lnTo>
                    <a:pt x="821" y="379"/>
                  </a:lnTo>
                  <a:lnTo>
                    <a:pt x="825" y="379"/>
                  </a:lnTo>
                  <a:lnTo>
                    <a:pt x="829" y="379"/>
                  </a:lnTo>
                  <a:lnTo>
                    <a:pt x="825" y="379"/>
                  </a:lnTo>
                  <a:lnTo>
                    <a:pt x="825" y="375"/>
                  </a:lnTo>
                  <a:lnTo>
                    <a:pt x="825" y="379"/>
                  </a:lnTo>
                  <a:lnTo>
                    <a:pt x="821" y="379"/>
                  </a:lnTo>
                  <a:lnTo>
                    <a:pt x="821" y="383"/>
                  </a:lnTo>
                  <a:lnTo>
                    <a:pt x="817" y="383"/>
                  </a:lnTo>
                  <a:lnTo>
                    <a:pt x="817" y="379"/>
                  </a:lnTo>
                  <a:lnTo>
                    <a:pt x="813" y="379"/>
                  </a:lnTo>
                  <a:lnTo>
                    <a:pt x="817" y="379"/>
                  </a:lnTo>
                  <a:lnTo>
                    <a:pt x="817" y="383"/>
                  </a:lnTo>
                  <a:lnTo>
                    <a:pt x="813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1" y="383"/>
                  </a:lnTo>
                  <a:lnTo>
                    <a:pt x="797" y="383"/>
                  </a:lnTo>
                  <a:lnTo>
                    <a:pt x="801" y="383"/>
                  </a:lnTo>
                  <a:lnTo>
                    <a:pt x="801" y="379"/>
                  </a:lnTo>
                  <a:lnTo>
                    <a:pt x="797" y="379"/>
                  </a:lnTo>
                  <a:lnTo>
                    <a:pt x="794" y="379"/>
                  </a:lnTo>
                  <a:lnTo>
                    <a:pt x="790" y="379"/>
                  </a:lnTo>
                  <a:lnTo>
                    <a:pt x="790" y="375"/>
                  </a:lnTo>
                  <a:lnTo>
                    <a:pt x="786" y="375"/>
                  </a:lnTo>
                  <a:lnTo>
                    <a:pt x="786" y="371"/>
                  </a:lnTo>
                  <a:lnTo>
                    <a:pt x="782" y="371"/>
                  </a:lnTo>
                  <a:lnTo>
                    <a:pt x="782" y="367"/>
                  </a:lnTo>
                  <a:lnTo>
                    <a:pt x="786" y="363"/>
                  </a:lnTo>
                  <a:lnTo>
                    <a:pt x="782" y="363"/>
                  </a:lnTo>
                  <a:lnTo>
                    <a:pt x="778" y="363"/>
                  </a:lnTo>
                  <a:lnTo>
                    <a:pt x="778" y="359"/>
                  </a:lnTo>
                  <a:lnTo>
                    <a:pt x="782" y="363"/>
                  </a:lnTo>
                  <a:lnTo>
                    <a:pt x="786" y="363"/>
                  </a:lnTo>
                  <a:lnTo>
                    <a:pt x="790" y="363"/>
                  </a:lnTo>
                  <a:lnTo>
                    <a:pt x="794" y="363"/>
                  </a:lnTo>
                  <a:lnTo>
                    <a:pt x="797" y="363"/>
                  </a:lnTo>
                  <a:lnTo>
                    <a:pt x="801" y="367"/>
                  </a:lnTo>
                  <a:lnTo>
                    <a:pt x="805" y="363"/>
                  </a:lnTo>
                  <a:lnTo>
                    <a:pt x="809" y="363"/>
                  </a:lnTo>
                  <a:lnTo>
                    <a:pt x="813" y="363"/>
                  </a:lnTo>
                  <a:lnTo>
                    <a:pt x="817" y="363"/>
                  </a:lnTo>
                  <a:lnTo>
                    <a:pt x="813" y="363"/>
                  </a:lnTo>
                  <a:lnTo>
                    <a:pt x="809" y="363"/>
                  </a:lnTo>
                  <a:lnTo>
                    <a:pt x="809" y="359"/>
                  </a:lnTo>
                  <a:lnTo>
                    <a:pt x="805" y="359"/>
                  </a:lnTo>
                  <a:lnTo>
                    <a:pt x="805" y="355"/>
                  </a:lnTo>
                  <a:lnTo>
                    <a:pt x="801" y="355"/>
                  </a:lnTo>
                  <a:lnTo>
                    <a:pt x="801" y="359"/>
                  </a:lnTo>
                  <a:lnTo>
                    <a:pt x="797" y="355"/>
                  </a:lnTo>
                  <a:lnTo>
                    <a:pt x="794" y="355"/>
                  </a:lnTo>
                  <a:lnTo>
                    <a:pt x="790" y="355"/>
                  </a:lnTo>
                  <a:lnTo>
                    <a:pt x="786" y="355"/>
                  </a:lnTo>
                  <a:lnTo>
                    <a:pt x="782" y="355"/>
                  </a:lnTo>
                  <a:lnTo>
                    <a:pt x="778" y="355"/>
                  </a:lnTo>
                  <a:lnTo>
                    <a:pt x="774" y="355"/>
                  </a:lnTo>
                  <a:lnTo>
                    <a:pt x="774" y="351"/>
                  </a:lnTo>
                  <a:lnTo>
                    <a:pt x="770" y="347"/>
                  </a:lnTo>
                  <a:lnTo>
                    <a:pt x="774" y="347"/>
                  </a:lnTo>
                  <a:lnTo>
                    <a:pt x="774" y="343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70" y="335"/>
                  </a:lnTo>
                  <a:lnTo>
                    <a:pt x="774" y="335"/>
                  </a:lnTo>
                  <a:lnTo>
                    <a:pt x="774" y="331"/>
                  </a:lnTo>
                  <a:lnTo>
                    <a:pt x="778" y="331"/>
                  </a:lnTo>
                  <a:lnTo>
                    <a:pt x="774" y="331"/>
                  </a:lnTo>
                  <a:lnTo>
                    <a:pt x="774" y="327"/>
                  </a:lnTo>
                  <a:lnTo>
                    <a:pt x="774" y="323"/>
                  </a:lnTo>
                  <a:lnTo>
                    <a:pt x="774" y="319"/>
                  </a:lnTo>
                  <a:lnTo>
                    <a:pt x="778" y="319"/>
                  </a:lnTo>
                  <a:lnTo>
                    <a:pt x="778" y="315"/>
                  </a:lnTo>
                  <a:lnTo>
                    <a:pt x="782" y="315"/>
                  </a:lnTo>
                  <a:lnTo>
                    <a:pt x="782" y="307"/>
                  </a:lnTo>
                  <a:lnTo>
                    <a:pt x="782" y="303"/>
                  </a:lnTo>
                  <a:lnTo>
                    <a:pt x="786" y="299"/>
                  </a:lnTo>
                  <a:lnTo>
                    <a:pt x="790" y="299"/>
                  </a:lnTo>
                  <a:lnTo>
                    <a:pt x="790" y="295"/>
                  </a:lnTo>
                  <a:lnTo>
                    <a:pt x="794" y="295"/>
                  </a:lnTo>
                  <a:lnTo>
                    <a:pt x="794" y="291"/>
                  </a:lnTo>
                  <a:lnTo>
                    <a:pt x="797" y="291"/>
                  </a:lnTo>
                  <a:lnTo>
                    <a:pt x="801" y="291"/>
                  </a:lnTo>
                  <a:lnTo>
                    <a:pt x="801" y="287"/>
                  </a:lnTo>
                  <a:lnTo>
                    <a:pt x="805" y="287"/>
                  </a:lnTo>
                  <a:lnTo>
                    <a:pt x="809" y="287"/>
                  </a:lnTo>
                  <a:lnTo>
                    <a:pt x="813" y="283"/>
                  </a:lnTo>
                  <a:lnTo>
                    <a:pt x="817" y="283"/>
                  </a:lnTo>
                  <a:lnTo>
                    <a:pt x="821" y="283"/>
                  </a:lnTo>
                  <a:lnTo>
                    <a:pt x="825" y="283"/>
                  </a:lnTo>
                  <a:lnTo>
                    <a:pt x="829" y="283"/>
                  </a:lnTo>
                  <a:lnTo>
                    <a:pt x="837" y="283"/>
                  </a:lnTo>
                  <a:lnTo>
                    <a:pt x="841" y="283"/>
                  </a:lnTo>
                  <a:lnTo>
                    <a:pt x="845" y="283"/>
                  </a:lnTo>
                  <a:lnTo>
                    <a:pt x="849" y="287"/>
                  </a:lnTo>
                  <a:lnTo>
                    <a:pt x="845" y="287"/>
                  </a:lnTo>
                  <a:lnTo>
                    <a:pt x="841" y="291"/>
                  </a:lnTo>
                  <a:lnTo>
                    <a:pt x="837" y="295"/>
                  </a:lnTo>
                  <a:lnTo>
                    <a:pt x="833" y="295"/>
                  </a:lnTo>
                  <a:lnTo>
                    <a:pt x="833" y="299"/>
                  </a:lnTo>
                  <a:lnTo>
                    <a:pt x="829" y="299"/>
                  </a:lnTo>
                  <a:lnTo>
                    <a:pt x="829" y="303"/>
                  </a:lnTo>
                  <a:lnTo>
                    <a:pt x="829" y="307"/>
                  </a:lnTo>
                  <a:lnTo>
                    <a:pt x="825" y="307"/>
                  </a:lnTo>
                  <a:lnTo>
                    <a:pt x="821" y="311"/>
                  </a:lnTo>
                  <a:lnTo>
                    <a:pt x="821" y="315"/>
                  </a:lnTo>
                  <a:lnTo>
                    <a:pt x="821" y="319"/>
                  </a:lnTo>
                  <a:lnTo>
                    <a:pt x="825" y="319"/>
                  </a:lnTo>
                  <a:lnTo>
                    <a:pt x="825" y="323"/>
                  </a:lnTo>
                  <a:lnTo>
                    <a:pt x="829" y="323"/>
                  </a:lnTo>
                  <a:lnTo>
                    <a:pt x="825" y="327"/>
                  </a:lnTo>
                  <a:lnTo>
                    <a:pt x="825" y="331"/>
                  </a:lnTo>
                  <a:lnTo>
                    <a:pt x="825" y="335"/>
                  </a:lnTo>
                  <a:lnTo>
                    <a:pt x="829" y="339"/>
                  </a:lnTo>
                  <a:lnTo>
                    <a:pt x="829" y="343"/>
                  </a:lnTo>
                  <a:lnTo>
                    <a:pt x="833" y="343"/>
                  </a:lnTo>
                  <a:lnTo>
                    <a:pt x="841" y="351"/>
                  </a:lnTo>
                  <a:lnTo>
                    <a:pt x="845" y="351"/>
                  </a:lnTo>
                  <a:lnTo>
                    <a:pt x="849" y="351"/>
                  </a:lnTo>
                  <a:lnTo>
                    <a:pt x="849" y="355"/>
                  </a:lnTo>
                  <a:lnTo>
                    <a:pt x="845" y="355"/>
                  </a:lnTo>
                  <a:lnTo>
                    <a:pt x="841" y="359"/>
                  </a:lnTo>
                  <a:lnTo>
                    <a:pt x="837" y="359"/>
                  </a:lnTo>
                  <a:lnTo>
                    <a:pt x="833" y="359"/>
                  </a:lnTo>
                  <a:lnTo>
                    <a:pt x="829" y="359"/>
                  </a:lnTo>
                  <a:lnTo>
                    <a:pt x="829" y="363"/>
                  </a:lnTo>
                  <a:lnTo>
                    <a:pt x="825" y="363"/>
                  </a:lnTo>
                  <a:lnTo>
                    <a:pt x="821" y="363"/>
                  </a:lnTo>
                  <a:lnTo>
                    <a:pt x="825" y="363"/>
                  </a:lnTo>
                  <a:lnTo>
                    <a:pt x="829" y="363"/>
                  </a:lnTo>
                  <a:lnTo>
                    <a:pt x="833" y="363"/>
                  </a:lnTo>
                  <a:lnTo>
                    <a:pt x="833" y="359"/>
                  </a:lnTo>
                  <a:lnTo>
                    <a:pt x="837" y="359"/>
                  </a:lnTo>
                  <a:lnTo>
                    <a:pt x="841" y="359"/>
                  </a:lnTo>
                  <a:lnTo>
                    <a:pt x="845" y="359"/>
                  </a:lnTo>
                  <a:lnTo>
                    <a:pt x="849" y="359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5" y="359"/>
                  </a:lnTo>
                  <a:lnTo>
                    <a:pt x="845" y="363"/>
                  </a:lnTo>
                  <a:lnTo>
                    <a:pt x="849" y="363"/>
                  </a:lnTo>
                  <a:lnTo>
                    <a:pt x="849" y="367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9" y="355"/>
                  </a:lnTo>
                  <a:lnTo>
                    <a:pt x="849" y="351"/>
                  </a:lnTo>
                  <a:lnTo>
                    <a:pt x="853" y="351"/>
                  </a:lnTo>
                  <a:lnTo>
                    <a:pt x="853" y="347"/>
                  </a:lnTo>
                  <a:lnTo>
                    <a:pt x="853" y="343"/>
                  </a:lnTo>
                  <a:lnTo>
                    <a:pt x="849" y="343"/>
                  </a:lnTo>
                  <a:lnTo>
                    <a:pt x="849" y="347"/>
                  </a:lnTo>
                  <a:lnTo>
                    <a:pt x="845" y="347"/>
                  </a:lnTo>
                  <a:lnTo>
                    <a:pt x="845" y="343"/>
                  </a:lnTo>
                  <a:lnTo>
                    <a:pt x="841" y="343"/>
                  </a:lnTo>
                  <a:lnTo>
                    <a:pt x="837" y="343"/>
                  </a:lnTo>
                  <a:lnTo>
                    <a:pt x="841" y="343"/>
                  </a:lnTo>
                  <a:lnTo>
                    <a:pt x="841" y="339"/>
                  </a:lnTo>
                  <a:lnTo>
                    <a:pt x="837" y="339"/>
                  </a:lnTo>
                  <a:lnTo>
                    <a:pt x="833" y="335"/>
                  </a:lnTo>
                  <a:lnTo>
                    <a:pt x="829" y="335"/>
                  </a:lnTo>
                  <a:lnTo>
                    <a:pt x="833" y="335"/>
                  </a:lnTo>
                  <a:lnTo>
                    <a:pt x="837" y="335"/>
                  </a:lnTo>
                  <a:lnTo>
                    <a:pt x="841" y="335"/>
                  </a:lnTo>
                  <a:lnTo>
                    <a:pt x="841" y="331"/>
                  </a:lnTo>
                  <a:lnTo>
                    <a:pt x="841" y="327"/>
                  </a:lnTo>
                  <a:lnTo>
                    <a:pt x="845" y="327"/>
                  </a:lnTo>
                  <a:lnTo>
                    <a:pt x="849" y="327"/>
                  </a:lnTo>
                  <a:lnTo>
                    <a:pt x="849" y="331"/>
                  </a:lnTo>
                  <a:lnTo>
                    <a:pt x="853" y="331"/>
                  </a:lnTo>
                  <a:lnTo>
                    <a:pt x="857" y="335"/>
                  </a:lnTo>
                  <a:lnTo>
                    <a:pt x="857" y="339"/>
                  </a:lnTo>
                  <a:lnTo>
                    <a:pt x="861" y="339"/>
                  </a:lnTo>
                  <a:lnTo>
                    <a:pt x="861" y="335"/>
                  </a:lnTo>
                  <a:lnTo>
                    <a:pt x="857" y="335"/>
                  </a:lnTo>
                  <a:lnTo>
                    <a:pt x="857" y="331"/>
                  </a:lnTo>
                  <a:lnTo>
                    <a:pt x="853" y="331"/>
                  </a:lnTo>
                  <a:lnTo>
                    <a:pt x="849" y="331"/>
                  </a:lnTo>
                  <a:lnTo>
                    <a:pt x="849" y="327"/>
                  </a:lnTo>
                  <a:lnTo>
                    <a:pt x="853" y="327"/>
                  </a:lnTo>
                  <a:lnTo>
                    <a:pt x="857" y="323"/>
                  </a:lnTo>
                  <a:lnTo>
                    <a:pt x="853" y="323"/>
                  </a:lnTo>
                  <a:lnTo>
                    <a:pt x="853" y="327"/>
                  </a:lnTo>
                  <a:lnTo>
                    <a:pt x="849" y="327"/>
                  </a:lnTo>
                  <a:lnTo>
                    <a:pt x="849" y="323"/>
                  </a:lnTo>
                  <a:lnTo>
                    <a:pt x="845" y="323"/>
                  </a:lnTo>
                  <a:lnTo>
                    <a:pt x="845" y="327"/>
                  </a:lnTo>
                  <a:lnTo>
                    <a:pt x="841" y="323"/>
                  </a:lnTo>
                  <a:lnTo>
                    <a:pt x="837" y="323"/>
                  </a:lnTo>
                  <a:lnTo>
                    <a:pt x="837" y="319"/>
                  </a:lnTo>
                  <a:lnTo>
                    <a:pt x="841" y="319"/>
                  </a:lnTo>
                  <a:lnTo>
                    <a:pt x="837" y="319"/>
                  </a:lnTo>
                  <a:lnTo>
                    <a:pt x="837" y="315"/>
                  </a:lnTo>
                  <a:lnTo>
                    <a:pt x="837" y="311"/>
                  </a:lnTo>
                  <a:lnTo>
                    <a:pt x="837" y="307"/>
                  </a:lnTo>
                  <a:lnTo>
                    <a:pt x="841" y="307"/>
                  </a:lnTo>
                  <a:lnTo>
                    <a:pt x="845" y="311"/>
                  </a:lnTo>
                  <a:lnTo>
                    <a:pt x="849" y="311"/>
                  </a:lnTo>
                  <a:lnTo>
                    <a:pt x="853" y="311"/>
                  </a:lnTo>
                  <a:lnTo>
                    <a:pt x="857" y="311"/>
                  </a:lnTo>
                  <a:lnTo>
                    <a:pt x="857" y="315"/>
                  </a:lnTo>
                  <a:lnTo>
                    <a:pt x="861" y="315"/>
                  </a:lnTo>
                  <a:lnTo>
                    <a:pt x="857" y="315"/>
                  </a:lnTo>
                  <a:lnTo>
                    <a:pt x="857" y="311"/>
                  </a:lnTo>
                  <a:lnTo>
                    <a:pt x="853" y="311"/>
                  </a:lnTo>
                  <a:lnTo>
                    <a:pt x="849" y="311"/>
                  </a:lnTo>
                  <a:lnTo>
                    <a:pt x="849" y="307"/>
                  </a:lnTo>
                  <a:lnTo>
                    <a:pt x="845" y="307"/>
                  </a:lnTo>
                  <a:lnTo>
                    <a:pt x="837" y="307"/>
                  </a:lnTo>
                  <a:lnTo>
                    <a:pt x="841" y="303"/>
                  </a:lnTo>
                  <a:lnTo>
                    <a:pt x="841" y="307"/>
                  </a:lnTo>
                  <a:lnTo>
                    <a:pt x="845" y="307"/>
                  </a:lnTo>
                  <a:lnTo>
                    <a:pt x="845" y="303"/>
                  </a:lnTo>
                  <a:lnTo>
                    <a:pt x="849" y="303"/>
                  </a:lnTo>
                  <a:lnTo>
                    <a:pt x="849" y="307"/>
                  </a:lnTo>
                  <a:lnTo>
                    <a:pt x="853" y="307"/>
                  </a:lnTo>
                  <a:lnTo>
                    <a:pt x="857" y="307"/>
                  </a:lnTo>
                  <a:lnTo>
                    <a:pt x="861" y="307"/>
                  </a:lnTo>
                  <a:lnTo>
                    <a:pt x="865" y="307"/>
                  </a:lnTo>
                  <a:lnTo>
                    <a:pt x="869" y="307"/>
                  </a:lnTo>
                  <a:lnTo>
                    <a:pt x="865" y="307"/>
                  </a:lnTo>
                  <a:lnTo>
                    <a:pt x="861" y="307"/>
                  </a:lnTo>
                  <a:lnTo>
                    <a:pt x="857" y="307"/>
                  </a:lnTo>
                  <a:lnTo>
                    <a:pt x="857" y="303"/>
                  </a:lnTo>
                  <a:lnTo>
                    <a:pt x="853" y="303"/>
                  </a:lnTo>
                  <a:lnTo>
                    <a:pt x="849" y="303"/>
                  </a:lnTo>
                  <a:lnTo>
                    <a:pt x="845" y="303"/>
                  </a:lnTo>
                  <a:lnTo>
                    <a:pt x="845" y="299"/>
                  </a:lnTo>
                  <a:lnTo>
                    <a:pt x="849" y="299"/>
                  </a:lnTo>
                  <a:lnTo>
                    <a:pt x="849" y="295"/>
                  </a:lnTo>
                  <a:lnTo>
                    <a:pt x="853" y="299"/>
                  </a:lnTo>
                  <a:lnTo>
                    <a:pt x="857" y="299"/>
                  </a:lnTo>
                  <a:lnTo>
                    <a:pt x="853" y="299"/>
                  </a:lnTo>
                  <a:lnTo>
                    <a:pt x="853" y="295"/>
                  </a:lnTo>
                  <a:lnTo>
                    <a:pt x="857" y="295"/>
                  </a:lnTo>
                  <a:lnTo>
                    <a:pt x="861" y="295"/>
                  </a:lnTo>
                  <a:lnTo>
                    <a:pt x="865" y="295"/>
                  </a:lnTo>
                  <a:lnTo>
                    <a:pt x="865" y="299"/>
                  </a:lnTo>
                  <a:lnTo>
                    <a:pt x="869" y="299"/>
                  </a:lnTo>
                  <a:lnTo>
                    <a:pt x="869" y="295"/>
                  </a:lnTo>
                  <a:lnTo>
                    <a:pt x="865" y="295"/>
                  </a:lnTo>
                  <a:lnTo>
                    <a:pt x="861" y="295"/>
                  </a:lnTo>
                  <a:lnTo>
                    <a:pt x="861" y="291"/>
                  </a:lnTo>
                  <a:lnTo>
                    <a:pt x="865" y="291"/>
                  </a:lnTo>
                  <a:lnTo>
                    <a:pt x="869" y="291"/>
                  </a:lnTo>
                  <a:lnTo>
                    <a:pt x="873" y="287"/>
                  </a:lnTo>
                  <a:lnTo>
                    <a:pt x="877" y="287"/>
                  </a:lnTo>
                  <a:lnTo>
                    <a:pt x="881" y="287"/>
                  </a:lnTo>
                  <a:lnTo>
                    <a:pt x="885" y="287"/>
                  </a:lnTo>
                  <a:lnTo>
                    <a:pt x="889" y="287"/>
                  </a:lnTo>
                  <a:lnTo>
                    <a:pt x="893" y="287"/>
                  </a:lnTo>
                  <a:lnTo>
                    <a:pt x="897" y="287"/>
                  </a:lnTo>
                  <a:lnTo>
                    <a:pt x="901" y="287"/>
                  </a:lnTo>
                  <a:lnTo>
                    <a:pt x="905" y="291"/>
                  </a:lnTo>
                  <a:lnTo>
                    <a:pt x="905" y="295"/>
                  </a:lnTo>
                  <a:lnTo>
                    <a:pt x="905" y="299"/>
                  </a:lnTo>
                  <a:lnTo>
                    <a:pt x="909" y="303"/>
                  </a:lnTo>
                  <a:lnTo>
                    <a:pt x="913" y="303"/>
                  </a:lnTo>
                  <a:lnTo>
                    <a:pt x="913" y="307"/>
                  </a:lnTo>
                  <a:lnTo>
                    <a:pt x="913" y="311"/>
                  </a:lnTo>
                  <a:lnTo>
                    <a:pt x="917" y="311"/>
                  </a:lnTo>
                  <a:lnTo>
                    <a:pt x="917" y="315"/>
                  </a:lnTo>
                  <a:lnTo>
                    <a:pt x="913" y="319"/>
                  </a:lnTo>
                  <a:lnTo>
                    <a:pt x="909" y="323"/>
                  </a:lnTo>
                  <a:lnTo>
                    <a:pt x="905" y="327"/>
                  </a:lnTo>
                  <a:lnTo>
                    <a:pt x="901" y="327"/>
                  </a:lnTo>
                  <a:lnTo>
                    <a:pt x="905" y="327"/>
                  </a:lnTo>
                  <a:lnTo>
                    <a:pt x="909" y="323"/>
                  </a:lnTo>
                  <a:lnTo>
                    <a:pt x="913" y="323"/>
                  </a:lnTo>
                  <a:lnTo>
                    <a:pt x="917" y="323"/>
                  </a:lnTo>
                  <a:lnTo>
                    <a:pt x="913" y="323"/>
                  </a:lnTo>
                  <a:lnTo>
                    <a:pt x="913" y="327"/>
                  </a:lnTo>
                  <a:lnTo>
                    <a:pt x="909" y="327"/>
                  </a:lnTo>
                  <a:lnTo>
                    <a:pt x="909" y="331"/>
                  </a:lnTo>
                  <a:lnTo>
                    <a:pt x="913" y="331"/>
                  </a:lnTo>
                  <a:lnTo>
                    <a:pt x="913" y="335"/>
                  </a:lnTo>
                  <a:lnTo>
                    <a:pt x="913" y="331"/>
                  </a:lnTo>
                  <a:lnTo>
                    <a:pt x="909" y="335"/>
                  </a:lnTo>
                  <a:lnTo>
                    <a:pt x="905" y="335"/>
                  </a:lnTo>
                  <a:lnTo>
                    <a:pt x="909" y="335"/>
                  </a:lnTo>
                  <a:lnTo>
                    <a:pt x="909" y="339"/>
                  </a:lnTo>
                  <a:lnTo>
                    <a:pt x="913" y="339"/>
                  </a:lnTo>
                  <a:lnTo>
                    <a:pt x="913" y="335"/>
                  </a:lnTo>
                  <a:lnTo>
                    <a:pt x="917" y="335"/>
                  </a:lnTo>
                  <a:lnTo>
                    <a:pt x="917" y="331"/>
                  </a:lnTo>
                  <a:lnTo>
                    <a:pt x="921" y="331"/>
                  </a:lnTo>
                  <a:lnTo>
                    <a:pt x="917" y="331"/>
                  </a:lnTo>
                  <a:lnTo>
                    <a:pt x="917" y="327"/>
                  </a:lnTo>
                  <a:lnTo>
                    <a:pt x="921" y="327"/>
                  </a:lnTo>
                  <a:lnTo>
                    <a:pt x="921" y="331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5" y="331"/>
                  </a:lnTo>
                  <a:lnTo>
                    <a:pt x="921" y="327"/>
                  </a:lnTo>
                  <a:lnTo>
                    <a:pt x="921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9" y="327"/>
                  </a:lnTo>
                  <a:lnTo>
                    <a:pt x="925" y="327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9" y="327"/>
                  </a:lnTo>
                  <a:lnTo>
                    <a:pt x="933" y="323"/>
                  </a:lnTo>
                  <a:lnTo>
                    <a:pt x="937" y="327"/>
                  </a:lnTo>
                  <a:lnTo>
                    <a:pt x="937" y="331"/>
                  </a:lnTo>
                  <a:lnTo>
                    <a:pt x="937" y="335"/>
                  </a:lnTo>
                  <a:lnTo>
                    <a:pt x="933" y="335"/>
                  </a:lnTo>
                  <a:lnTo>
                    <a:pt x="937" y="335"/>
                  </a:lnTo>
                  <a:lnTo>
                    <a:pt x="941" y="339"/>
                  </a:lnTo>
                  <a:lnTo>
                    <a:pt x="945" y="339"/>
                  </a:lnTo>
                  <a:lnTo>
                    <a:pt x="941" y="335"/>
                  </a:lnTo>
                  <a:lnTo>
                    <a:pt x="941" y="331"/>
                  </a:lnTo>
                  <a:lnTo>
                    <a:pt x="945" y="331"/>
                  </a:lnTo>
                  <a:lnTo>
                    <a:pt x="945" y="335"/>
                  </a:lnTo>
                  <a:lnTo>
                    <a:pt x="949" y="335"/>
                  </a:lnTo>
                  <a:lnTo>
                    <a:pt x="949" y="339"/>
                  </a:lnTo>
                  <a:lnTo>
                    <a:pt x="953" y="339"/>
                  </a:lnTo>
                  <a:lnTo>
                    <a:pt x="953" y="343"/>
                  </a:lnTo>
                  <a:lnTo>
                    <a:pt x="953" y="339"/>
                  </a:lnTo>
                  <a:lnTo>
                    <a:pt x="949" y="339"/>
                  </a:lnTo>
                  <a:lnTo>
                    <a:pt x="949" y="335"/>
                  </a:lnTo>
                  <a:lnTo>
                    <a:pt x="953" y="339"/>
                  </a:lnTo>
                  <a:lnTo>
                    <a:pt x="957" y="343"/>
                  </a:lnTo>
                  <a:lnTo>
                    <a:pt x="957" y="339"/>
                  </a:lnTo>
                  <a:lnTo>
                    <a:pt x="953" y="339"/>
                  </a:lnTo>
                  <a:lnTo>
                    <a:pt x="953" y="335"/>
                  </a:lnTo>
                  <a:lnTo>
                    <a:pt x="949" y="335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1" y="331"/>
                  </a:lnTo>
                  <a:lnTo>
                    <a:pt x="941" y="327"/>
                  </a:lnTo>
                  <a:lnTo>
                    <a:pt x="945" y="327"/>
                  </a:lnTo>
                  <a:lnTo>
                    <a:pt x="945" y="331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5" y="327"/>
                  </a:lnTo>
                  <a:lnTo>
                    <a:pt x="949" y="327"/>
                  </a:lnTo>
                  <a:lnTo>
                    <a:pt x="953" y="327"/>
                  </a:lnTo>
                  <a:lnTo>
                    <a:pt x="957" y="327"/>
                  </a:lnTo>
                  <a:lnTo>
                    <a:pt x="957" y="331"/>
                  </a:lnTo>
                  <a:lnTo>
                    <a:pt x="961" y="331"/>
                  </a:lnTo>
                  <a:lnTo>
                    <a:pt x="965" y="331"/>
                  </a:lnTo>
                  <a:lnTo>
                    <a:pt x="969" y="331"/>
                  </a:lnTo>
                  <a:lnTo>
                    <a:pt x="965" y="331"/>
                  </a:lnTo>
                  <a:lnTo>
                    <a:pt x="961" y="331"/>
                  </a:lnTo>
                  <a:lnTo>
                    <a:pt x="957" y="331"/>
                  </a:lnTo>
                  <a:lnTo>
                    <a:pt x="957" y="327"/>
                  </a:lnTo>
                  <a:lnTo>
                    <a:pt x="953" y="327"/>
                  </a:lnTo>
                  <a:lnTo>
                    <a:pt x="949" y="327"/>
                  </a:lnTo>
                  <a:lnTo>
                    <a:pt x="945" y="323"/>
                  </a:lnTo>
                  <a:lnTo>
                    <a:pt x="945" y="319"/>
                  </a:lnTo>
                  <a:lnTo>
                    <a:pt x="949" y="319"/>
                  </a:lnTo>
                  <a:lnTo>
                    <a:pt x="953" y="315"/>
                  </a:lnTo>
                  <a:lnTo>
                    <a:pt x="957" y="315"/>
                  </a:lnTo>
                  <a:lnTo>
                    <a:pt x="961" y="315"/>
                  </a:lnTo>
                  <a:lnTo>
                    <a:pt x="965" y="315"/>
                  </a:lnTo>
                  <a:lnTo>
                    <a:pt x="969" y="315"/>
                  </a:lnTo>
                  <a:lnTo>
                    <a:pt x="973" y="315"/>
                  </a:lnTo>
                  <a:lnTo>
                    <a:pt x="973" y="319"/>
                  </a:lnTo>
                  <a:lnTo>
                    <a:pt x="977" y="319"/>
                  </a:lnTo>
                  <a:lnTo>
                    <a:pt x="981" y="319"/>
                  </a:lnTo>
                  <a:lnTo>
                    <a:pt x="981" y="323"/>
                  </a:lnTo>
                  <a:lnTo>
                    <a:pt x="981" y="319"/>
                  </a:lnTo>
                  <a:lnTo>
                    <a:pt x="985" y="319"/>
                  </a:lnTo>
                  <a:lnTo>
                    <a:pt x="989" y="319"/>
                  </a:lnTo>
                  <a:lnTo>
                    <a:pt x="993" y="319"/>
                  </a:lnTo>
                  <a:lnTo>
                    <a:pt x="993" y="323"/>
                  </a:lnTo>
                  <a:lnTo>
                    <a:pt x="997" y="323"/>
                  </a:lnTo>
                  <a:lnTo>
                    <a:pt x="997" y="327"/>
                  </a:lnTo>
                  <a:lnTo>
                    <a:pt x="1001" y="327"/>
                  </a:lnTo>
                  <a:lnTo>
                    <a:pt x="997" y="331"/>
                  </a:lnTo>
                  <a:lnTo>
                    <a:pt x="993" y="331"/>
                  </a:lnTo>
                  <a:lnTo>
                    <a:pt x="989" y="331"/>
                  </a:lnTo>
                  <a:lnTo>
                    <a:pt x="985" y="331"/>
                  </a:lnTo>
                  <a:lnTo>
                    <a:pt x="985" y="335"/>
                  </a:lnTo>
                  <a:lnTo>
                    <a:pt x="981" y="335"/>
                  </a:lnTo>
                  <a:lnTo>
                    <a:pt x="977" y="339"/>
                  </a:lnTo>
                  <a:lnTo>
                    <a:pt x="981" y="335"/>
                  </a:lnTo>
                  <a:lnTo>
                    <a:pt x="985" y="335"/>
                  </a:lnTo>
                  <a:lnTo>
                    <a:pt x="985" y="331"/>
                  </a:lnTo>
                  <a:lnTo>
                    <a:pt x="989" y="331"/>
                  </a:lnTo>
                  <a:lnTo>
                    <a:pt x="993" y="331"/>
                  </a:lnTo>
                  <a:lnTo>
                    <a:pt x="997" y="335"/>
                  </a:lnTo>
                  <a:lnTo>
                    <a:pt x="993" y="335"/>
                  </a:lnTo>
                  <a:lnTo>
                    <a:pt x="989" y="335"/>
                  </a:lnTo>
                  <a:lnTo>
                    <a:pt x="989" y="339"/>
                  </a:lnTo>
                  <a:lnTo>
                    <a:pt x="985" y="343"/>
                  </a:lnTo>
                  <a:lnTo>
                    <a:pt x="981" y="343"/>
                  </a:lnTo>
                  <a:lnTo>
                    <a:pt x="985" y="343"/>
                  </a:lnTo>
                  <a:lnTo>
                    <a:pt x="989" y="339"/>
                  </a:lnTo>
                  <a:lnTo>
                    <a:pt x="989" y="335"/>
                  </a:lnTo>
                  <a:lnTo>
                    <a:pt x="993" y="335"/>
                  </a:lnTo>
                  <a:lnTo>
                    <a:pt x="997" y="335"/>
                  </a:lnTo>
                  <a:lnTo>
                    <a:pt x="997" y="331"/>
                  </a:lnTo>
                  <a:lnTo>
                    <a:pt x="1001" y="331"/>
                  </a:lnTo>
                  <a:lnTo>
                    <a:pt x="1005" y="331"/>
                  </a:lnTo>
                  <a:lnTo>
                    <a:pt x="1009" y="335"/>
                  </a:lnTo>
                  <a:lnTo>
                    <a:pt x="1013" y="335"/>
                  </a:lnTo>
                  <a:lnTo>
                    <a:pt x="1013" y="339"/>
                  </a:lnTo>
                  <a:lnTo>
                    <a:pt x="1009" y="339"/>
                  </a:lnTo>
                  <a:lnTo>
                    <a:pt x="1009" y="343"/>
                  </a:lnTo>
                  <a:lnTo>
                    <a:pt x="1005" y="339"/>
                  </a:lnTo>
                  <a:lnTo>
                    <a:pt x="1005" y="343"/>
                  </a:lnTo>
                  <a:lnTo>
                    <a:pt x="1001" y="343"/>
                  </a:lnTo>
                  <a:lnTo>
                    <a:pt x="997" y="343"/>
                  </a:lnTo>
                  <a:lnTo>
                    <a:pt x="993" y="343"/>
                  </a:lnTo>
                  <a:lnTo>
                    <a:pt x="997" y="343"/>
                  </a:lnTo>
                  <a:lnTo>
                    <a:pt x="1001" y="343"/>
                  </a:lnTo>
                  <a:lnTo>
                    <a:pt x="997" y="347"/>
                  </a:lnTo>
                  <a:lnTo>
                    <a:pt x="993" y="347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43"/>
                  </a:lnTo>
                  <a:lnTo>
                    <a:pt x="1005" y="343"/>
                  </a:lnTo>
                  <a:lnTo>
                    <a:pt x="1005" y="347"/>
                  </a:lnTo>
                  <a:lnTo>
                    <a:pt x="1001" y="347"/>
                  </a:lnTo>
                  <a:lnTo>
                    <a:pt x="997" y="347"/>
                  </a:lnTo>
                  <a:lnTo>
                    <a:pt x="997" y="351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51"/>
                  </a:lnTo>
                  <a:lnTo>
                    <a:pt x="1005" y="351"/>
                  </a:lnTo>
                  <a:lnTo>
                    <a:pt x="1001" y="355"/>
                  </a:lnTo>
                  <a:lnTo>
                    <a:pt x="997" y="359"/>
                  </a:lnTo>
                  <a:lnTo>
                    <a:pt x="1001" y="355"/>
                  </a:lnTo>
                  <a:lnTo>
                    <a:pt x="1005" y="355"/>
                  </a:lnTo>
                  <a:lnTo>
                    <a:pt x="1005" y="351"/>
                  </a:lnTo>
                  <a:lnTo>
                    <a:pt x="1001" y="351"/>
                  </a:lnTo>
                  <a:lnTo>
                    <a:pt x="1001" y="347"/>
                  </a:lnTo>
                  <a:lnTo>
                    <a:pt x="1005" y="347"/>
                  </a:lnTo>
                  <a:lnTo>
                    <a:pt x="1009" y="343"/>
                  </a:lnTo>
                  <a:lnTo>
                    <a:pt x="1013" y="343"/>
                  </a:lnTo>
                  <a:lnTo>
                    <a:pt x="1013" y="347"/>
                  </a:lnTo>
                  <a:lnTo>
                    <a:pt x="1009" y="347"/>
                  </a:lnTo>
                  <a:lnTo>
                    <a:pt x="1013" y="347"/>
                  </a:lnTo>
                  <a:lnTo>
                    <a:pt x="1013" y="343"/>
                  </a:lnTo>
                  <a:lnTo>
                    <a:pt x="1017" y="343"/>
                  </a:lnTo>
                  <a:lnTo>
                    <a:pt x="1021" y="343"/>
                  </a:lnTo>
                  <a:lnTo>
                    <a:pt x="1017" y="343"/>
                  </a:lnTo>
                  <a:lnTo>
                    <a:pt x="1017" y="347"/>
                  </a:lnTo>
                  <a:lnTo>
                    <a:pt x="1013" y="347"/>
                  </a:lnTo>
                  <a:lnTo>
                    <a:pt x="1013" y="351"/>
                  </a:lnTo>
                  <a:lnTo>
                    <a:pt x="1009" y="351"/>
                  </a:lnTo>
                  <a:lnTo>
                    <a:pt x="1013" y="351"/>
                  </a:lnTo>
                  <a:lnTo>
                    <a:pt x="1013" y="355"/>
                  </a:lnTo>
                  <a:lnTo>
                    <a:pt x="1009" y="355"/>
                  </a:lnTo>
                  <a:lnTo>
                    <a:pt x="1009" y="359"/>
                  </a:lnTo>
                  <a:lnTo>
                    <a:pt x="1013" y="359"/>
                  </a:lnTo>
                  <a:lnTo>
                    <a:pt x="1013" y="355"/>
                  </a:lnTo>
                  <a:lnTo>
                    <a:pt x="1013" y="351"/>
                  </a:lnTo>
                  <a:lnTo>
                    <a:pt x="1017" y="347"/>
                  </a:lnTo>
                  <a:lnTo>
                    <a:pt x="1021" y="347"/>
                  </a:lnTo>
                  <a:lnTo>
                    <a:pt x="1021" y="351"/>
                  </a:lnTo>
                  <a:lnTo>
                    <a:pt x="1021" y="355"/>
                  </a:lnTo>
                  <a:lnTo>
                    <a:pt x="1021" y="351"/>
                  </a:lnTo>
                  <a:lnTo>
                    <a:pt x="1025" y="351"/>
                  </a:lnTo>
                  <a:lnTo>
                    <a:pt x="1021" y="355"/>
                  </a:lnTo>
                  <a:lnTo>
                    <a:pt x="1017" y="355"/>
                  </a:lnTo>
                  <a:lnTo>
                    <a:pt x="1017" y="359"/>
                  </a:lnTo>
                  <a:lnTo>
                    <a:pt x="1017" y="363"/>
                  </a:lnTo>
                  <a:lnTo>
                    <a:pt x="1017" y="359"/>
                  </a:lnTo>
                  <a:lnTo>
                    <a:pt x="1021" y="355"/>
                  </a:lnTo>
                  <a:lnTo>
                    <a:pt x="1025" y="355"/>
                  </a:lnTo>
                  <a:lnTo>
                    <a:pt x="1029" y="355"/>
                  </a:lnTo>
                  <a:lnTo>
                    <a:pt x="1025" y="355"/>
                  </a:lnTo>
                  <a:lnTo>
                    <a:pt x="1025" y="359"/>
                  </a:lnTo>
                  <a:lnTo>
                    <a:pt x="1025" y="363"/>
                  </a:lnTo>
                  <a:lnTo>
                    <a:pt x="1021" y="363"/>
                  </a:lnTo>
                  <a:lnTo>
                    <a:pt x="1025" y="363"/>
                  </a:lnTo>
                  <a:lnTo>
                    <a:pt x="1025" y="359"/>
                  </a:lnTo>
                  <a:lnTo>
                    <a:pt x="1029" y="355"/>
                  </a:lnTo>
                  <a:lnTo>
                    <a:pt x="1029" y="359"/>
                  </a:lnTo>
                  <a:lnTo>
                    <a:pt x="1029" y="355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33" y="347"/>
                  </a:lnTo>
                  <a:lnTo>
                    <a:pt x="1037" y="347"/>
                  </a:lnTo>
                  <a:lnTo>
                    <a:pt x="1037" y="343"/>
                  </a:lnTo>
                  <a:lnTo>
                    <a:pt x="1037" y="347"/>
                  </a:lnTo>
                  <a:lnTo>
                    <a:pt x="1041" y="347"/>
                  </a:lnTo>
                  <a:lnTo>
                    <a:pt x="1045" y="347"/>
                  </a:lnTo>
                  <a:lnTo>
                    <a:pt x="1049" y="347"/>
                  </a:lnTo>
                  <a:lnTo>
                    <a:pt x="1049" y="351"/>
                  </a:lnTo>
                  <a:lnTo>
                    <a:pt x="1053" y="351"/>
                  </a:lnTo>
                  <a:lnTo>
                    <a:pt x="1057" y="355"/>
                  </a:lnTo>
                  <a:lnTo>
                    <a:pt x="1057" y="359"/>
                  </a:lnTo>
                  <a:lnTo>
                    <a:pt x="1053" y="359"/>
                  </a:lnTo>
                  <a:lnTo>
                    <a:pt x="1053" y="363"/>
                  </a:lnTo>
                  <a:lnTo>
                    <a:pt x="1049" y="363"/>
                  </a:lnTo>
                  <a:lnTo>
                    <a:pt x="1049" y="359"/>
                  </a:lnTo>
                  <a:lnTo>
                    <a:pt x="1045" y="359"/>
                  </a:lnTo>
                  <a:lnTo>
                    <a:pt x="1041" y="363"/>
                  </a:lnTo>
                  <a:lnTo>
                    <a:pt x="1041" y="367"/>
                  </a:lnTo>
                  <a:lnTo>
                    <a:pt x="1037" y="367"/>
                  </a:lnTo>
                  <a:lnTo>
                    <a:pt x="1033" y="367"/>
                  </a:lnTo>
                  <a:lnTo>
                    <a:pt x="1037" y="367"/>
                  </a:lnTo>
                  <a:lnTo>
                    <a:pt x="1041" y="367"/>
                  </a:lnTo>
                  <a:lnTo>
                    <a:pt x="1037" y="371"/>
                  </a:lnTo>
                  <a:lnTo>
                    <a:pt x="1037" y="375"/>
                  </a:lnTo>
                  <a:lnTo>
                    <a:pt x="1033" y="375"/>
                  </a:lnTo>
                  <a:lnTo>
                    <a:pt x="1037" y="375"/>
                  </a:lnTo>
                  <a:lnTo>
                    <a:pt x="1037" y="371"/>
                  </a:lnTo>
                  <a:lnTo>
                    <a:pt x="1041" y="371"/>
                  </a:lnTo>
                  <a:lnTo>
                    <a:pt x="1045" y="371"/>
                  </a:lnTo>
                  <a:lnTo>
                    <a:pt x="1045" y="367"/>
                  </a:lnTo>
                  <a:lnTo>
                    <a:pt x="1049" y="367"/>
                  </a:lnTo>
                  <a:lnTo>
                    <a:pt x="1053" y="367"/>
                  </a:lnTo>
                  <a:lnTo>
                    <a:pt x="1057" y="363"/>
                  </a:lnTo>
                  <a:lnTo>
                    <a:pt x="1061" y="359"/>
                  </a:lnTo>
                  <a:lnTo>
                    <a:pt x="1065" y="359"/>
                  </a:lnTo>
                  <a:lnTo>
                    <a:pt x="1065" y="363"/>
                  </a:lnTo>
                  <a:lnTo>
                    <a:pt x="1065" y="367"/>
                  </a:lnTo>
                  <a:lnTo>
                    <a:pt x="1065" y="371"/>
                  </a:lnTo>
                  <a:lnTo>
                    <a:pt x="1061" y="371"/>
                  </a:lnTo>
                  <a:lnTo>
                    <a:pt x="1057" y="371"/>
                  </a:lnTo>
                  <a:lnTo>
                    <a:pt x="1057" y="375"/>
                  </a:lnTo>
                  <a:lnTo>
                    <a:pt x="1053" y="375"/>
                  </a:lnTo>
                  <a:lnTo>
                    <a:pt x="1049" y="375"/>
                  </a:lnTo>
                  <a:lnTo>
                    <a:pt x="1049" y="379"/>
                  </a:lnTo>
                  <a:lnTo>
                    <a:pt x="1049" y="383"/>
                  </a:lnTo>
                  <a:lnTo>
                    <a:pt x="1045" y="383"/>
                  </a:lnTo>
                  <a:lnTo>
                    <a:pt x="1049" y="383"/>
                  </a:lnTo>
                  <a:lnTo>
                    <a:pt x="1049" y="379"/>
                  </a:lnTo>
                  <a:lnTo>
                    <a:pt x="1053" y="375"/>
                  </a:lnTo>
                  <a:lnTo>
                    <a:pt x="1057" y="375"/>
                  </a:lnTo>
                  <a:lnTo>
                    <a:pt x="1057" y="379"/>
                  </a:lnTo>
                  <a:lnTo>
                    <a:pt x="1053" y="383"/>
                  </a:lnTo>
                  <a:lnTo>
                    <a:pt x="1053" y="387"/>
                  </a:lnTo>
                  <a:lnTo>
                    <a:pt x="1053" y="391"/>
                  </a:lnTo>
                  <a:lnTo>
                    <a:pt x="1053" y="387"/>
                  </a:lnTo>
                  <a:lnTo>
                    <a:pt x="1057" y="383"/>
                  </a:lnTo>
                  <a:lnTo>
                    <a:pt x="1057" y="379"/>
                  </a:lnTo>
                  <a:lnTo>
                    <a:pt x="1057" y="375"/>
                  </a:lnTo>
                  <a:lnTo>
                    <a:pt x="1061" y="375"/>
                  </a:lnTo>
                  <a:lnTo>
                    <a:pt x="1061" y="371"/>
                  </a:lnTo>
                  <a:lnTo>
                    <a:pt x="1065" y="371"/>
                  </a:lnTo>
                  <a:lnTo>
                    <a:pt x="1069" y="371"/>
                  </a:lnTo>
                  <a:lnTo>
                    <a:pt x="1069" y="367"/>
                  </a:lnTo>
                  <a:lnTo>
                    <a:pt x="1073" y="367"/>
                  </a:lnTo>
                  <a:lnTo>
                    <a:pt x="1077" y="367"/>
                  </a:lnTo>
                  <a:lnTo>
                    <a:pt x="1077" y="371"/>
                  </a:lnTo>
                  <a:lnTo>
                    <a:pt x="1073" y="371"/>
                  </a:lnTo>
                  <a:lnTo>
                    <a:pt x="1073" y="375"/>
                  </a:lnTo>
                  <a:lnTo>
                    <a:pt x="1069" y="375"/>
                  </a:lnTo>
                  <a:lnTo>
                    <a:pt x="1069" y="379"/>
                  </a:lnTo>
                  <a:lnTo>
                    <a:pt x="1069" y="375"/>
                  </a:lnTo>
                  <a:lnTo>
                    <a:pt x="1073" y="375"/>
                  </a:lnTo>
                  <a:lnTo>
                    <a:pt x="1073" y="371"/>
                  </a:lnTo>
                  <a:lnTo>
                    <a:pt x="1077" y="371"/>
                  </a:lnTo>
                  <a:lnTo>
                    <a:pt x="1081" y="371"/>
                  </a:lnTo>
                  <a:lnTo>
                    <a:pt x="1085" y="371"/>
                  </a:lnTo>
                  <a:lnTo>
                    <a:pt x="1089" y="371"/>
                  </a:lnTo>
                  <a:lnTo>
                    <a:pt x="1093" y="375"/>
                  </a:lnTo>
                  <a:lnTo>
                    <a:pt x="1097" y="375"/>
                  </a:lnTo>
                  <a:lnTo>
                    <a:pt x="1101" y="375"/>
                  </a:lnTo>
                  <a:lnTo>
                    <a:pt x="1101" y="379"/>
                  </a:lnTo>
                  <a:lnTo>
                    <a:pt x="1097" y="379"/>
                  </a:lnTo>
                  <a:lnTo>
                    <a:pt x="1093" y="379"/>
                  </a:lnTo>
                  <a:lnTo>
                    <a:pt x="1093" y="383"/>
                  </a:lnTo>
                  <a:lnTo>
                    <a:pt x="1089" y="383"/>
                  </a:lnTo>
                  <a:lnTo>
                    <a:pt x="1085" y="383"/>
                  </a:lnTo>
                  <a:lnTo>
                    <a:pt x="1081" y="383"/>
                  </a:lnTo>
                  <a:lnTo>
                    <a:pt x="1081" y="387"/>
                  </a:lnTo>
                  <a:lnTo>
                    <a:pt x="1077" y="387"/>
                  </a:lnTo>
                  <a:lnTo>
                    <a:pt x="1073" y="387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3" y="391"/>
                  </a:lnTo>
                  <a:lnTo>
                    <a:pt x="1069" y="395"/>
                  </a:lnTo>
                  <a:lnTo>
                    <a:pt x="1073" y="395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7" y="387"/>
                  </a:lnTo>
                  <a:lnTo>
                    <a:pt x="1081" y="387"/>
                  </a:lnTo>
                  <a:lnTo>
                    <a:pt x="1085" y="387"/>
                  </a:lnTo>
                  <a:lnTo>
                    <a:pt x="1089" y="387"/>
                  </a:lnTo>
                  <a:lnTo>
                    <a:pt x="1093" y="387"/>
                  </a:lnTo>
                  <a:lnTo>
                    <a:pt x="1097" y="387"/>
                  </a:lnTo>
                  <a:lnTo>
                    <a:pt x="1093" y="391"/>
                  </a:lnTo>
                  <a:lnTo>
                    <a:pt x="1089" y="391"/>
                  </a:lnTo>
                  <a:lnTo>
                    <a:pt x="1085" y="395"/>
                  </a:lnTo>
                  <a:lnTo>
                    <a:pt x="1081" y="395"/>
                  </a:lnTo>
                  <a:lnTo>
                    <a:pt x="1077" y="395"/>
                  </a:lnTo>
                  <a:lnTo>
                    <a:pt x="1073" y="399"/>
                  </a:lnTo>
                  <a:lnTo>
                    <a:pt x="1073" y="403"/>
                  </a:lnTo>
                  <a:lnTo>
                    <a:pt x="1077" y="399"/>
                  </a:lnTo>
                  <a:lnTo>
                    <a:pt x="1077" y="395"/>
                  </a:lnTo>
                  <a:lnTo>
                    <a:pt x="1081" y="395"/>
                  </a:lnTo>
                  <a:lnTo>
                    <a:pt x="1085" y="395"/>
                  </a:lnTo>
                  <a:lnTo>
                    <a:pt x="1089" y="395"/>
                  </a:lnTo>
                  <a:lnTo>
                    <a:pt x="1089" y="391"/>
                  </a:lnTo>
                  <a:lnTo>
                    <a:pt x="1093" y="391"/>
                  </a:lnTo>
                  <a:lnTo>
                    <a:pt x="1097" y="391"/>
                  </a:lnTo>
                  <a:lnTo>
                    <a:pt x="1101" y="391"/>
                  </a:lnTo>
                  <a:lnTo>
                    <a:pt x="1101" y="387"/>
                  </a:lnTo>
                  <a:lnTo>
                    <a:pt x="1101" y="383"/>
                  </a:lnTo>
                  <a:lnTo>
                    <a:pt x="1105" y="383"/>
                  </a:lnTo>
                  <a:lnTo>
                    <a:pt x="1109" y="383"/>
                  </a:lnTo>
                  <a:lnTo>
                    <a:pt x="1109" y="387"/>
                  </a:lnTo>
                  <a:lnTo>
                    <a:pt x="1113" y="387"/>
                  </a:lnTo>
                  <a:lnTo>
                    <a:pt x="1113" y="391"/>
                  </a:lnTo>
                  <a:lnTo>
                    <a:pt x="1117" y="391"/>
                  </a:lnTo>
                  <a:lnTo>
                    <a:pt x="1117" y="395"/>
                  </a:lnTo>
                  <a:lnTo>
                    <a:pt x="1117" y="399"/>
                  </a:lnTo>
                  <a:lnTo>
                    <a:pt x="1113" y="399"/>
                  </a:lnTo>
                  <a:lnTo>
                    <a:pt x="1109" y="399"/>
                  </a:lnTo>
                  <a:lnTo>
                    <a:pt x="1109" y="395"/>
                  </a:lnTo>
                  <a:lnTo>
                    <a:pt x="1105" y="395"/>
                  </a:lnTo>
                  <a:lnTo>
                    <a:pt x="1105" y="399"/>
                  </a:lnTo>
                  <a:lnTo>
                    <a:pt x="1101" y="399"/>
                  </a:lnTo>
                  <a:lnTo>
                    <a:pt x="1097" y="399"/>
                  </a:lnTo>
                  <a:lnTo>
                    <a:pt x="1093" y="403"/>
                  </a:lnTo>
                  <a:lnTo>
                    <a:pt x="1089" y="403"/>
                  </a:lnTo>
                  <a:lnTo>
                    <a:pt x="1085" y="403"/>
                  </a:lnTo>
                  <a:lnTo>
                    <a:pt x="1081" y="403"/>
                  </a:lnTo>
                  <a:lnTo>
                    <a:pt x="1077" y="403"/>
                  </a:lnTo>
                  <a:lnTo>
                    <a:pt x="1073" y="403"/>
                  </a:lnTo>
                  <a:lnTo>
                    <a:pt x="1077" y="403"/>
                  </a:lnTo>
                  <a:lnTo>
                    <a:pt x="1081" y="403"/>
                  </a:lnTo>
                  <a:lnTo>
                    <a:pt x="1085" y="403"/>
                  </a:lnTo>
                  <a:lnTo>
                    <a:pt x="1089" y="403"/>
                  </a:lnTo>
                  <a:lnTo>
                    <a:pt x="1093" y="403"/>
                  </a:lnTo>
                  <a:lnTo>
                    <a:pt x="1097" y="403"/>
                  </a:lnTo>
                  <a:lnTo>
                    <a:pt x="1101" y="403"/>
                  </a:lnTo>
                  <a:lnTo>
                    <a:pt x="1105" y="407"/>
                  </a:lnTo>
                  <a:lnTo>
                    <a:pt x="1109" y="407"/>
                  </a:lnTo>
                  <a:lnTo>
                    <a:pt x="1109" y="403"/>
                  </a:lnTo>
                  <a:lnTo>
                    <a:pt x="1113" y="407"/>
                  </a:lnTo>
                  <a:lnTo>
                    <a:pt x="1117" y="407"/>
                  </a:lnTo>
                  <a:lnTo>
                    <a:pt x="1121" y="407"/>
                  </a:lnTo>
                  <a:lnTo>
                    <a:pt x="1125" y="407"/>
                  </a:lnTo>
                  <a:lnTo>
                    <a:pt x="1125" y="411"/>
                  </a:lnTo>
                  <a:lnTo>
                    <a:pt x="1125" y="415"/>
                  </a:lnTo>
                  <a:lnTo>
                    <a:pt x="1121" y="415"/>
                  </a:lnTo>
                  <a:lnTo>
                    <a:pt x="1117" y="411"/>
                  </a:lnTo>
                  <a:lnTo>
                    <a:pt x="1113" y="411"/>
                  </a:lnTo>
                  <a:lnTo>
                    <a:pt x="1113" y="415"/>
                  </a:lnTo>
                  <a:lnTo>
                    <a:pt x="1109" y="415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93" y="407"/>
                  </a:lnTo>
                  <a:lnTo>
                    <a:pt x="1089" y="407"/>
                  </a:lnTo>
                  <a:lnTo>
                    <a:pt x="1085" y="411"/>
                  </a:lnTo>
                  <a:lnTo>
                    <a:pt x="1089" y="411"/>
                  </a:lnTo>
                  <a:lnTo>
                    <a:pt x="1089" y="407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101" y="411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89" y="411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093" y="415"/>
                  </a:lnTo>
                  <a:lnTo>
                    <a:pt x="1089" y="415"/>
                  </a:lnTo>
                  <a:lnTo>
                    <a:pt x="1089" y="419"/>
                  </a:lnTo>
                  <a:lnTo>
                    <a:pt x="1093" y="415"/>
                  </a:lnTo>
                  <a:lnTo>
                    <a:pt x="1097" y="415"/>
                  </a:lnTo>
                  <a:lnTo>
                    <a:pt x="1101" y="415"/>
                  </a:lnTo>
                  <a:lnTo>
                    <a:pt x="1105" y="415"/>
                  </a:lnTo>
                  <a:lnTo>
                    <a:pt x="1109" y="419"/>
                  </a:lnTo>
                  <a:lnTo>
                    <a:pt x="1105" y="419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101" y="419"/>
                  </a:lnTo>
                  <a:lnTo>
                    <a:pt x="1105" y="419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097" y="423"/>
                  </a:lnTo>
                  <a:lnTo>
                    <a:pt x="1101" y="423"/>
                  </a:lnTo>
                  <a:lnTo>
                    <a:pt x="1105" y="423"/>
                  </a:lnTo>
                  <a:lnTo>
                    <a:pt x="1109" y="423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lnTo>
                    <a:pt x="1093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101" y="427"/>
                  </a:lnTo>
                  <a:lnTo>
                    <a:pt x="1105" y="427"/>
                  </a:lnTo>
                  <a:lnTo>
                    <a:pt x="1101" y="427"/>
                  </a:lnTo>
                  <a:lnTo>
                    <a:pt x="1097" y="427"/>
                  </a:lnTo>
                  <a:lnTo>
                    <a:pt x="1093" y="427"/>
                  </a:lnTo>
                  <a:lnTo>
                    <a:pt x="1097" y="427"/>
                  </a:lnTo>
                  <a:lnTo>
                    <a:pt x="1097" y="431"/>
                  </a:lnTo>
                  <a:lnTo>
                    <a:pt x="1093" y="431"/>
                  </a:lnTo>
                  <a:lnTo>
                    <a:pt x="1097" y="431"/>
                  </a:lnTo>
                  <a:lnTo>
                    <a:pt x="1097" y="427"/>
                  </a:lnTo>
                  <a:lnTo>
                    <a:pt x="1101" y="427"/>
                  </a:lnTo>
                  <a:lnTo>
                    <a:pt x="1101" y="431"/>
                  </a:lnTo>
                  <a:lnTo>
                    <a:pt x="1105" y="431"/>
                  </a:lnTo>
                  <a:lnTo>
                    <a:pt x="1109" y="431"/>
                  </a:lnTo>
                  <a:lnTo>
                    <a:pt x="1113" y="431"/>
                  </a:lnTo>
                  <a:lnTo>
                    <a:pt x="1109" y="431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1"/>
                  </a:lnTo>
                  <a:lnTo>
                    <a:pt x="1117" y="431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17" y="431"/>
                  </a:lnTo>
                  <a:lnTo>
                    <a:pt x="1121" y="431"/>
                  </a:lnTo>
                  <a:lnTo>
                    <a:pt x="1125" y="431"/>
                  </a:lnTo>
                  <a:lnTo>
                    <a:pt x="1125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09" y="435"/>
                  </a:lnTo>
                  <a:lnTo>
                    <a:pt x="1105" y="435"/>
                  </a:lnTo>
                  <a:lnTo>
                    <a:pt x="1105" y="439"/>
                  </a:lnTo>
                  <a:lnTo>
                    <a:pt x="1109" y="439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43"/>
                  </a:lnTo>
                  <a:lnTo>
                    <a:pt x="1117" y="439"/>
                  </a:lnTo>
                  <a:lnTo>
                    <a:pt x="1121" y="435"/>
                  </a:lnTo>
                  <a:lnTo>
                    <a:pt x="1121" y="439"/>
                  </a:lnTo>
                  <a:lnTo>
                    <a:pt x="1125" y="439"/>
                  </a:lnTo>
                  <a:lnTo>
                    <a:pt x="1121" y="443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5" y="443"/>
                  </a:lnTo>
                  <a:lnTo>
                    <a:pt x="1125" y="447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9" y="439"/>
                  </a:lnTo>
                  <a:lnTo>
                    <a:pt x="1129" y="443"/>
                  </a:lnTo>
                  <a:lnTo>
                    <a:pt x="1133" y="443"/>
                  </a:lnTo>
                  <a:lnTo>
                    <a:pt x="1129" y="443"/>
                  </a:lnTo>
                  <a:lnTo>
                    <a:pt x="1129" y="447"/>
                  </a:lnTo>
                  <a:lnTo>
                    <a:pt x="1125" y="447"/>
                  </a:lnTo>
                  <a:lnTo>
                    <a:pt x="1129" y="451"/>
                  </a:lnTo>
                  <a:lnTo>
                    <a:pt x="1129" y="447"/>
                  </a:lnTo>
                  <a:lnTo>
                    <a:pt x="1133" y="447"/>
                  </a:lnTo>
                  <a:lnTo>
                    <a:pt x="1137" y="443"/>
                  </a:lnTo>
                  <a:lnTo>
                    <a:pt x="1137" y="439"/>
                  </a:lnTo>
                  <a:lnTo>
                    <a:pt x="1137" y="443"/>
                  </a:lnTo>
                  <a:lnTo>
                    <a:pt x="1137" y="447"/>
                  </a:lnTo>
                  <a:lnTo>
                    <a:pt x="1133" y="447"/>
                  </a:lnTo>
                  <a:lnTo>
                    <a:pt x="1137" y="447"/>
                  </a:lnTo>
                  <a:lnTo>
                    <a:pt x="1137" y="451"/>
                  </a:lnTo>
                  <a:lnTo>
                    <a:pt x="1133" y="451"/>
                  </a:lnTo>
                  <a:lnTo>
                    <a:pt x="1133" y="455"/>
                  </a:lnTo>
                  <a:lnTo>
                    <a:pt x="1137" y="455"/>
                  </a:lnTo>
                  <a:lnTo>
                    <a:pt x="1137" y="451"/>
                  </a:lnTo>
                  <a:lnTo>
                    <a:pt x="1137" y="447"/>
                  </a:lnTo>
                  <a:lnTo>
                    <a:pt x="1141" y="443"/>
                  </a:lnTo>
                  <a:lnTo>
                    <a:pt x="1145" y="443"/>
                  </a:lnTo>
                  <a:lnTo>
                    <a:pt x="1145" y="447"/>
                  </a:lnTo>
                  <a:lnTo>
                    <a:pt x="1141" y="447"/>
                  </a:lnTo>
                  <a:lnTo>
                    <a:pt x="1141" y="451"/>
                  </a:lnTo>
                  <a:lnTo>
                    <a:pt x="1145" y="451"/>
                  </a:lnTo>
                  <a:lnTo>
                    <a:pt x="1145" y="455"/>
                  </a:lnTo>
                  <a:lnTo>
                    <a:pt x="1145" y="451"/>
                  </a:lnTo>
                  <a:lnTo>
                    <a:pt x="1141" y="451"/>
                  </a:lnTo>
                  <a:lnTo>
                    <a:pt x="1145" y="447"/>
                  </a:lnTo>
                  <a:lnTo>
                    <a:pt x="1148" y="447"/>
                  </a:lnTo>
                  <a:lnTo>
                    <a:pt x="1148" y="443"/>
                  </a:lnTo>
                  <a:lnTo>
                    <a:pt x="1152" y="447"/>
                  </a:lnTo>
                  <a:lnTo>
                    <a:pt x="1148" y="447"/>
                  </a:lnTo>
                  <a:lnTo>
                    <a:pt x="1148" y="451"/>
                  </a:lnTo>
                  <a:lnTo>
                    <a:pt x="1148" y="455"/>
                  </a:lnTo>
                  <a:lnTo>
                    <a:pt x="1148" y="451"/>
                  </a:lnTo>
                  <a:lnTo>
                    <a:pt x="1152" y="451"/>
                  </a:lnTo>
                  <a:lnTo>
                    <a:pt x="1152" y="455"/>
                  </a:lnTo>
                  <a:lnTo>
                    <a:pt x="1152" y="451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56" y="451"/>
                  </a:lnTo>
                  <a:lnTo>
                    <a:pt x="1156" y="455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64" y="455"/>
                  </a:lnTo>
                  <a:lnTo>
                    <a:pt x="1164" y="459"/>
                  </a:lnTo>
                  <a:lnTo>
                    <a:pt x="1160" y="459"/>
                  </a:lnTo>
                  <a:lnTo>
                    <a:pt x="1156" y="459"/>
                  </a:lnTo>
                  <a:lnTo>
                    <a:pt x="1160" y="459"/>
                  </a:lnTo>
                  <a:lnTo>
                    <a:pt x="1164" y="459"/>
                  </a:lnTo>
                  <a:lnTo>
                    <a:pt x="1164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3"/>
                  </a:lnTo>
                  <a:lnTo>
                    <a:pt x="1156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7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0" y="463"/>
                  </a:lnTo>
                  <a:lnTo>
                    <a:pt x="1164" y="463"/>
                  </a:lnTo>
                  <a:lnTo>
                    <a:pt x="1164" y="467"/>
                  </a:lnTo>
                  <a:lnTo>
                    <a:pt x="1160" y="467"/>
                  </a:lnTo>
                  <a:lnTo>
                    <a:pt x="1156" y="467"/>
                  </a:lnTo>
                  <a:lnTo>
                    <a:pt x="1152" y="471"/>
                  </a:lnTo>
                  <a:lnTo>
                    <a:pt x="1156" y="471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4" y="467"/>
                  </a:lnTo>
                  <a:lnTo>
                    <a:pt x="1168" y="467"/>
                  </a:lnTo>
                  <a:lnTo>
                    <a:pt x="1168" y="463"/>
                  </a:lnTo>
                  <a:lnTo>
                    <a:pt x="1172" y="467"/>
                  </a:lnTo>
                  <a:lnTo>
                    <a:pt x="1172" y="471"/>
                  </a:lnTo>
                  <a:lnTo>
                    <a:pt x="1168" y="471"/>
                  </a:lnTo>
                  <a:lnTo>
                    <a:pt x="1172" y="471"/>
                  </a:lnTo>
                  <a:lnTo>
                    <a:pt x="1172" y="467"/>
                  </a:lnTo>
                  <a:lnTo>
                    <a:pt x="1176" y="463"/>
                  </a:lnTo>
                  <a:lnTo>
                    <a:pt x="1180" y="463"/>
                  </a:lnTo>
                  <a:lnTo>
                    <a:pt x="1180" y="467"/>
                  </a:lnTo>
                  <a:lnTo>
                    <a:pt x="1176" y="467"/>
                  </a:lnTo>
                  <a:lnTo>
                    <a:pt x="1176" y="471"/>
                  </a:lnTo>
                  <a:lnTo>
                    <a:pt x="1172" y="475"/>
                  </a:lnTo>
                  <a:lnTo>
                    <a:pt x="1168" y="475"/>
                  </a:lnTo>
                  <a:lnTo>
                    <a:pt x="1172" y="475"/>
                  </a:lnTo>
                  <a:lnTo>
                    <a:pt x="1172" y="479"/>
                  </a:lnTo>
                  <a:lnTo>
                    <a:pt x="1176" y="475"/>
                  </a:lnTo>
                  <a:lnTo>
                    <a:pt x="1180" y="471"/>
                  </a:lnTo>
                  <a:lnTo>
                    <a:pt x="1184" y="471"/>
                  </a:lnTo>
                  <a:lnTo>
                    <a:pt x="1184" y="475"/>
                  </a:lnTo>
                  <a:lnTo>
                    <a:pt x="1184" y="479"/>
                  </a:lnTo>
                  <a:lnTo>
                    <a:pt x="1180" y="479"/>
                  </a:lnTo>
                  <a:lnTo>
                    <a:pt x="1184" y="479"/>
                  </a:lnTo>
                  <a:lnTo>
                    <a:pt x="1184" y="475"/>
                  </a:lnTo>
                  <a:lnTo>
                    <a:pt x="1184" y="471"/>
                  </a:lnTo>
                  <a:lnTo>
                    <a:pt x="1188" y="471"/>
                  </a:lnTo>
                  <a:lnTo>
                    <a:pt x="1188" y="475"/>
                  </a:lnTo>
                  <a:lnTo>
                    <a:pt x="1192" y="479"/>
                  </a:lnTo>
                  <a:lnTo>
                    <a:pt x="1188" y="475"/>
                  </a:lnTo>
                  <a:lnTo>
                    <a:pt x="1188" y="471"/>
                  </a:lnTo>
                  <a:lnTo>
                    <a:pt x="1192" y="471"/>
                  </a:lnTo>
                  <a:lnTo>
                    <a:pt x="1196" y="471"/>
                  </a:lnTo>
                  <a:lnTo>
                    <a:pt x="1192" y="475"/>
                  </a:lnTo>
                  <a:lnTo>
                    <a:pt x="1196" y="475"/>
                  </a:lnTo>
                  <a:lnTo>
                    <a:pt x="1196" y="471"/>
                  </a:lnTo>
                  <a:lnTo>
                    <a:pt x="1200" y="471"/>
                  </a:lnTo>
                  <a:lnTo>
                    <a:pt x="1200" y="475"/>
                  </a:lnTo>
                  <a:lnTo>
                    <a:pt x="1204" y="479"/>
                  </a:lnTo>
                  <a:lnTo>
                    <a:pt x="1208" y="483"/>
                  </a:lnTo>
                  <a:lnTo>
                    <a:pt x="1204" y="483"/>
                  </a:lnTo>
                  <a:lnTo>
                    <a:pt x="1200" y="483"/>
                  </a:lnTo>
                  <a:lnTo>
                    <a:pt x="1200" y="479"/>
                  </a:lnTo>
                  <a:lnTo>
                    <a:pt x="1196" y="479"/>
                  </a:lnTo>
                  <a:lnTo>
                    <a:pt x="1192" y="483"/>
                  </a:lnTo>
                  <a:lnTo>
                    <a:pt x="1196" y="483"/>
                  </a:lnTo>
                  <a:lnTo>
                    <a:pt x="1196" y="479"/>
                  </a:lnTo>
                  <a:lnTo>
                    <a:pt x="1196" y="483"/>
                  </a:lnTo>
                  <a:lnTo>
                    <a:pt x="1200" y="483"/>
                  </a:lnTo>
                  <a:lnTo>
                    <a:pt x="1200" y="487"/>
                  </a:lnTo>
                  <a:lnTo>
                    <a:pt x="1196" y="487"/>
                  </a:lnTo>
                  <a:lnTo>
                    <a:pt x="1200" y="487"/>
                  </a:lnTo>
                  <a:lnTo>
                    <a:pt x="1204" y="487"/>
                  </a:lnTo>
                  <a:lnTo>
                    <a:pt x="1200" y="487"/>
                  </a:lnTo>
                  <a:lnTo>
                    <a:pt x="1196" y="491"/>
                  </a:lnTo>
                  <a:lnTo>
                    <a:pt x="1192" y="491"/>
                  </a:lnTo>
                  <a:lnTo>
                    <a:pt x="1192" y="487"/>
                  </a:lnTo>
                  <a:lnTo>
                    <a:pt x="1188" y="487"/>
                  </a:lnTo>
                  <a:lnTo>
                    <a:pt x="1184" y="487"/>
                  </a:lnTo>
                  <a:lnTo>
                    <a:pt x="1188" y="487"/>
                  </a:lnTo>
                  <a:lnTo>
                    <a:pt x="1188" y="491"/>
                  </a:lnTo>
                  <a:lnTo>
                    <a:pt x="1192" y="491"/>
                  </a:lnTo>
                  <a:lnTo>
                    <a:pt x="1188" y="491"/>
                  </a:lnTo>
                  <a:lnTo>
                    <a:pt x="1184" y="491"/>
                  </a:lnTo>
                  <a:lnTo>
                    <a:pt x="1180" y="487"/>
                  </a:lnTo>
                  <a:lnTo>
                    <a:pt x="1184" y="491"/>
                  </a:lnTo>
                  <a:lnTo>
                    <a:pt x="1188" y="491"/>
                  </a:lnTo>
                  <a:lnTo>
                    <a:pt x="1192" y="495"/>
                  </a:lnTo>
                  <a:lnTo>
                    <a:pt x="1196" y="495"/>
                  </a:lnTo>
                  <a:lnTo>
                    <a:pt x="1192" y="499"/>
                  </a:lnTo>
                  <a:lnTo>
                    <a:pt x="1188" y="499"/>
                  </a:lnTo>
                  <a:lnTo>
                    <a:pt x="1188" y="495"/>
                  </a:lnTo>
                  <a:lnTo>
                    <a:pt x="1184" y="495"/>
                  </a:lnTo>
                  <a:lnTo>
                    <a:pt x="1180" y="495"/>
                  </a:lnTo>
                  <a:lnTo>
                    <a:pt x="1184" y="495"/>
                  </a:lnTo>
                  <a:lnTo>
                    <a:pt x="1184" y="499"/>
                  </a:lnTo>
                  <a:lnTo>
                    <a:pt x="1188" y="499"/>
                  </a:lnTo>
                  <a:lnTo>
                    <a:pt x="1192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499"/>
                  </a:lnTo>
                  <a:lnTo>
                    <a:pt x="1180" y="499"/>
                  </a:lnTo>
                  <a:lnTo>
                    <a:pt x="1184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507"/>
                  </a:lnTo>
                  <a:lnTo>
                    <a:pt x="1180" y="507"/>
                  </a:lnTo>
                  <a:lnTo>
                    <a:pt x="1180" y="503"/>
                  </a:lnTo>
                  <a:lnTo>
                    <a:pt x="1180" y="507"/>
                  </a:lnTo>
                  <a:lnTo>
                    <a:pt x="1176" y="507"/>
                  </a:lnTo>
                  <a:lnTo>
                    <a:pt x="1172" y="503"/>
                  </a:lnTo>
                  <a:lnTo>
                    <a:pt x="1176" y="507"/>
                  </a:lnTo>
                  <a:lnTo>
                    <a:pt x="1172" y="507"/>
                  </a:lnTo>
                  <a:lnTo>
                    <a:pt x="1168" y="507"/>
                  </a:lnTo>
                  <a:lnTo>
                    <a:pt x="1172" y="507"/>
                  </a:lnTo>
                  <a:lnTo>
                    <a:pt x="1176" y="507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72" y="507"/>
                  </a:lnTo>
                  <a:lnTo>
                    <a:pt x="1172" y="511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68" y="511"/>
                  </a:lnTo>
                  <a:lnTo>
                    <a:pt x="1172" y="511"/>
                  </a:lnTo>
                  <a:lnTo>
                    <a:pt x="1176" y="515"/>
                  </a:lnTo>
                  <a:lnTo>
                    <a:pt x="1172" y="519"/>
                  </a:lnTo>
                  <a:lnTo>
                    <a:pt x="1172" y="523"/>
                  </a:lnTo>
                  <a:lnTo>
                    <a:pt x="1172" y="527"/>
                  </a:lnTo>
                  <a:lnTo>
                    <a:pt x="1168" y="527"/>
                  </a:lnTo>
                  <a:lnTo>
                    <a:pt x="1168" y="523"/>
                  </a:lnTo>
                  <a:lnTo>
                    <a:pt x="1164" y="519"/>
                  </a:lnTo>
                  <a:lnTo>
                    <a:pt x="1164" y="523"/>
                  </a:lnTo>
                  <a:lnTo>
                    <a:pt x="1160" y="519"/>
                  </a:lnTo>
                  <a:lnTo>
                    <a:pt x="1164" y="519"/>
                  </a:lnTo>
                  <a:lnTo>
                    <a:pt x="1160" y="519"/>
                  </a:lnTo>
                  <a:lnTo>
                    <a:pt x="1160" y="515"/>
                  </a:lnTo>
                  <a:lnTo>
                    <a:pt x="1160" y="511"/>
                  </a:lnTo>
                  <a:lnTo>
                    <a:pt x="1156" y="515"/>
                  </a:lnTo>
                  <a:lnTo>
                    <a:pt x="1156" y="519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6" y="515"/>
                  </a:lnTo>
                  <a:lnTo>
                    <a:pt x="1152" y="515"/>
                  </a:lnTo>
                  <a:lnTo>
                    <a:pt x="1156" y="511"/>
                  </a:lnTo>
                  <a:lnTo>
                    <a:pt x="1160" y="511"/>
                  </a:lnTo>
                  <a:lnTo>
                    <a:pt x="1156" y="511"/>
                  </a:lnTo>
                  <a:lnTo>
                    <a:pt x="1152" y="511"/>
                  </a:lnTo>
                  <a:lnTo>
                    <a:pt x="1148" y="511"/>
                  </a:lnTo>
                  <a:lnTo>
                    <a:pt x="1148" y="515"/>
                  </a:lnTo>
                  <a:lnTo>
                    <a:pt x="1148" y="511"/>
                  </a:lnTo>
                  <a:lnTo>
                    <a:pt x="1152" y="511"/>
                  </a:lnTo>
                  <a:lnTo>
                    <a:pt x="1152" y="507"/>
                  </a:lnTo>
                  <a:lnTo>
                    <a:pt x="1148" y="511"/>
                  </a:lnTo>
                  <a:lnTo>
                    <a:pt x="1145" y="511"/>
                  </a:lnTo>
                  <a:lnTo>
                    <a:pt x="1145" y="507"/>
                  </a:lnTo>
                  <a:lnTo>
                    <a:pt x="1148" y="507"/>
                  </a:lnTo>
                  <a:lnTo>
                    <a:pt x="1152" y="507"/>
                  </a:lnTo>
                  <a:lnTo>
                    <a:pt x="1152" y="503"/>
                  </a:lnTo>
                  <a:lnTo>
                    <a:pt x="1148" y="503"/>
                  </a:lnTo>
                  <a:lnTo>
                    <a:pt x="1148" y="507"/>
                  </a:lnTo>
                  <a:lnTo>
                    <a:pt x="1145" y="507"/>
                  </a:lnTo>
                  <a:lnTo>
                    <a:pt x="1145" y="503"/>
                  </a:lnTo>
                  <a:lnTo>
                    <a:pt x="1141" y="503"/>
                  </a:lnTo>
                  <a:lnTo>
                    <a:pt x="1145" y="503"/>
                  </a:lnTo>
                  <a:lnTo>
                    <a:pt x="1145" y="499"/>
                  </a:lnTo>
                  <a:lnTo>
                    <a:pt x="1148" y="499"/>
                  </a:lnTo>
                  <a:lnTo>
                    <a:pt x="1152" y="499"/>
                  </a:lnTo>
                  <a:lnTo>
                    <a:pt x="1152" y="495"/>
                  </a:lnTo>
                  <a:lnTo>
                    <a:pt x="1152" y="491"/>
                  </a:lnTo>
                  <a:lnTo>
                    <a:pt x="1156" y="491"/>
                  </a:lnTo>
                  <a:lnTo>
                    <a:pt x="1160" y="491"/>
                  </a:lnTo>
                  <a:lnTo>
                    <a:pt x="1160" y="487"/>
                  </a:lnTo>
                  <a:lnTo>
                    <a:pt x="1156" y="487"/>
                  </a:lnTo>
                  <a:lnTo>
                    <a:pt x="1152" y="491"/>
                  </a:lnTo>
                  <a:lnTo>
                    <a:pt x="1152" y="495"/>
                  </a:lnTo>
                  <a:lnTo>
                    <a:pt x="1148" y="495"/>
                  </a:lnTo>
                  <a:lnTo>
                    <a:pt x="1145" y="499"/>
                  </a:lnTo>
                  <a:lnTo>
                    <a:pt x="1137" y="499"/>
                  </a:lnTo>
                  <a:lnTo>
                    <a:pt x="1137" y="495"/>
                  </a:lnTo>
                  <a:lnTo>
                    <a:pt x="1141" y="495"/>
                  </a:lnTo>
                  <a:lnTo>
                    <a:pt x="1141" y="491"/>
                  </a:lnTo>
                  <a:lnTo>
                    <a:pt x="1145" y="487"/>
                  </a:lnTo>
                  <a:lnTo>
                    <a:pt x="1141" y="491"/>
                  </a:lnTo>
                  <a:lnTo>
                    <a:pt x="1137" y="495"/>
                  </a:lnTo>
                  <a:lnTo>
                    <a:pt x="1133" y="495"/>
                  </a:lnTo>
                  <a:lnTo>
                    <a:pt x="1133" y="491"/>
                  </a:lnTo>
                  <a:lnTo>
                    <a:pt x="1129" y="491"/>
                  </a:lnTo>
                  <a:lnTo>
                    <a:pt x="1125" y="487"/>
                  </a:lnTo>
                  <a:lnTo>
                    <a:pt x="1129" y="487"/>
                  </a:lnTo>
                  <a:lnTo>
                    <a:pt x="1125" y="487"/>
                  </a:lnTo>
                  <a:lnTo>
                    <a:pt x="1121" y="487"/>
                  </a:lnTo>
                  <a:lnTo>
                    <a:pt x="1121" y="483"/>
                  </a:lnTo>
                  <a:lnTo>
                    <a:pt x="1121" y="479"/>
                  </a:lnTo>
                  <a:lnTo>
                    <a:pt x="1121" y="483"/>
                  </a:lnTo>
                  <a:lnTo>
                    <a:pt x="1117" y="483"/>
                  </a:lnTo>
                  <a:lnTo>
                    <a:pt x="1113" y="483"/>
                  </a:lnTo>
                  <a:lnTo>
                    <a:pt x="1109" y="483"/>
                  </a:lnTo>
                  <a:lnTo>
                    <a:pt x="1113" y="483"/>
                  </a:lnTo>
                  <a:lnTo>
                    <a:pt x="1117" y="483"/>
                  </a:lnTo>
                  <a:lnTo>
                    <a:pt x="1117" y="487"/>
                  </a:lnTo>
                  <a:lnTo>
                    <a:pt x="1113" y="487"/>
                  </a:lnTo>
                  <a:lnTo>
                    <a:pt x="1117" y="487"/>
                  </a:lnTo>
                  <a:lnTo>
                    <a:pt x="1117" y="491"/>
                  </a:lnTo>
                  <a:lnTo>
                    <a:pt x="1113" y="491"/>
                  </a:lnTo>
                  <a:lnTo>
                    <a:pt x="1113" y="487"/>
                  </a:lnTo>
                  <a:lnTo>
                    <a:pt x="1109" y="487"/>
                  </a:lnTo>
                  <a:lnTo>
                    <a:pt x="1109" y="483"/>
                  </a:lnTo>
                  <a:lnTo>
                    <a:pt x="1105" y="483"/>
                  </a:lnTo>
                  <a:lnTo>
                    <a:pt x="1105" y="487"/>
                  </a:lnTo>
                  <a:lnTo>
                    <a:pt x="1109" y="487"/>
                  </a:lnTo>
                  <a:lnTo>
                    <a:pt x="1109" y="491"/>
                  </a:lnTo>
                  <a:lnTo>
                    <a:pt x="1113" y="491"/>
                  </a:lnTo>
                  <a:lnTo>
                    <a:pt x="1113" y="495"/>
                  </a:lnTo>
                  <a:lnTo>
                    <a:pt x="1117" y="495"/>
                  </a:lnTo>
                  <a:lnTo>
                    <a:pt x="1117" y="499"/>
                  </a:lnTo>
                  <a:lnTo>
                    <a:pt x="1113" y="499"/>
                  </a:lnTo>
                  <a:lnTo>
                    <a:pt x="1109" y="499"/>
                  </a:lnTo>
                  <a:lnTo>
                    <a:pt x="1105" y="499"/>
                  </a:lnTo>
                  <a:lnTo>
                    <a:pt x="1105" y="495"/>
                  </a:lnTo>
                  <a:lnTo>
                    <a:pt x="1101" y="495"/>
                  </a:lnTo>
                  <a:lnTo>
                    <a:pt x="1101" y="491"/>
                  </a:lnTo>
                  <a:lnTo>
                    <a:pt x="1097" y="491"/>
                  </a:lnTo>
                  <a:lnTo>
                    <a:pt x="1093" y="491"/>
                  </a:lnTo>
                  <a:lnTo>
                    <a:pt x="1097" y="491"/>
                  </a:lnTo>
                  <a:lnTo>
                    <a:pt x="1097" y="495"/>
                  </a:lnTo>
                  <a:lnTo>
                    <a:pt x="1101" y="495"/>
                  </a:lnTo>
                  <a:lnTo>
                    <a:pt x="1105" y="495"/>
                  </a:lnTo>
                  <a:lnTo>
                    <a:pt x="1105" y="499"/>
                  </a:lnTo>
                  <a:lnTo>
                    <a:pt x="1101" y="499"/>
                  </a:lnTo>
                  <a:lnTo>
                    <a:pt x="1101" y="495"/>
                  </a:lnTo>
                  <a:lnTo>
                    <a:pt x="1101" y="499"/>
                  </a:lnTo>
                  <a:lnTo>
                    <a:pt x="1101" y="503"/>
                  </a:lnTo>
                  <a:lnTo>
                    <a:pt x="1105" y="503"/>
                  </a:lnTo>
                  <a:lnTo>
                    <a:pt x="1109" y="503"/>
                  </a:lnTo>
                  <a:lnTo>
                    <a:pt x="1105" y="507"/>
                  </a:lnTo>
                  <a:lnTo>
                    <a:pt x="1105" y="511"/>
                  </a:lnTo>
                  <a:lnTo>
                    <a:pt x="1105" y="507"/>
                  </a:lnTo>
                  <a:lnTo>
                    <a:pt x="1109" y="507"/>
                  </a:lnTo>
                  <a:lnTo>
                    <a:pt x="1113" y="507"/>
                  </a:lnTo>
                  <a:lnTo>
                    <a:pt x="1117" y="507"/>
                  </a:lnTo>
                  <a:lnTo>
                    <a:pt x="1113" y="511"/>
                  </a:lnTo>
                  <a:lnTo>
                    <a:pt x="1117" y="511"/>
                  </a:lnTo>
                  <a:lnTo>
                    <a:pt x="1121" y="511"/>
                  </a:lnTo>
                  <a:lnTo>
                    <a:pt x="1117" y="515"/>
                  </a:lnTo>
                  <a:lnTo>
                    <a:pt x="1113" y="515"/>
                  </a:lnTo>
                  <a:lnTo>
                    <a:pt x="1117" y="515"/>
                  </a:lnTo>
                  <a:lnTo>
                    <a:pt x="1121" y="519"/>
                  </a:lnTo>
                  <a:lnTo>
                    <a:pt x="1117" y="519"/>
                  </a:lnTo>
                  <a:lnTo>
                    <a:pt x="1117" y="523"/>
                  </a:lnTo>
                  <a:lnTo>
                    <a:pt x="1121" y="519"/>
                  </a:lnTo>
                  <a:lnTo>
                    <a:pt x="1125" y="519"/>
                  </a:lnTo>
                  <a:lnTo>
                    <a:pt x="1121" y="523"/>
                  </a:lnTo>
                  <a:lnTo>
                    <a:pt x="1125" y="523"/>
                  </a:lnTo>
                  <a:lnTo>
                    <a:pt x="1125" y="527"/>
                  </a:lnTo>
                  <a:lnTo>
                    <a:pt x="1125" y="531"/>
                  </a:lnTo>
                  <a:lnTo>
                    <a:pt x="1125" y="527"/>
                  </a:lnTo>
                  <a:lnTo>
                    <a:pt x="1125" y="523"/>
                  </a:lnTo>
                  <a:lnTo>
                    <a:pt x="1129" y="523"/>
                  </a:lnTo>
                  <a:lnTo>
                    <a:pt x="1129" y="527"/>
                  </a:lnTo>
                  <a:lnTo>
                    <a:pt x="1133" y="527"/>
                  </a:lnTo>
                  <a:lnTo>
                    <a:pt x="1133" y="531"/>
                  </a:lnTo>
                  <a:lnTo>
                    <a:pt x="1133" y="527"/>
                  </a:lnTo>
                  <a:lnTo>
                    <a:pt x="1137" y="527"/>
                  </a:lnTo>
                  <a:lnTo>
                    <a:pt x="1133" y="531"/>
                  </a:lnTo>
                  <a:lnTo>
                    <a:pt x="1137" y="531"/>
                  </a:lnTo>
                  <a:lnTo>
                    <a:pt x="1137" y="527"/>
                  </a:lnTo>
                  <a:lnTo>
                    <a:pt x="1141" y="527"/>
                  </a:lnTo>
                  <a:lnTo>
                    <a:pt x="1141" y="531"/>
                  </a:lnTo>
                  <a:lnTo>
                    <a:pt x="1141" y="535"/>
                  </a:lnTo>
                  <a:lnTo>
                    <a:pt x="1145" y="535"/>
                  </a:lnTo>
                  <a:lnTo>
                    <a:pt x="1148" y="535"/>
                  </a:lnTo>
                  <a:lnTo>
                    <a:pt x="1148" y="539"/>
                  </a:lnTo>
                  <a:lnTo>
                    <a:pt x="1148" y="543"/>
                  </a:lnTo>
                  <a:lnTo>
                    <a:pt x="1145" y="543"/>
                  </a:lnTo>
                  <a:lnTo>
                    <a:pt x="1145" y="539"/>
                  </a:lnTo>
                  <a:lnTo>
                    <a:pt x="1141" y="539"/>
                  </a:lnTo>
                  <a:lnTo>
                    <a:pt x="1141" y="543"/>
                  </a:lnTo>
                  <a:lnTo>
                    <a:pt x="1145" y="543"/>
                  </a:lnTo>
                  <a:lnTo>
                    <a:pt x="1148" y="547"/>
                  </a:lnTo>
                  <a:lnTo>
                    <a:pt x="1152" y="547"/>
                  </a:lnTo>
                  <a:lnTo>
                    <a:pt x="1156" y="547"/>
                  </a:lnTo>
                  <a:lnTo>
                    <a:pt x="1156" y="551"/>
                  </a:lnTo>
                  <a:lnTo>
                    <a:pt x="1152" y="551"/>
                  </a:lnTo>
                  <a:lnTo>
                    <a:pt x="1148" y="551"/>
                  </a:lnTo>
                  <a:lnTo>
                    <a:pt x="1148" y="555"/>
                  </a:lnTo>
                  <a:lnTo>
                    <a:pt x="1152" y="555"/>
                  </a:lnTo>
                  <a:lnTo>
                    <a:pt x="1156" y="555"/>
                  </a:lnTo>
                  <a:lnTo>
                    <a:pt x="1156" y="559"/>
                  </a:lnTo>
                  <a:lnTo>
                    <a:pt x="1156" y="563"/>
                  </a:lnTo>
                  <a:lnTo>
                    <a:pt x="1156" y="567"/>
                  </a:lnTo>
                  <a:lnTo>
                    <a:pt x="1152" y="567"/>
                  </a:lnTo>
                  <a:lnTo>
                    <a:pt x="1152" y="563"/>
                  </a:lnTo>
                  <a:lnTo>
                    <a:pt x="1152" y="559"/>
                  </a:lnTo>
                  <a:lnTo>
                    <a:pt x="1148" y="559"/>
                  </a:lnTo>
                  <a:lnTo>
                    <a:pt x="1148" y="555"/>
                  </a:lnTo>
                  <a:lnTo>
                    <a:pt x="1145" y="555"/>
                  </a:lnTo>
                  <a:lnTo>
                    <a:pt x="1148" y="555"/>
                  </a:lnTo>
                  <a:lnTo>
                    <a:pt x="1148" y="559"/>
                  </a:lnTo>
                  <a:lnTo>
                    <a:pt x="1148" y="563"/>
                  </a:lnTo>
                  <a:lnTo>
                    <a:pt x="1152" y="567"/>
                  </a:lnTo>
                  <a:lnTo>
                    <a:pt x="1148" y="567"/>
                  </a:lnTo>
                  <a:lnTo>
                    <a:pt x="1148" y="571"/>
                  </a:lnTo>
                  <a:lnTo>
                    <a:pt x="1152" y="571"/>
                  </a:lnTo>
                  <a:lnTo>
                    <a:pt x="1152" y="575"/>
                  </a:lnTo>
                  <a:lnTo>
                    <a:pt x="1156" y="575"/>
                  </a:lnTo>
                  <a:lnTo>
                    <a:pt x="1152" y="579"/>
                  </a:lnTo>
                  <a:lnTo>
                    <a:pt x="1148" y="575"/>
                  </a:lnTo>
                  <a:lnTo>
                    <a:pt x="1145" y="575"/>
                  </a:lnTo>
                  <a:lnTo>
                    <a:pt x="1148" y="579"/>
                  </a:lnTo>
                  <a:lnTo>
                    <a:pt x="1148" y="583"/>
                  </a:lnTo>
                  <a:lnTo>
                    <a:pt x="1152" y="583"/>
                  </a:lnTo>
                  <a:lnTo>
                    <a:pt x="1148" y="583"/>
                  </a:lnTo>
                  <a:lnTo>
                    <a:pt x="1148" y="587"/>
                  </a:lnTo>
                  <a:lnTo>
                    <a:pt x="1145" y="583"/>
                  </a:lnTo>
                  <a:lnTo>
                    <a:pt x="1145" y="579"/>
                  </a:lnTo>
                  <a:lnTo>
                    <a:pt x="1141" y="579"/>
                  </a:lnTo>
                  <a:lnTo>
                    <a:pt x="1141" y="575"/>
                  </a:lnTo>
                  <a:lnTo>
                    <a:pt x="1137" y="575"/>
                  </a:lnTo>
                  <a:lnTo>
                    <a:pt x="1133" y="575"/>
                  </a:lnTo>
                  <a:lnTo>
                    <a:pt x="1133" y="571"/>
                  </a:lnTo>
                  <a:lnTo>
                    <a:pt x="1129" y="571"/>
                  </a:lnTo>
                  <a:lnTo>
                    <a:pt x="1133" y="575"/>
                  </a:lnTo>
                  <a:lnTo>
                    <a:pt x="1129" y="575"/>
                  </a:lnTo>
                  <a:lnTo>
                    <a:pt x="1129" y="571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5" y="563"/>
                  </a:lnTo>
                  <a:lnTo>
                    <a:pt x="1125" y="567"/>
                  </a:lnTo>
                  <a:lnTo>
                    <a:pt x="1125" y="571"/>
                  </a:lnTo>
                  <a:lnTo>
                    <a:pt x="1125" y="575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1" y="567"/>
                  </a:lnTo>
                  <a:lnTo>
                    <a:pt x="1121" y="571"/>
                  </a:lnTo>
                  <a:lnTo>
                    <a:pt x="1121" y="567"/>
                  </a:lnTo>
                  <a:lnTo>
                    <a:pt x="1121" y="563"/>
                  </a:lnTo>
                  <a:lnTo>
                    <a:pt x="1121" y="567"/>
                  </a:lnTo>
                  <a:lnTo>
                    <a:pt x="1117" y="567"/>
                  </a:lnTo>
                  <a:lnTo>
                    <a:pt x="1113" y="563"/>
                  </a:lnTo>
                  <a:lnTo>
                    <a:pt x="1109" y="559"/>
                  </a:lnTo>
                  <a:lnTo>
                    <a:pt x="1109" y="555"/>
                  </a:lnTo>
                  <a:lnTo>
                    <a:pt x="1105" y="555"/>
                  </a:lnTo>
                  <a:lnTo>
                    <a:pt x="1109" y="559"/>
                  </a:lnTo>
                  <a:lnTo>
                    <a:pt x="1109" y="563"/>
                  </a:lnTo>
                  <a:lnTo>
                    <a:pt x="1109" y="567"/>
                  </a:lnTo>
                  <a:lnTo>
                    <a:pt x="1109" y="563"/>
                  </a:lnTo>
                  <a:lnTo>
                    <a:pt x="1105" y="563"/>
                  </a:lnTo>
                  <a:lnTo>
                    <a:pt x="1105" y="559"/>
                  </a:lnTo>
                  <a:lnTo>
                    <a:pt x="1101" y="559"/>
                  </a:lnTo>
                  <a:lnTo>
                    <a:pt x="1097" y="559"/>
                  </a:lnTo>
                  <a:lnTo>
                    <a:pt x="1097" y="555"/>
                  </a:lnTo>
                  <a:lnTo>
                    <a:pt x="1093" y="555"/>
                  </a:lnTo>
                  <a:lnTo>
                    <a:pt x="1089" y="555"/>
                  </a:lnTo>
                  <a:lnTo>
                    <a:pt x="1093" y="559"/>
                  </a:lnTo>
                  <a:lnTo>
                    <a:pt x="1097" y="563"/>
                  </a:lnTo>
                  <a:lnTo>
                    <a:pt x="1101" y="567"/>
                  </a:lnTo>
                  <a:lnTo>
                    <a:pt x="1101" y="571"/>
                  </a:lnTo>
                  <a:lnTo>
                    <a:pt x="1105" y="571"/>
                  </a:lnTo>
                  <a:lnTo>
                    <a:pt x="1109" y="571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17" y="579"/>
                  </a:lnTo>
                  <a:lnTo>
                    <a:pt x="1121" y="579"/>
                  </a:lnTo>
                  <a:lnTo>
                    <a:pt x="1121" y="583"/>
                  </a:lnTo>
                  <a:lnTo>
                    <a:pt x="1125" y="583"/>
                  </a:lnTo>
                  <a:lnTo>
                    <a:pt x="1129" y="587"/>
                  </a:lnTo>
                  <a:lnTo>
                    <a:pt x="1129" y="591"/>
                  </a:lnTo>
                  <a:lnTo>
                    <a:pt x="1133" y="591"/>
                  </a:lnTo>
                  <a:lnTo>
                    <a:pt x="1133" y="595"/>
                  </a:lnTo>
                  <a:lnTo>
                    <a:pt x="1137" y="595"/>
                  </a:lnTo>
                  <a:lnTo>
                    <a:pt x="1133" y="595"/>
                  </a:lnTo>
                  <a:lnTo>
                    <a:pt x="1133" y="599"/>
                  </a:lnTo>
                  <a:lnTo>
                    <a:pt x="1137" y="599"/>
                  </a:lnTo>
                  <a:lnTo>
                    <a:pt x="1137" y="603"/>
                  </a:lnTo>
                  <a:lnTo>
                    <a:pt x="1133" y="603"/>
                  </a:lnTo>
                  <a:lnTo>
                    <a:pt x="1129" y="603"/>
                  </a:lnTo>
                  <a:lnTo>
                    <a:pt x="1125" y="603"/>
                  </a:lnTo>
                  <a:lnTo>
                    <a:pt x="1125" y="599"/>
                  </a:lnTo>
                  <a:lnTo>
                    <a:pt x="1121" y="599"/>
                  </a:lnTo>
                  <a:lnTo>
                    <a:pt x="1117" y="599"/>
                  </a:lnTo>
                  <a:lnTo>
                    <a:pt x="1113" y="595"/>
                  </a:lnTo>
                  <a:lnTo>
                    <a:pt x="1109" y="595"/>
                  </a:lnTo>
                  <a:lnTo>
                    <a:pt x="1105" y="595"/>
                  </a:lnTo>
                  <a:lnTo>
                    <a:pt x="1101" y="595"/>
                  </a:lnTo>
                  <a:lnTo>
                    <a:pt x="1097" y="595"/>
                  </a:lnTo>
                  <a:lnTo>
                    <a:pt x="1097" y="591"/>
                  </a:lnTo>
                  <a:lnTo>
                    <a:pt x="1093" y="591"/>
                  </a:lnTo>
                  <a:lnTo>
                    <a:pt x="1089" y="591"/>
                  </a:lnTo>
                  <a:lnTo>
                    <a:pt x="1089" y="587"/>
                  </a:lnTo>
                  <a:lnTo>
                    <a:pt x="1085" y="587"/>
                  </a:lnTo>
                  <a:lnTo>
                    <a:pt x="1085" y="583"/>
                  </a:lnTo>
                  <a:lnTo>
                    <a:pt x="1085" y="587"/>
                  </a:lnTo>
                  <a:lnTo>
                    <a:pt x="1081" y="583"/>
                  </a:lnTo>
                  <a:lnTo>
                    <a:pt x="1081" y="579"/>
                  </a:lnTo>
                  <a:lnTo>
                    <a:pt x="1077" y="579"/>
                  </a:lnTo>
                  <a:lnTo>
                    <a:pt x="1073" y="579"/>
                  </a:lnTo>
                  <a:close/>
                  <a:moveTo>
                    <a:pt x="965" y="311"/>
                  </a:moveTo>
                  <a:lnTo>
                    <a:pt x="961" y="311"/>
                  </a:lnTo>
                  <a:lnTo>
                    <a:pt x="957" y="311"/>
                  </a:lnTo>
                  <a:lnTo>
                    <a:pt x="953" y="311"/>
                  </a:lnTo>
                  <a:lnTo>
                    <a:pt x="949" y="311"/>
                  </a:lnTo>
                  <a:lnTo>
                    <a:pt x="945" y="311"/>
                  </a:lnTo>
                  <a:lnTo>
                    <a:pt x="941" y="311"/>
                  </a:lnTo>
                  <a:lnTo>
                    <a:pt x="937" y="315"/>
                  </a:lnTo>
                  <a:lnTo>
                    <a:pt x="933" y="315"/>
                  </a:lnTo>
                  <a:lnTo>
                    <a:pt x="929" y="315"/>
                  </a:lnTo>
                  <a:lnTo>
                    <a:pt x="925" y="311"/>
                  </a:lnTo>
                  <a:lnTo>
                    <a:pt x="921" y="311"/>
                  </a:lnTo>
                  <a:lnTo>
                    <a:pt x="921" y="307"/>
                  </a:lnTo>
                  <a:lnTo>
                    <a:pt x="921" y="303"/>
                  </a:lnTo>
                  <a:lnTo>
                    <a:pt x="921" y="299"/>
                  </a:lnTo>
                  <a:lnTo>
                    <a:pt x="917" y="299"/>
                  </a:lnTo>
                  <a:lnTo>
                    <a:pt x="913" y="299"/>
                  </a:lnTo>
                  <a:lnTo>
                    <a:pt x="909" y="299"/>
                  </a:lnTo>
                  <a:lnTo>
                    <a:pt x="909" y="295"/>
                  </a:lnTo>
                  <a:lnTo>
                    <a:pt x="909" y="287"/>
                  </a:lnTo>
                  <a:lnTo>
                    <a:pt x="913" y="287"/>
                  </a:lnTo>
                  <a:lnTo>
                    <a:pt x="917" y="287"/>
                  </a:lnTo>
                  <a:lnTo>
                    <a:pt x="921" y="287"/>
                  </a:lnTo>
                  <a:lnTo>
                    <a:pt x="925" y="287"/>
                  </a:lnTo>
                  <a:lnTo>
                    <a:pt x="929" y="287"/>
                  </a:lnTo>
                  <a:lnTo>
                    <a:pt x="929" y="291"/>
                  </a:lnTo>
                  <a:lnTo>
                    <a:pt x="933" y="291"/>
                  </a:lnTo>
                  <a:lnTo>
                    <a:pt x="937" y="291"/>
                  </a:lnTo>
                  <a:lnTo>
                    <a:pt x="937" y="287"/>
                  </a:lnTo>
                  <a:lnTo>
                    <a:pt x="941" y="287"/>
                  </a:lnTo>
                  <a:lnTo>
                    <a:pt x="945" y="287"/>
                  </a:lnTo>
                  <a:lnTo>
                    <a:pt x="949" y="287"/>
                  </a:lnTo>
                  <a:lnTo>
                    <a:pt x="953" y="287"/>
                  </a:lnTo>
                  <a:lnTo>
                    <a:pt x="953" y="291"/>
                  </a:lnTo>
                  <a:lnTo>
                    <a:pt x="957" y="291"/>
                  </a:lnTo>
                  <a:lnTo>
                    <a:pt x="961" y="291"/>
                  </a:lnTo>
                  <a:lnTo>
                    <a:pt x="965" y="291"/>
                  </a:lnTo>
                  <a:lnTo>
                    <a:pt x="965" y="295"/>
                  </a:lnTo>
                  <a:lnTo>
                    <a:pt x="969" y="295"/>
                  </a:lnTo>
                  <a:lnTo>
                    <a:pt x="969" y="299"/>
                  </a:lnTo>
                  <a:lnTo>
                    <a:pt x="973" y="299"/>
                  </a:lnTo>
                  <a:lnTo>
                    <a:pt x="973" y="303"/>
                  </a:lnTo>
                  <a:lnTo>
                    <a:pt x="977" y="303"/>
                  </a:lnTo>
                  <a:lnTo>
                    <a:pt x="977" y="307"/>
                  </a:lnTo>
                  <a:lnTo>
                    <a:pt x="981" y="307"/>
                  </a:lnTo>
                  <a:lnTo>
                    <a:pt x="981" y="311"/>
                  </a:lnTo>
                  <a:lnTo>
                    <a:pt x="977" y="311"/>
                  </a:lnTo>
                  <a:lnTo>
                    <a:pt x="973" y="311"/>
                  </a:lnTo>
                  <a:lnTo>
                    <a:pt x="969" y="311"/>
                  </a:lnTo>
                  <a:lnTo>
                    <a:pt x="965" y="311"/>
                  </a:lnTo>
                  <a:close/>
                  <a:moveTo>
                    <a:pt x="542" y="311"/>
                  </a:moveTo>
                  <a:lnTo>
                    <a:pt x="538" y="307"/>
                  </a:lnTo>
                  <a:lnTo>
                    <a:pt x="538" y="311"/>
                  </a:lnTo>
                  <a:lnTo>
                    <a:pt x="542" y="311"/>
                  </a:lnTo>
                  <a:lnTo>
                    <a:pt x="538" y="311"/>
                  </a:lnTo>
                  <a:lnTo>
                    <a:pt x="534" y="307"/>
                  </a:lnTo>
                  <a:lnTo>
                    <a:pt x="530" y="303"/>
                  </a:lnTo>
                  <a:lnTo>
                    <a:pt x="526" y="303"/>
                  </a:lnTo>
                  <a:lnTo>
                    <a:pt x="526" y="299"/>
                  </a:lnTo>
                  <a:lnTo>
                    <a:pt x="522" y="295"/>
                  </a:lnTo>
                  <a:lnTo>
                    <a:pt x="518" y="295"/>
                  </a:lnTo>
                  <a:lnTo>
                    <a:pt x="514" y="295"/>
                  </a:lnTo>
                  <a:lnTo>
                    <a:pt x="514" y="291"/>
                  </a:lnTo>
                  <a:lnTo>
                    <a:pt x="518" y="287"/>
                  </a:lnTo>
                  <a:lnTo>
                    <a:pt x="522" y="287"/>
                  </a:lnTo>
                  <a:lnTo>
                    <a:pt x="526" y="287"/>
                  </a:lnTo>
                  <a:lnTo>
                    <a:pt x="530" y="287"/>
                  </a:lnTo>
                  <a:lnTo>
                    <a:pt x="534" y="287"/>
                  </a:lnTo>
                  <a:lnTo>
                    <a:pt x="538" y="287"/>
                  </a:lnTo>
                  <a:lnTo>
                    <a:pt x="542" y="287"/>
                  </a:lnTo>
                  <a:lnTo>
                    <a:pt x="546" y="287"/>
                  </a:lnTo>
                  <a:lnTo>
                    <a:pt x="550" y="291"/>
                  </a:lnTo>
                  <a:lnTo>
                    <a:pt x="550" y="295"/>
                  </a:lnTo>
                  <a:lnTo>
                    <a:pt x="550" y="299"/>
                  </a:lnTo>
                  <a:lnTo>
                    <a:pt x="546" y="303"/>
                  </a:lnTo>
                  <a:lnTo>
                    <a:pt x="546" y="307"/>
                  </a:lnTo>
                  <a:lnTo>
                    <a:pt x="542" y="307"/>
                  </a:lnTo>
                  <a:lnTo>
                    <a:pt x="542" y="311"/>
                  </a:lnTo>
                  <a:close/>
                  <a:moveTo>
                    <a:pt x="251" y="291"/>
                  </a:moveTo>
                  <a:lnTo>
                    <a:pt x="255" y="291"/>
                  </a:lnTo>
                  <a:lnTo>
                    <a:pt x="251" y="291"/>
                  </a:lnTo>
                  <a:close/>
                  <a:moveTo>
                    <a:pt x="506" y="291"/>
                  </a:moveTo>
                  <a:lnTo>
                    <a:pt x="502" y="291"/>
                  </a:lnTo>
                  <a:lnTo>
                    <a:pt x="498" y="291"/>
                  </a:lnTo>
                  <a:lnTo>
                    <a:pt x="502" y="291"/>
                  </a:lnTo>
                  <a:lnTo>
                    <a:pt x="506" y="291"/>
                  </a:lnTo>
                  <a:close/>
                  <a:moveTo>
                    <a:pt x="379" y="375"/>
                  </a:moveTo>
                  <a:lnTo>
                    <a:pt x="375" y="375"/>
                  </a:lnTo>
                  <a:lnTo>
                    <a:pt x="371" y="375"/>
                  </a:lnTo>
                  <a:lnTo>
                    <a:pt x="367" y="375"/>
                  </a:lnTo>
                  <a:lnTo>
                    <a:pt x="363" y="375"/>
                  </a:lnTo>
                  <a:lnTo>
                    <a:pt x="359" y="375"/>
                  </a:lnTo>
                  <a:lnTo>
                    <a:pt x="355" y="375"/>
                  </a:lnTo>
                  <a:lnTo>
                    <a:pt x="351" y="375"/>
                  </a:lnTo>
                  <a:lnTo>
                    <a:pt x="351" y="371"/>
                  </a:lnTo>
                  <a:lnTo>
                    <a:pt x="347" y="371"/>
                  </a:lnTo>
                  <a:lnTo>
                    <a:pt x="347" y="367"/>
                  </a:lnTo>
                  <a:lnTo>
                    <a:pt x="343" y="367"/>
                  </a:lnTo>
                  <a:lnTo>
                    <a:pt x="343" y="363"/>
                  </a:lnTo>
                  <a:lnTo>
                    <a:pt x="347" y="359"/>
                  </a:lnTo>
                  <a:lnTo>
                    <a:pt x="351" y="359"/>
                  </a:lnTo>
                  <a:lnTo>
                    <a:pt x="355" y="359"/>
                  </a:lnTo>
                  <a:lnTo>
                    <a:pt x="359" y="359"/>
                  </a:lnTo>
                  <a:lnTo>
                    <a:pt x="363" y="355"/>
                  </a:lnTo>
                  <a:lnTo>
                    <a:pt x="367" y="355"/>
                  </a:lnTo>
                  <a:lnTo>
                    <a:pt x="371" y="355"/>
                  </a:lnTo>
                  <a:lnTo>
                    <a:pt x="375" y="355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3" y="351"/>
                  </a:lnTo>
                  <a:lnTo>
                    <a:pt x="379" y="351"/>
                  </a:lnTo>
                  <a:lnTo>
                    <a:pt x="383" y="351"/>
                  </a:lnTo>
                  <a:lnTo>
                    <a:pt x="387" y="351"/>
                  </a:lnTo>
                  <a:lnTo>
                    <a:pt x="391" y="351"/>
                  </a:lnTo>
                  <a:lnTo>
                    <a:pt x="391" y="347"/>
                  </a:lnTo>
                  <a:lnTo>
                    <a:pt x="391" y="351"/>
                  </a:lnTo>
                  <a:lnTo>
                    <a:pt x="387" y="351"/>
                  </a:lnTo>
                  <a:lnTo>
                    <a:pt x="387" y="347"/>
                  </a:lnTo>
                  <a:lnTo>
                    <a:pt x="383" y="347"/>
                  </a:lnTo>
                  <a:lnTo>
                    <a:pt x="379" y="347"/>
                  </a:lnTo>
                  <a:lnTo>
                    <a:pt x="375" y="351"/>
                  </a:lnTo>
                  <a:lnTo>
                    <a:pt x="371" y="351"/>
                  </a:lnTo>
                  <a:lnTo>
                    <a:pt x="367" y="351"/>
                  </a:lnTo>
                  <a:lnTo>
                    <a:pt x="363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5" y="355"/>
                  </a:lnTo>
                  <a:lnTo>
                    <a:pt x="351" y="351"/>
                  </a:lnTo>
                  <a:lnTo>
                    <a:pt x="351" y="355"/>
                  </a:lnTo>
                  <a:lnTo>
                    <a:pt x="351" y="351"/>
                  </a:lnTo>
                  <a:lnTo>
                    <a:pt x="347" y="351"/>
                  </a:lnTo>
                  <a:lnTo>
                    <a:pt x="343" y="351"/>
                  </a:lnTo>
                  <a:lnTo>
                    <a:pt x="347" y="347"/>
                  </a:lnTo>
                  <a:lnTo>
                    <a:pt x="351" y="347"/>
                  </a:lnTo>
                  <a:lnTo>
                    <a:pt x="355" y="347"/>
                  </a:lnTo>
                  <a:lnTo>
                    <a:pt x="351" y="347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43"/>
                  </a:lnTo>
                  <a:lnTo>
                    <a:pt x="335" y="343"/>
                  </a:lnTo>
                  <a:lnTo>
                    <a:pt x="335" y="347"/>
                  </a:lnTo>
                  <a:lnTo>
                    <a:pt x="331" y="347"/>
                  </a:lnTo>
                  <a:lnTo>
                    <a:pt x="331" y="343"/>
                  </a:lnTo>
                  <a:lnTo>
                    <a:pt x="331" y="339"/>
                  </a:lnTo>
                  <a:lnTo>
                    <a:pt x="335" y="335"/>
                  </a:lnTo>
                  <a:lnTo>
                    <a:pt x="339" y="335"/>
                  </a:lnTo>
                  <a:lnTo>
                    <a:pt x="335" y="331"/>
                  </a:lnTo>
                  <a:lnTo>
                    <a:pt x="339" y="331"/>
                  </a:lnTo>
                  <a:lnTo>
                    <a:pt x="343" y="331"/>
                  </a:lnTo>
                  <a:lnTo>
                    <a:pt x="347" y="331"/>
                  </a:lnTo>
                  <a:lnTo>
                    <a:pt x="347" y="327"/>
                  </a:lnTo>
                  <a:lnTo>
                    <a:pt x="343" y="327"/>
                  </a:lnTo>
                  <a:lnTo>
                    <a:pt x="339" y="327"/>
                  </a:lnTo>
                  <a:lnTo>
                    <a:pt x="339" y="323"/>
                  </a:lnTo>
                  <a:lnTo>
                    <a:pt x="343" y="319"/>
                  </a:lnTo>
                  <a:lnTo>
                    <a:pt x="347" y="319"/>
                  </a:lnTo>
                  <a:lnTo>
                    <a:pt x="351" y="315"/>
                  </a:lnTo>
                  <a:lnTo>
                    <a:pt x="355" y="315"/>
                  </a:lnTo>
                  <a:lnTo>
                    <a:pt x="355" y="311"/>
                  </a:lnTo>
                  <a:lnTo>
                    <a:pt x="359" y="311"/>
                  </a:lnTo>
                  <a:lnTo>
                    <a:pt x="363" y="311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71" y="307"/>
                  </a:lnTo>
                  <a:lnTo>
                    <a:pt x="375" y="303"/>
                  </a:lnTo>
                  <a:lnTo>
                    <a:pt x="379" y="303"/>
                  </a:lnTo>
                  <a:lnTo>
                    <a:pt x="383" y="303"/>
                  </a:lnTo>
                  <a:lnTo>
                    <a:pt x="387" y="299"/>
                  </a:lnTo>
                  <a:lnTo>
                    <a:pt x="391" y="299"/>
                  </a:lnTo>
                  <a:lnTo>
                    <a:pt x="395" y="299"/>
                  </a:lnTo>
                  <a:lnTo>
                    <a:pt x="399" y="295"/>
                  </a:lnTo>
                  <a:lnTo>
                    <a:pt x="403" y="299"/>
                  </a:lnTo>
                  <a:lnTo>
                    <a:pt x="407" y="299"/>
                  </a:lnTo>
                  <a:lnTo>
                    <a:pt x="407" y="303"/>
                  </a:lnTo>
                  <a:lnTo>
                    <a:pt x="411" y="303"/>
                  </a:lnTo>
                  <a:lnTo>
                    <a:pt x="407" y="307"/>
                  </a:lnTo>
                  <a:lnTo>
                    <a:pt x="407" y="311"/>
                  </a:lnTo>
                  <a:lnTo>
                    <a:pt x="407" y="315"/>
                  </a:lnTo>
                  <a:lnTo>
                    <a:pt x="403" y="315"/>
                  </a:lnTo>
                  <a:lnTo>
                    <a:pt x="403" y="319"/>
                  </a:lnTo>
                  <a:lnTo>
                    <a:pt x="399" y="319"/>
                  </a:lnTo>
                  <a:lnTo>
                    <a:pt x="403" y="319"/>
                  </a:lnTo>
                  <a:lnTo>
                    <a:pt x="407" y="319"/>
                  </a:lnTo>
                  <a:lnTo>
                    <a:pt x="411" y="315"/>
                  </a:lnTo>
                  <a:lnTo>
                    <a:pt x="411" y="319"/>
                  </a:lnTo>
                  <a:lnTo>
                    <a:pt x="415" y="315"/>
                  </a:lnTo>
                  <a:lnTo>
                    <a:pt x="415" y="319"/>
                  </a:lnTo>
                  <a:lnTo>
                    <a:pt x="411" y="319"/>
                  </a:lnTo>
                  <a:lnTo>
                    <a:pt x="415" y="319"/>
                  </a:lnTo>
                  <a:lnTo>
                    <a:pt x="415" y="315"/>
                  </a:lnTo>
                  <a:lnTo>
                    <a:pt x="419" y="315"/>
                  </a:lnTo>
                  <a:lnTo>
                    <a:pt x="415" y="315"/>
                  </a:lnTo>
                  <a:lnTo>
                    <a:pt x="419" y="311"/>
                  </a:lnTo>
                  <a:lnTo>
                    <a:pt x="419" y="307"/>
                  </a:lnTo>
                  <a:lnTo>
                    <a:pt x="423" y="307"/>
                  </a:lnTo>
                  <a:lnTo>
                    <a:pt x="427" y="307"/>
                  </a:lnTo>
                  <a:lnTo>
                    <a:pt x="431" y="307"/>
                  </a:lnTo>
                  <a:lnTo>
                    <a:pt x="431" y="311"/>
                  </a:lnTo>
                  <a:lnTo>
                    <a:pt x="435" y="311"/>
                  </a:lnTo>
                  <a:lnTo>
                    <a:pt x="439" y="311"/>
                  </a:lnTo>
                  <a:lnTo>
                    <a:pt x="442" y="311"/>
                  </a:lnTo>
                  <a:lnTo>
                    <a:pt x="446" y="311"/>
                  </a:lnTo>
                  <a:lnTo>
                    <a:pt x="446" y="315"/>
                  </a:lnTo>
                  <a:lnTo>
                    <a:pt x="450" y="315"/>
                  </a:lnTo>
                  <a:lnTo>
                    <a:pt x="450" y="319"/>
                  </a:lnTo>
                  <a:lnTo>
                    <a:pt x="446" y="323"/>
                  </a:lnTo>
                  <a:lnTo>
                    <a:pt x="442" y="323"/>
                  </a:lnTo>
                  <a:lnTo>
                    <a:pt x="442" y="327"/>
                  </a:lnTo>
                  <a:lnTo>
                    <a:pt x="439" y="327"/>
                  </a:lnTo>
                  <a:lnTo>
                    <a:pt x="442" y="327"/>
                  </a:lnTo>
                  <a:lnTo>
                    <a:pt x="446" y="327"/>
                  </a:lnTo>
                  <a:lnTo>
                    <a:pt x="442" y="327"/>
                  </a:lnTo>
                  <a:lnTo>
                    <a:pt x="446" y="323"/>
                  </a:lnTo>
                  <a:lnTo>
                    <a:pt x="450" y="323"/>
                  </a:lnTo>
                  <a:lnTo>
                    <a:pt x="450" y="327"/>
                  </a:lnTo>
                  <a:lnTo>
                    <a:pt x="450" y="323"/>
                  </a:lnTo>
                  <a:lnTo>
                    <a:pt x="454" y="323"/>
                  </a:lnTo>
                  <a:lnTo>
                    <a:pt x="458" y="323"/>
                  </a:lnTo>
                  <a:lnTo>
                    <a:pt x="454" y="323"/>
                  </a:lnTo>
                  <a:lnTo>
                    <a:pt x="458" y="319"/>
                  </a:lnTo>
                  <a:lnTo>
                    <a:pt x="462" y="319"/>
                  </a:lnTo>
                  <a:lnTo>
                    <a:pt x="458" y="323"/>
                  </a:lnTo>
                  <a:lnTo>
                    <a:pt x="462" y="323"/>
                  </a:lnTo>
                  <a:lnTo>
                    <a:pt x="462" y="319"/>
                  </a:lnTo>
                  <a:lnTo>
                    <a:pt x="466" y="323"/>
                  </a:lnTo>
                  <a:lnTo>
                    <a:pt x="470" y="323"/>
                  </a:lnTo>
                  <a:lnTo>
                    <a:pt x="466" y="323"/>
                  </a:lnTo>
                  <a:lnTo>
                    <a:pt x="466" y="319"/>
                  </a:lnTo>
                  <a:lnTo>
                    <a:pt x="470" y="319"/>
                  </a:lnTo>
                  <a:lnTo>
                    <a:pt x="470" y="323"/>
                  </a:lnTo>
                  <a:lnTo>
                    <a:pt x="470" y="319"/>
                  </a:lnTo>
                  <a:lnTo>
                    <a:pt x="466" y="319"/>
                  </a:lnTo>
                  <a:lnTo>
                    <a:pt x="462" y="315"/>
                  </a:lnTo>
                  <a:lnTo>
                    <a:pt x="466" y="315"/>
                  </a:lnTo>
                  <a:lnTo>
                    <a:pt x="470" y="315"/>
                  </a:lnTo>
                  <a:lnTo>
                    <a:pt x="466" y="315"/>
                  </a:lnTo>
                  <a:lnTo>
                    <a:pt x="466" y="311"/>
                  </a:lnTo>
                  <a:lnTo>
                    <a:pt x="462" y="311"/>
                  </a:lnTo>
                  <a:lnTo>
                    <a:pt x="458" y="311"/>
                  </a:lnTo>
                  <a:lnTo>
                    <a:pt x="458" y="307"/>
                  </a:lnTo>
                  <a:lnTo>
                    <a:pt x="462" y="307"/>
                  </a:lnTo>
                  <a:lnTo>
                    <a:pt x="466" y="307"/>
                  </a:lnTo>
                  <a:lnTo>
                    <a:pt x="470" y="307"/>
                  </a:lnTo>
                  <a:lnTo>
                    <a:pt x="474" y="311"/>
                  </a:lnTo>
                  <a:lnTo>
                    <a:pt x="478" y="315"/>
                  </a:lnTo>
                  <a:lnTo>
                    <a:pt x="482" y="315"/>
                  </a:lnTo>
                  <a:lnTo>
                    <a:pt x="482" y="319"/>
                  </a:lnTo>
                  <a:lnTo>
                    <a:pt x="486" y="319"/>
                  </a:lnTo>
                  <a:lnTo>
                    <a:pt x="490" y="319"/>
                  </a:lnTo>
                  <a:lnTo>
                    <a:pt x="490" y="323"/>
                  </a:lnTo>
                  <a:lnTo>
                    <a:pt x="490" y="327"/>
                  </a:lnTo>
                  <a:lnTo>
                    <a:pt x="490" y="331"/>
                  </a:lnTo>
                  <a:lnTo>
                    <a:pt x="494" y="331"/>
                  </a:lnTo>
                  <a:lnTo>
                    <a:pt x="494" y="335"/>
                  </a:lnTo>
                  <a:lnTo>
                    <a:pt x="494" y="339"/>
                  </a:lnTo>
                  <a:lnTo>
                    <a:pt x="494" y="343"/>
                  </a:lnTo>
                  <a:lnTo>
                    <a:pt x="498" y="343"/>
                  </a:lnTo>
                  <a:lnTo>
                    <a:pt x="498" y="347"/>
                  </a:lnTo>
                  <a:lnTo>
                    <a:pt x="502" y="347"/>
                  </a:lnTo>
                  <a:lnTo>
                    <a:pt x="502" y="343"/>
                  </a:lnTo>
                  <a:lnTo>
                    <a:pt x="506" y="343"/>
                  </a:lnTo>
                  <a:lnTo>
                    <a:pt x="506" y="339"/>
                  </a:lnTo>
                  <a:lnTo>
                    <a:pt x="510" y="339"/>
                  </a:lnTo>
                  <a:lnTo>
                    <a:pt x="506" y="335"/>
                  </a:lnTo>
                  <a:lnTo>
                    <a:pt x="502" y="335"/>
                  </a:lnTo>
                  <a:lnTo>
                    <a:pt x="506" y="335"/>
                  </a:lnTo>
                  <a:lnTo>
                    <a:pt x="506" y="331"/>
                  </a:lnTo>
                  <a:lnTo>
                    <a:pt x="502" y="331"/>
                  </a:lnTo>
                  <a:lnTo>
                    <a:pt x="502" y="327"/>
                  </a:lnTo>
                  <a:lnTo>
                    <a:pt x="502" y="323"/>
                  </a:lnTo>
                  <a:lnTo>
                    <a:pt x="502" y="319"/>
                  </a:lnTo>
                  <a:lnTo>
                    <a:pt x="498" y="319"/>
                  </a:lnTo>
                  <a:lnTo>
                    <a:pt x="498" y="315"/>
                  </a:lnTo>
                  <a:lnTo>
                    <a:pt x="498" y="311"/>
                  </a:lnTo>
                  <a:lnTo>
                    <a:pt x="498" y="307"/>
                  </a:lnTo>
                  <a:lnTo>
                    <a:pt x="494" y="303"/>
                  </a:lnTo>
                  <a:lnTo>
                    <a:pt x="498" y="303"/>
                  </a:lnTo>
                  <a:lnTo>
                    <a:pt x="502" y="303"/>
                  </a:lnTo>
                  <a:lnTo>
                    <a:pt x="498" y="303"/>
                  </a:lnTo>
                  <a:lnTo>
                    <a:pt x="498" y="299"/>
                  </a:lnTo>
                  <a:lnTo>
                    <a:pt x="502" y="299"/>
                  </a:lnTo>
                  <a:lnTo>
                    <a:pt x="506" y="299"/>
                  </a:lnTo>
                  <a:lnTo>
                    <a:pt x="510" y="299"/>
                  </a:lnTo>
                  <a:lnTo>
                    <a:pt x="510" y="303"/>
                  </a:lnTo>
                  <a:lnTo>
                    <a:pt x="514" y="303"/>
                  </a:lnTo>
                  <a:lnTo>
                    <a:pt x="514" y="299"/>
                  </a:lnTo>
                  <a:lnTo>
                    <a:pt x="518" y="299"/>
                  </a:lnTo>
                  <a:lnTo>
                    <a:pt x="518" y="303"/>
                  </a:lnTo>
                  <a:lnTo>
                    <a:pt x="522" y="303"/>
                  </a:lnTo>
                  <a:lnTo>
                    <a:pt x="526" y="303"/>
                  </a:lnTo>
                  <a:lnTo>
                    <a:pt x="530" y="307"/>
                  </a:lnTo>
                  <a:lnTo>
                    <a:pt x="534" y="307"/>
                  </a:lnTo>
                  <a:lnTo>
                    <a:pt x="534" y="311"/>
                  </a:lnTo>
                  <a:lnTo>
                    <a:pt x="538" y="311"/>
                  </a:lnTo>
                  <a:lnTo>
                    <a:pt x="538" y="315"/>
                  </a:lnTo>
                  <a:lnTo>
                    <a:pt x="538" y="319"/>
                  </a:lnTo>
                  <a:lnTo>
                    <a:pt x="542" y="319"/>
                  </a:lnTo>
                  <a:lnTo>
                    <a:pt x="542" y="323"/>
                  </a:lnTo>
                  <a:lnTo>
                    <a:pt x="538" y="323"/>
                  </a:lnTo>
                  <a:lnTo>
                    <a:pt x="542" y="323"/>
                  </a:lnTo>
                  <a:lnTo>
                    <a:pt x="542" y="327"/>
                  </a:lnTo>
                  <a:lnTo>
                    <a:pt x="542" y="331"/>
                  </a:lnTo>
                  <a:lnTo>
                    <a:pt x="546" y="331"/>
                  </a:lnTo>
                  <a:lnTo>
                    <a:pt x="542" y="331"/>
                  </a:lnTo>
                  <a:lnTo>
                    <a:pt x="542" y="335"/>
                  </a:lnTo>
                  <a:lnTo>
                    <a:pt x="546" y="335"/>
                  </a:lnTo>
                  <a:lnTo>
                    <a:pt x="546" y="339"/>
                  </a:lnTo>
                  <a:lnTo>
                    <a:pt x="550" y="339"/>
                  </a:lnTo>
                  <a:lnTo>
                    <a:pt x="550" y="343"/>
                  </a:lnTo>
                  <a:lnTo>
                    <a:pt x="554" y="347"/>
                  </a:lnTo>
                  <a:lnTo>
                    <a:pt x="554" y="351"/>
                  </a:lnTo>
                  <a:lnTo>
                    <a:pt x="554" y="355"/>
                  </a:lnTo>
                  <a:lnTo>
                    <a:pt x="550" y="355"/>
                  </a:lnTo>
                  <a:lnTo>
                    <a:pt x="554" y="355"/>
                  </a:lnTo>
                  <a:lnTo>
                    <a:pt x="554" y="359"/>
                  </a:lnTo>
                  <a:lnTo>
                    <a:pt x="550" y="359"/>
                  </a:lnTo>
                  <a:lnTo>
                    <a:pt x="550" y="363"/>
                  </a:lnTo>
                  <a:lnTo>
                    <a:pt x="554" y="363"/>
                  </a:lnTo>
                  <a:lnTo>
                    <a:pt x="558" y="367"/>
                  </a:lnTo>
                  <a:lnTo>
                    <a:pt x="558" y="371"/>
                  </a:lnTo>
                  <a:lnTo>
                    <a:pt x="562" y="371"/>
                  </a:lnTo>
                  <a:lnTo>
                    <a:pt x="566" y="375"/>
                  </a:lnTo>
                  <a:lnTo>
                    <a:pt x="570" y="375"/>
                  </a:lnTo>
                  <a:lnTo>
                    <a:pt x="574" y="375"/>
                  </a:lnTo>
                  <a:lnTo>
                    <a:pt x="574" y="379"/>
                  </a:lnTo>
                  <a:lnTo>
                    <a:pt x="574" y="375"/>
                  </a:lnTo>
                  <a:lnTo>
                    <a:pt x="574" y="371"/>
                  </a:lnTo>
                  <a:lnTo>
                    <a:pt x="578" y="375"/>
                  </a:lnTo>
                  <a:lnTo>
                    <a:pt x="578" y="379"/>
                  </a:lnTo>
                  <a:lnTo>
                    <a:pt x="582" y="379"/>
                  </a:lnTo>
                  <a:lnTo>
                    <a:pt x="586" y="379"/>
                  </a:lnTo>
                  <a:lnTo>
                    <a:pt x="586" y="383"/>
                  </a:lnTo>
                  <a:lnTo>
                    <a:pt x="590" y="383"/>
                  </a:lnTo>
                  <a:lnTo>
                    <a:pt x="594" y="383"/>
                  </a:lnTo>
                  <a:lnTo>
                    <a:pt x="594" y="387"/>
                  </a:lnTo>
                  <a:lnTo>
                    <a:pt x="598" y="387"/>
                  </a:lnTo>
                  <a:lnTo>
                    <a:pt x="602" y="387"/>
                  </a:lnTo>
                  <a:lnTo>
                    <a:pt x="606" y="387"/>
                  </a:lnTo>
                  <a:lnTo>
                    <a:pt x="606" y="391"/>
                  </a:lnTo>
                  <a:lnTo>
                    <a:pt x="606" y="395"/>
                  </a:lnTo>
                  <a:lnTo>
                    <a:pt x="606" y="399"/>
                  </a:lnTo>
                  <a:lnTo>
                    <a:pt x="602" y="399"/>
                  </a:lnTo>
                  <a:lnTo>
                    <a:pt x="598" y="399"/>
                  </a:lnTo>
                  <a:lnTo>
                    <a:pt x="598" y="395"/>
                  </a:lnTo>
                  <a:lnTo>
                    <a:pt x="598" y="399"/>
                  </a:lnTo>
                  <a:lnTo>
                    <a:pt x="594" y="399"/>
                  </a:lnTo>
                  <a:lnTo>
                    <a:pt x="590" y="399"/>
                  </a:lnTo>
                  <a:lnTo>
                    <a:pt x="590" y="395"/>
                  </a:lnTo>
                  <a:lnTo>
                    <a:pt x="586" y="395"/>
                  </a:lnTo>
                  <a:lnTo>
                    <a:pt x="582" y="399"/>
                  </a:lnTo>
                  <a:lnTo>
                    <a:pt x="578" y="399"/>
                  </a:lnTo>
                  <a:lnTo>
                    <a:pt x="582" y="399"/>
                  </a:lnTo>
                  <a:lnTo>
                    <a:pt x="582" y="403"/>
                  </a:lnTo>
                  <a:lnTo>
                    <a:pt x="578" y="403"/>
                  </a:lnTo>
                  <a:lnTo>
                    <a:pt x="574" y="403"/>
                  </a:lnTo>
                  <a:lnTo>
                    <a:pt x="570" y="399"/>
                  </a:lnTo>
                  <a:lnTo>
                    <a:pt x="566" y="399"/>
                  </a:lnTo>
                  <a:lnTo>
                    <a:pt x="566" y="403"/>
                  </a:lnTo>
                  <a:lnTo>
                    <a:pt x="570" y="403"/>
                  </a:lnTo>
                  <a:lnTo>
                    <a:pt x="574" y="403"/>
                  </a:lnTo>
                  <a:lnTo>
                    <a:pt x="574" y="407"/>
                  </a:lnTo>
                  <a:lnTo>
                    <a:pt x="574" y="411"/>
                  </a:lnTo>
                  <a:lnTo>
                    <a:pt x="570" y="411"/>
                  </a:lnTo>
                  <a:lnTo>
                    <a:pt x="570" y="415"/>
                  </a:lnTo>
                  <a:lnTo>
                    <a:pt x="574" y="415"/>
                  </a:lnTo>
                  <a:lnTo>
                    <a:pt x="574" y="411"/>
                  </a:lnTo>
                  <a:lnTo>
                    <a:pt x="578" y="407"/>
                  </a:lnTo>
                  <a:lnTo>
                    <a:pt x="582" y="407"/>
                  </a:lnTo>
                  <a:lnTo>
                    <a:pt x="582" y="403"/>
                  </a:lnTo>
                  <a:lnTo>
                    <a:pt x="586" y="403"/>
                  </a:lnTo>
                  <a:lnTo>
                    <a:pt x="590" y="403"/>
                  </a:lnTo>
                  <a:lnTo>
                    <a:pt x="590" y="407"/>
                  </a:lnTo>
                  <a:lnTo>
                    <a:pt x="590" y="411"/>
                  </a:lnTo>
                  <a:lnTo>
                    <a:pt x="586" y="411"/>
                  </a:lnTo>
                  <a:lnTo>
                    <a:pt x="586" y="415"/>
                  </a:lnTo>
                  <a:lnTo>
                    <a:pt x="590" y="415"/>
                  </a:lnTo>
                  <a:lnTo>
                    <a:pt x="590" y="411"/>
                  </a:lnTo>
                  <a:lnTo>
                    <a:pt x="594" y="411"/>
                  </a:lnTo>
                  <a:lnTo>
                    <a:pt x="594" y="415"/>
                  </a:lnTo>
                  <a:lnTo>
                    <a:pt x="594" y="419"/>
                  </a:lnTo>
                  <a:lnTo>
                    <a:pt x="590" y="419"/>
                  </a:lnTo>
                  <a:lnTo>
                    <a:pt x="586" y="419"/>
                  </a:lnTo>
                  <a:lnTo>
                    <a:pt x="582" y="419"/>
                  </a:lnTo>
                  <a:lnTo>
                    <a:pt x="582" y="423"/>
                  </a:lnTo>
                  <a:lnTo>
                    <a:pt x="578" y="423"/>
                  </a:lnTo>
                  <a:lnTo>
                    <a:pt x="574" y="423"/>
                  </a:lnTo>
                  <a:lnTo>
                    <a:pt x="570" y="423"/>
                  </a:lnTo>
                  <a:lnTo>
                    <a:pt x="566" y="423"/>
                  </a:lnTo>
                  <a:lnTo>
                    <a:pt x="562" y="423"/>
                  </a:lnTo>
                  <a:lnTo>
                    <a:pt x="558" y="423"/>
                  </a:lnTo>
                  <a:lnTo>
                    <a:pt x="554" y="419"/>
                  </a:lnTo>
                  <a:lnTo>
                    <a:pt x="550" y="423"/>
                  </a:lnTo>
                  <a:lnTo>
                    <a:pt x="546" y="423"/>
                  </a:lnTo>
                  <a:lnTo>
                    <a:pt x="542" y="419"/>
                  </a:lnTo>
                  <a:lnTo>
                    <a:pt x="546" y="415"/>
                  </a:lnTo>
                  <a:lnTo>
                    <a:pt x="542" y="415"/>
                  </a:lnTo>
                  <a:lnTo>
                    <a:pt x="538" y="415"/>
                  </a:lnTo>
                  <a:lnTo>
                    <a:pt x="534" y="415"/>
                  </a:lnTo>
                  <a:lnTo>
                    <a:pt x="530" y="415"/>
                  </a:lnTo>
                  <a:lnTo>
                    <a:pt x="526" y="415"/>
                  </a:lnTo>
                  <a:lnTo>
                    <a:pt x="522" y="411"/>
                  </a:lnTo>
                  <a:lnTo>
                    <a:pt x="526" y="411"/>
                  </a:lnTo>
                  <a:lnTo>
                    <a:pt x="526" y="407"/>
                  </a:lnTo>
                  <a:lnTo>
                    <a:pt x="522" y="407"/>
                  </a:lnTo>
                  <a:lnTo>
                    <a:pt x="522" y="403"/>
                  </a:lnTo>
                  <a:lnTo>
                    <a:pt x="518" y="403"/>
                  </a:lnTo>
                  <a:lnTo>
                    <a:pt x="518" y="407"/>
                  </a:lnTo>
                  <a:lnTo>
                    <a:pt x="514" y="407"/>
                  </a:lnTo>
                  <a:lnTo>
                    <a:pt x="514" y="411"/>
                  </a:lnTo>
                  <a:lnTo>
                    <a:pt x="514" y="415"/>
                  </a:lnTo>
                  <a:lnTo>
                    <a:pt x="510" y="415"/>
                  </a:lnTo>
                  <a:lnTo>
                    <a:pt x="510" y="419"/>
                  </a:lnTo>
                  <a:lnTo>
                    <a:pt x="506" y="419"/>
                  </a:lnTo>
                  <a:lnTo>
                    <a:pt x="502" y="419"/>
                  </a:lnTo>
                  <a:lnTo>
                    <a:pt x="498" y="419"/>
                  </a:lnTo>
                  <a:lnTo>
                    <a:pt x="494" y="419"/>
                  </a:lnTo>
                  <a:lnTo>
                    <a:pt x="490" y="419"/>
                  </a:lnTo>
                  <a:lnTo>
                    <a:pt x="490" y="423"/>
                  </a:lnTo>
                  <a:lnTo>
                    <a:pt x="486" y="423"/>
                  </a:lnTo>
                  <a:lnTo>
                    <a:pt x="482" y="427"/>
                  </a:lnTo>
                  <a:lnTo>
                    <a:pt x="478" y="427"/>
                  </a:lnTo>
                  <a:lnTo>
                    <a:pt x="474" y="427"/>
                  </a:lnTo>
                  <a:lnTo>
                    <a:pt x="470" y="427"/>
                  </a:lnTo>
                  <a:lnTo>
                    <a:pt x="466" y="427"/>
                  </a:lnTo>
                  <a:lnTo>
                    <a:pt x="462" y="427"/>
                  </a:lnTo>
                  <a:lnTo>
                    <a:pt x="462" y="431"/>
                  </a:lnTo>
                  <a:lnTo>
                    <a:pt x="462" y="427"/>
                  </a:lnTo>
                  <a:lnTo>
                    <a:pt x="458" y="427"/>
                  </a:lnTo>
                  <a:lnTo>
                    <a:pt x="458" y="431"/>
                  </a:lnTo>
                  <a:lnTo>
                    <a:pt x="454" y="431"/>
                  </a:lnTo>
                  <a:lnTo>
                    <a:pt x="454" y="427"/>
                  </a:lnTo>
                  <a:lnTo>
                    <a:pt x="454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42" y="431"/>
                  </a:lnTo>
                  <a:lnTo>
                    <a:pt x="439" y="431"/>
                  </a:lnTo>
                  <a:lnTo>
                    <a:pt x="435" y="431"/>
                  </a:lnTo>
                  <a:lnTo>
                    <a:pt x="431" y="431"/>
                  </a:lnTo>
                  <a:lnTo>
                    <a:pt x="427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19" y="427"/>
                  </a:lnTo>
                  <a:lnTo>
                    <a:pt x="415" y="427"/>
                  </a:lnTo>
                  <a:lnTo>
                    <a:pt x="415" y="423"/>
                  </a:lnTo>
                  <a:lnTo>
                    <a:pt x="415" y="419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1" y="411"/>
                  </a:lnTo>
                  <a:lnTo>
                    <a:pt x="403" y="411"/>
                  </a:lnTo>
                  <a:lnTo>
                    <a:pt x="399" y="411"/>
                  </a:lnTo>
                  <a:lnTo>
                    <a:pt x="395" y="411"/>
                  </a:lnTo>
                  <a:lnTo>
                    <a:pt x="391" y="411"/>
                  </a:lnTo>
                  <a:lnTo>
                    <a:pt x="387" y="411"/>
                  </a:lnTo>
                  <a:lnTo>
                    <a:pt x="383" y="411"/>
                  </a:lnTo>
                  <a:lnTo>
                    <a:pt x="379" y="411"/>
                  </a:lnTo>
                  <a:lnTo>
                    <a:pt x="375" y="407"/>
                  </a:lnTo>
                  <a:lnTo>
                    <a:pt x="371" y="407"/>
                  </a:lnTo>
                  <a:lnTo>
                    <a:pt x="367" y="407"/>
                  </a:lnTo>
                  <a:lnTo>
                    <a:pt x="371" y="403"/>
                  </a:lnTo>
                  <a:lnTo>
                    <a:pt x="367" y="403"/>
                  </a:lnTo>
                  <a:lnTo>
                    <a:pt x="363" y="403"/>
                  </a:lnTo>
                  <a:lnTo>
                    <a:pt x="367" y="403"/>
                  </a:lnTo>
                  <a:lnTo>
                    <a:pt x="367" y="399"/>
                  </a:lnTo>
                  <a:lnTo>
                    <a:pt x="363" y="399"/>
                  </a:lnTo>
                  <a:lnTo>
                    <a:pt x="359" y="399"/>
                  </a:lnTo>
                  <a:lnTo>
                    <a:pt x="359" y="395"/>
                  </a:lnTo>
                  <a:lnTo>
                    <a:pt x="359" y="391"/>
                  </a:lnTo>
                  <a:lnTo>
                    <a:pt x="355" y="391"/>
                  </a:lnTo>
                  <a:lnTo>
                    <a:pt x="359" y="391"/>
                  </a:lnTo>
                  <a:lnTo>
                    <a:pt x="359" y="387"/>
                  </a:lnTo>
                  <a:lnTo>
                    <a:pt x="363" y="387"/>
                  </a:lnTo>
                  <a:lnTo>
                    <a:pt x="371" y="387"/>
                  </a:lnTo>
                  <a:lnTo>
                    <a:pt x="375" y="387"/>
                  </a:lnTo>
                  <a:lnTo>
                    <a:pt x="379" y="383"/>
                  </a:lnTo>
                  <a:lnTo>
                    <a:pt x="383" y="383"/>
                  </a:lnTo>
                  <a:lnTo>
                    <a:pt x="387" y="383"/>
                  </a:lnTo>
                  <a:lnTo>
                    <a:pt x="391" y="383"/>
                  </a:lnTo>
                  <a:lnTo>
                    <a:pt x="395" y="383"/>
                  </a:lnTo>
                  <a:lnTo>
                    <a:pt x="399" y="383"/>
                  </a:lnTo>
                  <a:lnTo>
                    <a:pt x="403" y="383"/>
                  </a:lnTo>
                  <a:lnTo>
                    <a:pt x="407" y="383"/>
                  </a:lnTo>
                  <a:lnTo>
                    <a:pt x="411" y="383"/>
                  </a:lnTo>
                  <a:lnTo>
                    <a:pt x="415" y="383"/>
                  </a:lnTo>
                  <a:lnTo>
                    <a:pt x="419" y="383"/>
                  </a:lnTo>
                  <a:lnTo>
                    <a:pt x="423" y="383"/>
                  </a:lnTo>
                  <a:lnTo>
                    <a:pt x="427" y="387"/>
                  </a:lnTo>
                  <a:lnTo>
                    <a:pt x="431" y="387"/>
                  </a:lnTo>
                  <a:lnTo>
                    <a:pt x="431" y="383"/>
                  </a:lnTo>
                  <a:lnTo>
                    <a:pt x="435" y="383"/>
                  </a:lnTo>
                  <a:lnTo>
                    <a:pt x="439" y="383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42" y="379"/>
                  </a:lnTo>
                  <a:lnTo>
                    <a:pt x="442" y="383"/>
                  </a:lnTo>
                  <a:lnTo>
                    <a:pt x="439" y="379"/>
                  </a:lnTo>
                  <a:lnTo>
                    <a:pt x="435" y="379"/>
                  </a:lnTo>
                  <a:lnTo>
                    <a:pt x="431" y="375"/>
                  </a:lnTo>
                  <a:lnTo>
                    <a:pt x="427" y="375"/>
                  </a:lnTo>
                  <a:lnTo>
                    <a:pt x="423" y="375"/>
                  </a:lnTo>
                  <a:lnTo>
                    <a:pt x="419" y="375"/>
                  </a:lnTo>
                  <a:lnTo>
                    <a:pt x="415" y="371"/>
                  </a:lnTo>
                  <a:lnTo>
                    <a:pt x="415" y="375"/>
                  </a:lnTo>
                  <a:lnTo>
                    <a:pt x="415" y="371"/>
                  </a:lnTo>
                  <a:lnTo>
                    <a:pt x="411" y="371"/>
                  </a:lnTo>
                  <a:lnTo>
                    <a:pt x="407" y="371"/>
                  </a:lnTo>
                  <a:lnTo>
                    <a:pt x="403" y="371"/>
                  </a:lnTo>
                  <a:lnTo>
                    <a:pt x="403" y="375"/>
                  </a:lnTo>
                  <a:lnTo>
                    <a:pt x="399" y="375"/>
                  </a:lnTo>
                  <a:lnTo>
                    <a:pt x="395" y="375"/>
                  </a:lnTo>
                  <a:lnTo>
                    <a:pt x="391" y="375"/>
                  </a:lnTo>
                  <a:lnTo>
                    <a:pt x="387" y="375"/>
                  </a:lnTo>
                  <a:lnTo>
                    <a:pt x="379" y="375"/>
                  </a:lnTo>
                  <a:close/>
                  <a:moveTo>
                    <a:pt x="670" y="303"/>
                  </a:moveTo>
                  <a:lnTo>
                    <a:pt x="674" y="307"/>
                  </a:lnTo>
                  <a:lnTo>
                    <a:pt x="670" y="307"/>
                  </a:lnTo>
                  <a:lnTo>
                    <a:pt x="670" y="311"/>
                  </a:lnTo>
                  <a:lnTo>
                    <a:pt x="666" y="311"/>
                  </a:lnTo>
                  <a:lnTo>
                    <a:pt x="666" y="307"/>
                  </a:lnTo>
                  <a:lnTo>
                    <a:pt x="662" y="307"/>
                  </a:lnTo>
                  <a:lnTo>
                    <a:pt x="662" y="303"/>
                  </a:lnTo>
                  <a:lnTo>
                    <a:pt x="666" y="303"/>
                  </a:lnTo>
                  <a:lnTo>
                    <a:pt x="670" y="303"/>
                  </a:lnTo>
                  <a:close/>
                  <a:moveTo>
                    <a:pt x="670" y="311"/>
                  </a:moveTo>
                  <a:lnTo>
                    <a:pt x="670" y="315"/>
                  </a:lnTo>
                  <a:lnTo>
                    <a:pt x="666" y="315"/>
                  </a:lnTo>
                  <a:lnTo>
                    <a:pt x="666" y="311"/>
                  </a:lnTo>
                  <a:lnTo>
                    <a:pt x="670" y="311"/>
                  </a:lnTo>
                  <a:close/>
                  <a:moveTo>
                    <a:pt x="1001" y="331"/>
                  </a:moveTo>
                  <a:lnTo>
                    <a:pt x="1005" y="331"/>
                  </a:lnTo>
                  <a:lnTo>
                    <a:pt x="1001" y="331"/>
                  </a:lnTo>
                  <a:close/>
                  <a:moveTo>
                    <a:pt x="1025" y="343"/>
                  </a:moveTo>
                  <a:lnTo>
                    <a:pt x="1025" y="347"/>
                  </a:lnTo>
                  <a:lnTo>
                    <a:pt x="1021" y="347"/>
                  </a:lnTo>
                  <a:lnTo>
                    <a:pt x="1025" y="347"/>
                  </a:lnTo>
                  <a:lnTo>
                    <a:pt x="1025" y="343"/>
                  </a:lnTo>
                  <a:close/>
                  <a:moveTo>
                    <a:pt x="1029" y="347"/>
                  </a:moveTo>
                  <a:lnTo>
                    <a:pt x="1033" y="347"/>
                  </a:lnTo>
                  <a:lnTo>
                    <a:pt x="1033" y="343"/>
                  </a:lnTo>
                  <a:lnTo>
                    <a:pt x="1033" y="347"/>
                  </a:lnTo>
                  <a:lnTo>
                    <a:pt x="1029" y="347"/>
                  </a:lnTo>
                  <a:close/>
                  <a:moveTo>
                    <a:pt x="1029" y="355"/>
                  </a:moveTo>
                  <a:lnTo>
                    <a:pt x="1025" y="355"/>
                  </a:lnTo>
                  <a:lnTo>
                    <a:pt x="1025" y="351"/>
                  </a:lnTo>
                  <a:lnTo>
                    <a:pt x="1025" y="347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25" y="351"/>
                  </a:lnTo>
                  <a:lnTo>
                    <a:pt x="1029" y="351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29" y="351"/>
                  </a:lnTo>
                  <a:lnTo>
                    <a:pt x="1029" y="355"/>
                  </a:lnTo>
                  <a:close/>
                  <a:moveTo>
                    <a:pt x="1057" y="359"/>
                  </a:moveTo>
                  <a:lnTo>
                    <a:pt x="1057" y="363"/>
                  </a:lnTo>
                  <a:lnTo>
                    <a:pt x="1057" y="359"/>
                  </a:lnTo>
                  <a:close/>
                  <a:moveTo>
                    <a:pt x="1049" y="363"/>
                  </a:moveTo>
                  <a:lnTo>
                    <a:pt x="1053" y="363"/>
                  </a:lnTo>
                  <a:lnTo>
                    <a:pt x="1053" y="367"/>
                  </a:lnTo>
                  <a:lnTo>
                    <a:pt x="1049" y="367"/>
                  </a:lnTo>
                  <a:lnTo>
                    <a:pt x="1045" y="367"/>
                  </a:lnTo>
                  <a:lnTo>
                    <a:pt x="1041" y="367"/>
                  </a:lnTo>
                  <a:lnTo>
                    <a:pt x="1045" y="367"/>
                  </a:lnTo>
                  <a:lnTo>
                    <a:pt x="1045" y="363"/>
                  </a:lnTo>
                  <a:lnTo>
                    <a:pt x="1049" y="363"/>
                  </a:lnTo>
                  <a:close/>
                  <a:moveTo>
                    <a:pt x="614" y="371"/>
                  </a:moveTo>
                  <a:lnTo>
                    <a:pt x="614" y="375"/>
                  </a:lnTo>
                  <a:lnTo>
                    <a:pt x="618" y="375"/>
                  </a:lnTo>
                  <a:lnTo>
                    <a:pt x="618" y="379"/>
                  </a:lnTo>
                  <a:lnTo>
                    <a:pt x="614" y="379"/>
                  </a:lnTo>
                  <a:lnTo>
                    <a:pt x="614" y="375"/>
                  </a:lnTo>
                  <a:lnTo>
                    <a:pt x="610" y="375"/>
                  </a:lnTo>
                  <a:lnTo>
                    <a:pt x="610" y="371"/>
                  </a:lnTo>
                  <a:lnTo>
                    <a:pt x="614" y="371"/>
                  </a:lnTo>
                  <a:close/>
                  <a:moveTo>
                    <a:pt x="195" y="375"/>
                  </a:moveTo>
                  <a:lnTo>
                    <a:pt x="191" y="375"/>
                  </a:lnTo>
                  <a:lnTo>
                    <a:pt x="191" y="371"/>
                  </a:lnTo>
                  <a:lnTo>
                    <a:pt x="195" y="375"/>
                  </a:lnTo>
                  <a:close/>
                  <a:moveTo>
                    <a:pt x="813" y="387"/>
                  </a:moveTo>
                  <a:lnTo>
                    <a:pt x="817" y="387"/>
                  </a:lnTo>
                  <a:lnTo>
                    <a:pt x="821" y="387"/>
                  </a:lnTo>
                  <a:lnTo>
                    <a:pt x="825" y="387"/>
                  </a:lnTo>
                  <a:lnTo>
                    <a:pt x="825" y="391"/>
                  </a:lnTo>
                  <a:lnTo>
                    <a:pt x="821" y="391"/>
                  </a:lnTo>
                  <a:lnTo>
                    <a:pt x="817" y="391"/>
                  </a:lnTo>
                  <a:lnTo>
                    <a:pt x="813" y="391"/>
                  </a:lnTo>
                  <a:lnTo>
                    <a:pt x="813" y="387"/>
                  </a:lnTo>
                  <a:lnTo>
                    <a:pt x="809" y="387"/>
                  </a:lnTo>
                  <a:lnTo>
                    <a:pt x="813" y="387"/>
                  </a:lnTo>
                  <a:close/>
                  <a:moveTo>
                    <a:pt x="682" y="423"/>
                  </a:moveTo>
                  <a:lnTo>
                    <a:pt x="686" y="419"/>
                  </a:lnTo>
                  <a:lnTo>
                    <a:pt x="686" y="423"/>
                  </a:lnTo>
                  <a:lnTo>
                    <a:pt x="690" y="423"/>
                  </a:lnTo>
                  <a:lnTo>
                    <a:pt x="690" y="419"/>
                  </a:lnTo>
                  <a:lnTo>
                    <a:pt x="694" y="423"/>
                  </a:lnTo>
                  <a:lnTo>
                    <a:pt x="690" y="423"/>
                  </a:lnTo>
                  <a:lnTo>
                    <a:pt x="690" y="427"/>
                  </a:lnTo>
                  <a:lnTo>
                    <a:pt x="686" y="427"/>
                  </a:lnTo>
                  <a:lnTo>
                    <a:pt x="686" y="423"/>
                  </a:lnTo>
                  <a:lnTo>
                    <a:pt x="682" y="427"/>
                  </a:lnTo>
                  <a:lnTo>
                    <a:pt x="678" y="431"/>
                  </a:lnTo>
                  <a:lnTo>
                    <a:pt x="674" y="431"/>
                  </a:lnTo>
                  <a:lnTo>
                    <a:pt x="670" y="431"/>
                  </a:lnTo>
                  <a:lnTo>
                    <a:pt x="666" y="431"/>
                  </a:lnTo>
                  <a:lnTo>
                    <a:pt x="662" y="431"/>
                  </a:lnTo>
                  <a:lnTo>
                    <a:pt x="658" y="431"/>
                  </a:lnTo>
                  <a:lnTo>
                    <a:pt x="654" y="427"/>
                  </a:lnTo>
                  <a:lnTo>
                    <a:pt x="650" y="427"/>
                  </a:lnTo>
                  <a:lnTo>
                    <a:pt x="646" y="427"/>
                  </a:lnTo>
                  <a:lnTo>
                    <a:pt x="646" y="423"/>
                  </a:lnTo>
                  <a:lnTo>
                    <a:pt x="642" y="423"/>
                  </a:lnTo>
                  <a:lnTo>
                    <a:pt x="638" y="423"/>
                  </a:lnTo>
                  <a:lnTo>
                    <a:pt x="638" y="419"/>
                  </a:lnTo>
                  <a:lnTo>
                    <a:pt x="634" y="419"/>
                  </a:lnTo>
                  <a:lnTo>
                    <a:pt x="634" y="423"/>
                  </a:lnTo>
                  <a:lnTo>
                    <a:pt x="630" y="423"/>
                  </a:lnTo>
                  <a:lnTo>
                    <a:pt x="630" y="419"/>
                  </a:lnTo>
                  <a:lnTo>
                    <a:pt x="626" y="419"/>
                  </a:lnTo>
                  <a:lnTo>
                    <a:pt x="626" y="415"/>
                  </a:lnTo>
                  <a:lnTo>
                    <a:pt x="630" y="415"/>
                  </a:lnTo>
                  <a:lnTo>
                    <a:pt x="634" y="415"/>
                  </a:lnTo>
                  <a:lnTo>
                    <a:pt x="638" y="415"/>
                  </a:lnTo>
                  <a:lnTo>
                    <a:pt x="638" y="411"/>
                  </a:lnTo>
                  <a:lnTo>
                    <a:pt x="642" y="411"/>
                  </a:lnTo>
                  <a:lnTo>
                    <a:pt x="646" y="411"/>
                  </a:lnTo>
                  <a:lnTo>
                    <a:pt x="642" y="407"/>
                  </a:lnTo>
                  <a:lnTo>
                    <a:pt x="646" y="407"/>
                  </a:lnTo>
                  <a:lnTo>
                    <a:pt x="642" y="403"/>
                  </a:lnTo>
                  <a:lnTo>
                    <a:pt x="646" y="403"/>
                  </a:lnTo>
                  <a:lnTo>
                    <a:pt x="650" y="407"/>
                  </a:lnTo>
                  <a:lnTo>
                    <a:pt x="646" y="403"/>
                  </a:lnTo>
                  <a:lnTo>
                    <a:pt x="646" y="399"/>
                  </a:lnTo>
                  <a:lnTo>
                    <a:pt x="646" y="395"/>
                  </a:lnTo>
                  <a:lnTo>
                    <a:pt x="650" y="395"/>
                  </a:lnTo>
                  <a:lnTo>
                    <a:pt x="654" y="395"/>
                  </a:lnTo>
                  <a:lnTo>
                    <a:pt x="658" y="395"/>
                  </a:lnTo>
                  <a:lnTo>
                    <a:pt x="658" y="399"/>
                  </a:lnTo>
                  <a:lnTo>
                    <a:pt x="662" y="399"/>
                  </a:lnTo>
                  <a:lnTo>
                    <a:pt x="658" y="399"/>
                  </a:lnTo>
                  <a:lnTo>
                    <a:pt x="658" y="403"/>
                  </a:lnTo>
                  <a:lnTo>
                    <a:pt x="662" y="399"/>
                  </a:lnTo>
                  <a:lnTo>
                    <a:pt x="662" y="403"/>
                  </a:lnTo>
                  <a:lnTo>
                    <a:pt x="666" y="403"/>
                  </a:lnTo>
                  <a:lnTo>
                    <a:pt x="670" y="407"/>
                  </a:lnTo>
                  <a:lnTo>
                    <a:pt x="674" y="407"/>
                  </a:lnTo>
                  <a:lnTo>
                    <a:pt x="678" y="407"/>
                  </a:lnTo>
                  <a:lnTo>
                    <a:pt x="678" y="411"/>
                  </a:lnTo>
                  <a:lnTo>
                    <a:pt x="678" y="415"/>
                  </a:lnTo>
                  <a:lnTo>
                    <a:pt x="678" y="419"/>
                  </a:lnTo>
                  <a:lnTo>
                    <a:pt x="678" y="415"/>
                  </a:lnTo>
                  <a:lnTo>
                    <a:pt x="678" y="411"/>
                  </a:lnTo>
                  <a:lnTo>
                    <a:pt x="682" y="411"/>
                  </a:lnTo>
                  <a:lnTo>
                    <a:pt x="682" y="415"/>
                  </a:lnTo>
                  <a:lnTo>
                    <a:pt x="682" y="419"/>
                  </a:lnTo>
                  <a:lnTo>
                    <a:pt x="682" y="423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1" y="395"/>
                  </a:lnTo>
                  <a:close/>
                  <a:moveTo>
                    <a:pt x="869" y="395"/>
                  </a:moveTo>
                  <a:lnTo>
                    <a:pt x="865" y="399"/>
                  </a:lnTo>
                  <a:lnTo>
                    <a:pt x="869" y="399"/>
                  </a:lnTo>
                  <a:lnTo>
                    <a:pt x="865" y="399"/>
                  </a:lnTo>
                  <a:lnTo>
                    <a:pt x="865" y="395"/>
                  </a:lnTo>
                  <a:lnTo>
                    <a:pt x="869" y="395"/>
                  </a:lnTo>
                  <a:close/>
                  <a:moveTo>
                    <a:pt x="925" y="399"/>
                  </a:moveTo>
                  <a:lnTo>
                    <a:pt x="925" y="395"/>
                  </a:lnTo>
                  <a:lnTo>
                    <a:pt x="929" y="395"/>
                  </a:lnTo>
                  <a:lnTo>
                    <a:pt x="933" y="395"/>
                  </a:lnTo>
                  <a:lnTo>
                    <a:pt x="933" y="399"/>
                  </a:lnTo>
                  <a:lnTo>
                    <a:pt x="929" y="399"/>
                  </a:lnTo>
                  <a:lnTo>
                    <a:pt x="929" y="403"/>
                  </a:lnTo>
                  <a:lnTo>
                    <a:pt x="925" y="403"/>
                  </a:lnTo>
                  <a:lnTo>
                    <a:pt x="925" y="399"/>
                  </a:lnTo>
                  <a:lnTo>
                    <a:pt x="921" y="399"/>
                  </a:lnTo>
                  <a:lnTo>
                    <a:pt x="921" y="403"/>
                  </a:lnTo>
                  <a:lnTo>
                    <a:pt x="925" y="403"/>
                  </a:lnTo>
                  <a:lnTo>
                    <a:pt x="921" y="403"/>
                  </a:lnTo>
                  <a:lnTo>
                    <a:pt x="917" y="403"/>
                  </a:lnTo>
                  <a:lnTo>
                    <a:pt x="917" y="399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13" y="399"/>
                  </a:lnTo>
                  <a:lnTo>
                    <a:pt x="917" y="399"/>
                  </a:lnTo>
                  <a:lnTo>
                    <a:pt x="917" y="395"/>
                  </a:lnTo>
                  <a:lnTo>
                    <a:pt x="921" y="395"/>
                  </a:lnTo>
                  <a:lnTo>
                    <a:pt x="921" y="399"/>
                  </a:lnTo>
                  <a:lnTo>
                    <a:pt x="925" y="399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5" y="399"/>
                  </a:lnTo>
                  <a:lnTo>
                    <a:pt x="881" y="399"/>
                  </a:lnTo>
                  <a:lnTo>
                    <a:pt x="877" y="395"/>
                  </a:lnTo>
                  <a:lnTo>
                    <a:pt x="881" y="395"/>
                  </a:lnTo>
                  <a:close/>
                  <a:moveTo>
                    <a:pt x="949" y="399"/>
                  </a:moveTo>
                  <a:lnTo>
                    <a:pt x="953" y="399"/>
                  </a:lnTo>
                  <a:lnTo>
                    <a:pt x="953" y="403"/>
                  </a:lnTo>
                  <a:lnTo>
                    <a:pt x="949" y="403"/>
                  </a:lnTo>
                  <a:lnTo>
                    <a:pt x="945" y="403"/>
                  </a:lnTo>
                  <a:lnTo>
                    <a:pt x="941" y="403"/>
                  </a:lnTo>
                  <a:lnTo>
                    <a:pt x="941" y="407"/>
                  </a:lnTo>
                  <a:lnTo>
                    <a:pt x="941" y="403"/>
                  </a:lnTo>
                  <a:lnTo>
                    <a:pt x="945" y="403"/>
                  </a:lnTo>
                  <a:lnTo>
                    <a:pt x="945" y="399"/>
                  </a:lnTo>
                  <a:lnTo>
                    <a:pt x="949" y="399"/>
                  </a:lnTo>
                  <a:close/>
                  <a:moveTo>
                    <a:pt x="80" y="419"/>
                  </a:moveTo>
                  <a:lnTo>
                    <a:pt x="84" y="419"/>
                  </a:lnTo>
                  <a:lnTo>
                    <a:pt x="80" y="415"/>
                  </a:lnTo>
                  <a:lnTo>
                    <a:pt x="76" y="415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0" y="415"/>
                  </a:lnTo>
                  <a:lnTo>
                    <a:pt x="84" y="415"/>
                  </a:lnTo>
                  <a:lnTo>
                    <a:pt x="80" y="415"/>
                  </a:lnTo>
                  <a:lnTo>
                    <a:pt x="80" y="411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4" y="407"/>
                  </a:lnTo>
                  <a:lnTo>
                    <a:pt x="84" y="411"/>
                  </a:lnTo>
                  <a:lnTo>
                    <a:pt x="88" y="411"/>
                  </a:lnTo>
                  <a:lnTo>
                    <a:pt x="88" y="407"/>
                  </a:lnTo>
                  <a:lnTo>
                    <a:pt x="91" y="403"/>
                  </a:lnTo>
                  <a:lnTo>
                    <a:pt x="95" y="403"/>
                  </a:lnTo>
                  <a:lnTo>
                    <a:pt x="95" y="407"/>
                  </a:lnTo>
                  <a:lnTo>
                    <a:pt x="99" y="407"/>
                  </a:lnTo>
                  <a:lnTo>
                    <a:pt x="99" y="403"/>
                  </a:lnTo>
                  <a:lnTo>
                    <a:pt x="99" y="399"/>
                  </a:lnTo>
                  <a:lnTo>
                    <a:pt x="103" y="399"/>
                  </a:lnTo>
                  <a:lnTo>
                    <a:pt x="103" y="403"/>
                  </a:lnTo>
                  <a:lnTo>
                    <a:pt x="107" y="403"/>
                  </a:lnTo>
                  <a:lnTo>
                    <a:pt x="107" y="407"/>
                  </a:lnTo>
                  <a:lnTo>
                    <a:pt x="103" y="407"/>
                  </a:lnTo>
                  <a:lnTo>
                    <a:pt x="103" y="411"/>
                  </a:lnTo>
                  <a:lnTo>
                    <a:pt x="99" y="411"/>
                  </a:lnTo>
                  <a:lnTo>
                    <a:pt x="99" y="415"/>
                  </a:lnTo>
                  <a:lnTo>
                    <a:pt x="95" y="415"/>
                  </a:lnTo>
                  <a:lnTo>
                    <a:pt x="95" y="419"/>
                  </a:lnTo>
                  <a:lnTo>
                    <a:pt x="99" y="423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5" y="423"/>
                  </a:lnTo>
                  <a:lnTo>
                    <a:pt x="95" y="419"/>
                  </a:lnTo>
                  <a:lnTo>
                    <a:pt x="91" y="419"/>
                  </a:lnTo>
                  <a:lnTo>
                    <a:pt x="88" y="419"/>
                  </a:lnTo>
                  <a:lnTo>
                    <a:pt x="84" y="419"/>
                  </a:lnTo>
                  <a:lnTo>
                    <a:pt x="80" y="419"/>
                  </a:lnTo>
                  <a:lnTo>
                    <a:pt x="76" y="419"/>
                  </a:lnTo>
                  <a:lnTo>
                    <a:pt x="76" y="415"/>
                  </a:lnTo>
                  <a:lnTo>
                    <a:pt x="76" y="419"/>
                  </a:lnTo>
                  <a:lnTo>
                    <a:pt x="80" y="419"/>
                  </a:lnTo>
                  <a:close/>
                  <a:moveTo>
                    <a:pt x="1105" y="399"/>
                  </a:moveTo>
                  <a:lnTo>
                    <a:pt x="1109" y="399"/>
                  </a:lnTo>
                  <a:lnTo>
                    <a:pt x="1109" y="403"/>
                  </a:lnTo>
                  <a:lnTo>
                    <a:pt x="1105" y="403"/>
                  </a:lnTo>
                  <a:lnTo>
                    <a:pt x="1101" y="403"/>
                  </a:lnTo>
                  <a:lnTo>
                    <a:pt x="1105" y="399"/>
                  </a:lnTo>
                  <a:close/>
                  <a:moveTo>
                    <a:pt x="28" y="403"/>
                  </a:moveTo>
                  <a:lnTo>
                    <a:pt x="24" y="403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32" y="403"/>
                  </a:lnTo>
                  <a:lnTo>
                    <a:pt x="28" y="403"/>
                  </a:lnTo>
                  <a:close/>
                  <a:moveTo>
                    <a:pt x="690" y="403"/>
                  </a:moveTo>
                  <a:lnTo>
                    <a:pt x="690" y="407"/>
                  </a:lnTo>
                  <a:lnTo>
                    <a:pt x="686" y="411"/>
                  </a:lnTo>
                  <a:lnTo>
                    <a:pt x="686" y="407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407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6" y="403"/>
                  </a:lnTo>
                  <a:lnTo>
                    <a:pt x="690" y="403"/>
                  </a:lnTo>
                  <a:close/>
                  <a:moveTo>
                    <a:pt x="1113" y="403"/>
                  </a:moveTo>
                  <a:lnTo>
                    <a:pt x="1109" y="403"/>
                  </a:lnTo>
                  <a:lnTo>
                    <a:pt x="1113" y="403"/>
                  </a:lnTo>
                  <a:lnTo>
                    <a:pt x="1117" y="403"/>
                  </a:lnTo>
                  <a:lnTo>
                    <a:pt x="1113" y="403"/>
                  </a:lnTo>
                  <a:close/>
                  <a:moveTo>
                    <a:pt x="606" y="403"/>
                  </a:moveTo>
                  <a:lnTo>
                    <a:pt x="606" y="407"/>
                  </a:lnTo>
                  <a:lnTo>
                    <a:pt x="602" y="407"/>
                  </a:lnTo>
                  <a:lnTo>
                    <a:pt x="602" y="403"/>
                  </a:lnTo>
                  <a:lnTo>
                    <a:pt x="598" y="403"/>
                  </a:lnTo>
                  <a:lnTo>
                    <a:pt x="602" y="403"/>
                  </a:lnTo>
                  <a:lnTo>
                    <a:pt x="606" y="403"/>
                  </a:lnTo>
                  <a:close/>
                  <a:moveTo>
                    <a:pt x="965" y="407"/>
                  </a:moveTo>
                  <a:lnTo>
                    <a:pt x="969" y="407"/>
                  </a:lnTo>
                  <a:lnTo>
                    <a:pt x="973" y="407"/>
                  </a:lnTo>
                  <a:lnTo>
                    <a:pt x="973" y="411"/>
                  </a:lnTo>
                  <a:lnTo>
                    <a:pt x="969" y="411"/>
                  </a:lnTo>
                  <a:lnTo>
                    <a:pt x="969" y="415"/>
                  </a:lnTo>
                  <a:lnTo>
                    <a:pt x="965" y="415"/>
                  </a:lnTo>
                  <a:lnTo>
                    <a:pt x="961" y="411"/>
                  </a:lnTo>
                  <a:lnTo>
                    <a:pt x="961" y="407"/>
                  </a:lnTo>
                  <a:lnTo>
                    <a:pt x="965" y="407"/>
                  </a:lnTo>
                  <a:close/>
                  <a:moveTo>
                    <a:pt x="945" y="407"/>
                  </a:moveTo>
                  <a:lnTo>
                    <a:pt x="949" y="407"/>
                  </a:lnTo>
                  <a:lnTo>
                    <a:pt x="949" y="411"/>
                  </a:lnTo>
                  <a:lnTo>
                    <a:pt x="945" y="411"/>
                  </a:lnTo>
                  <a:lnTo>
                    <a:pt x="945" y="415"/>
                  </a:lnTo>
                  <a:lnTo>
                    <a:pt x="941" y="419"/>
                  </a:lnTo>
                  <a:lnTo>
                    <a:pt x="937" y="419"/>
                  </a:lnTo>
                  <a:lnTo>
                    <a:pt x="937" y="423"/>
                  </a:lnTo>
                  <a:lnTo>
                    <a:pt x="933" y="423"/>
                  </a:lnTo>
                  <a:lnTo>
                    <a:pt x="933" y="419"/>
                  </a:lnTo>
                  <a:lnTo>
                    <a:pt x="933" y="415"/>
                  </a:lnTo>
                  <a:lnTo>
                    <a:pt x="937" y="415"/>
                  </a:lnTo>
                  <a:lnTo>
                    <a:pt x="941" y="415"/>
                  </a:lnTo>
                  <a:lnTo>
                    <a:pt x="941" y="411"/>
                  </a:lnTo>
                  <a:lnTo>
                    <a:pt x="941" y="407"/>
                  </a:lnTo>
                  <a:lnTo>
                    <a:pt x="945" y="407"/>
                  </a:lnTo>
                  <a:close/>
                  <a:moveTo>
                    <a:pt x="594" y="423"/>
                  </a:move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27"/>
                  </a:lnTo>
                  <a:lnTo>
                    <a:pt x="586" y="427"/>
                  </a:lnTo>
                  <a:lnTo>
                    <a:pt x="586" y="423"/>
                  </a:lnTo>
                  <a:lnTo>
                    <a:pt x="590" y="423"/>
                  </a:lnTo>
                  <a:lnTo>
                    <a:pt x="594" y="423"/>
                  </a:lnTo>
                  <a:close/>
                  <a:moveTo>
                    <a:pt x="997" y="427"/>
                  </a:moveTo>
                  <a:lnTo>
                    <a:pt x="1001" y="431"/>
                  </a:lnTo>
                  <a:lnTo>
                    <a:pt x="1001" y="435"/>
                  </a:lnTo>
                  <a:lnTo>
                    <a:pt x="997" y="435"/>
                  </a:lnTo>
                  <a:lnTo>
                    <a:pt x="993" y="435"/>
                  </a:lnTo>
                  <a:lnTo>
                    <a:pt x="993" y="431"/>
                  </a:lnTo>
                  <a:lnTo>
                    <a:pt x="993" y="427"/>
                  </a:lnTo>
                  <a:lnTo>
                    <a:pt x="997" y="427"/>
                  </a:lnTo>
                  <a:close/>
                  <a:moveTo>
                    <a:pt x="1001" y="427"/>
                  </a:moveTo>
                  <a:lnTo>
                    <a:pt x="1005" y="427"/>
                  </a:lnTo>
                  <a:lnTo>
                    <a:pt x="1005" y="431"/>
                  </a:lnTo>
                  <a:lnTo>
                    <a:pt x="1001" y="431"/>
                  </a:lnTo>
                  <a:lnTo>
                    <a:pt x="1001" y="427"/>
                  </a:lnTo>
                  <a:close/>
                  <a:moveTo>
                    <a:pt x="941" y="435"/>
                  </a:moveTo>
                  <a:lnTo>
                    <a:pt x="941" y="431"/>
                  </a:lnTo>
                  <a:lnTo>
                    <a:pt x="937" y="431"/>
                  </a:lnTo>
                  <a:lnTo>
                    <a:pt x="941" y="431"/>
                  </a:lnTo>
                  <a:lnTo>
                    <a:pt x="941" y="427"/>
                  </a:lnTo>
                  <a:lnTo>
                    <a:pt x="945" y="427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1" y="435"/>
                  </a:lnTo>
                  <a:close/>
                  <a:moveTo>
                    <a:pt x="550" y="431"/>
                  </a:moveTo>
                  <a:lnTo>
                    <a:pt x="554" y="431"/>
                  </a:lnTo>
                  <a:lnTo>
                    <a:pt x="554" y="435"/>
                  </a:lnTo>
                  <a:lnTo>
                    <a:pt x="550" y="435"/>
                  </a:lnTo>
                  <a:lnTo>
                    <a:pt x="546" y="435"/>
                  </a:lnTo>
                  <a:lnTo>
                    <a:pt x="546" y="431"/>
                  </a:lnTo>
                  <a:lnTo>
                    <a:pt x="542" y="431"/>
                  </a:lnTo>
                  <a:lnTo>
                    <a:pt x="546" y="431"/>
                  </a:lnTo>
                  <a:lnTo>
                    <a:pt x="550" y="431"/>
                  </a:lnTo>
                  <a:close/>
                  <a:moveTo>
                    <a:pt x="1009" y="431"/>
                  </a:moveTo>
                  <a:lnTo>
                    <a:pt x="1009" y="435"/>
                  </a:lnTo>
                  <a:lnTo>
                    <a:pt x="1013" y="435"/>
                  </a:lnTo>
                  <a:lnTo>
                    <a:pt x="1013" y="439"/>
                  </a:lnTo>
                  <a:lnTo>
                    <a:pt x="1009" y="439"/>
                  </a:lnTo>
                  <a:lnTo>
                    <a:pt x="1009" y="435"/>
                  </a:lnTo>
                  <a:lnTo>
                    <a:pt x="1009" y="431"/>
                  </a:lnTo>
                  <a:close/>
                  <a:moveTo>
                    <a:pt x="937" y="435"/>
                  </a:moveTo>
                  <a:lnTo>
                    <a:pt x="941" y="435"/>
                  </a:lnTo>
                  <a:lnTo>
                    <a:pt x="941" y="439"/>
                  </a:lnTo>
                  <a:lnTo>
                    <a:pt x="937" y="439"/>
                  </a:lnTo>
                  <a:lnTo>
                    <a:pt x="933" y="439"/>
                  </a:lnTo>
                  <a:lnTo>
                    <a:pt x="933" y="435"/>
                  </a:lnTo>
                  <a:lnTo>
                    <a:pt x="937" y="435"/>
                  </a:lnTo>
                  <a:close/>
                  <a:moveTo>
                    <a:pt x="973" y="467"/>
                  </a:moveTo>
                  <a:lnTo>
                    <a:pt x="969" y="463"/>
                  </a:lnTo>
                  <a:lnTo>
                    <a:pt x="965" y="463"/>
                  </a:lnTo>
                  <a:lnTo>
                    <a:pt x="965" y="459"/>
                  </a:lnTo>
                  <a:lnTo>
                    <a:pt x="965" y="455"/>
                  </a:lnTo>
                  <a:lnTo>
                    <a:pt x="965" y="451"/>
                  </a:lnTo>
                  <a:lnTo>
                    <a:pt x="965" y="447"/>
                  </a:lnTo>
                  <a:lnTo>
                    <a:pt x="969" y="439"/>
                  </a:lnTo>
                  <a:lnTo>
                    <a:pt x="973" y="439"/>
                  </a:lnTo>
                  <a:lnTo>
                    <a:pt x="981" y="435"/>
                  </a:lnTo>
                  <a:lnTo>
                    <a:pt x="985" y="435"/>
                  </a:lnTo>
                  <a:lnTo>
                    <a:pt x="989" y="435"/>
                  </a:lnTo>
                  <a:lnTo>
                    <a:pt x="993" y="439"/>
                  </a:lnTo>
                  <a:lnTo>
                    <a:pt x="997" y="439"/>
                  </a:lnTo>
                  <a:lnTo>
                    <a:pt x="997" y="443"/>
                  </a:lnTo>
                  <a:lnTo>
                    <a:pt x="997" y="447"/>
                  </a:lnTo>
                  <a:lnTo>
                    <a:pt x="997" y="451"/>
                  </a:lnTo>
                  <a:lnTo>
                    <a:pt x="997" y="455"/>
                  </a:lnTo>
                  <a:lnTo>
                    <a:pt x="997" y="459"/>
                  </a:lnTo>
                  <a:lnTo>
                    <a:pt x="993" y="463"/>
                  </a:lnTo>
                  <a:lnTo>
                    <a:pt x="989" y="463"/>
                  </a:lnTo>
                  <a:lnTo>
                    <a:pt x="985" y="463"/>
                  </a:lnTo>
                  <a:lnTo>
                    <a:pt x="981" y="463"/>
                  </a:lnTo>
                  <a:lnTo>
                    <a:pt x="977" y="463"/>
                  </a:lnTo>
                  <a:lnTo>
                    <a:pt x="977" y="467"/>
                  </a:lnTo>
                  <a:lnTo>
                    <a:pt x="973" y="467"/>
                  </a:lnTo>
                  <a:close/>
                  <a:moveTo>
                    <a:pt x="825" y="439"/>
                  </a:moveTo>
                  <a:lnTo>
                    <a:pt x="825" y="443"/>
                  </a:lnTo>
                  <a:lnTo>
                    <a:pt x="825" y="447"/>
                  </a:lnTo>
                  <a:lnTo>
                    <a:pt x="825" y="451"/>
                  </a:lnTo>
                  <a:lnTo>
                    <a:pt x="821" y="451"/>
                  </a:lnTo>
                  <a:lnTo>
                    <a:pt x="817" y="451"/>
                  </a:lnTo>
                  <a:lnTo>
                    <a:pt x="817" y="447"/>
                  </a:lnTo>
                  <a:lnTo>
                    <a:pt x="817" y="443"/>
                  </a:lnTo>
                  <a:lnTo>
                    <a:pt x="817" y="439"/>
                  </a:lnTo>
                  <a:lnTo>
                    <a:pt x="821" y="439"/>
                  </a:lnTo>
                  <a:lnTo>
                    <a:pt x="821" y="435"/>
                  </a:lnTo>
                  <a:lnTo>
                    <a:pt x="825" y="439"/>
                  </a:lnTo>
                  <a:close/>
                  <a:moveTo>
                    <a:pt x="1141" y="439"/>
                  </a:moveTo>
                  <a:lnTo>
                    <a:pt x="1141" y="443"/>
                  </a:lnTo>
                  <a:lnTo>
                    <a:pt x="1141" y="439"/>
                  </a:lnTo>
                  <a:close/>
                  <a:moveTo>
                    <a:pt x="1017" y="443"/>
                  </a:moveTo>
                  <a:lnTo>
                    <a:pt x="1021" y="443"/>
                  </a:lnTo>
                  <a:lnTo>
                    <a:pt x="1021" y="447"/>
                  </a:lnTo>
                  <a:lnTo>
                    <a:pt x="1025" y="451"/>
                  </a:lnTo>
                  <a:lnTo>
                    <a:pt x="1021" y="451"/>
                  </a:lnTo>
                  <a:lnTo>
                    <a:pt x="1017" y="451"/>
                  </a:lnTo>
                  <a:lnTo>
                    <a:pt x="1013" y="451"/>
                  </a:lnTo>
                  <a:lnTo>
                    <a:pt x="1009" y="451"/>
                  </a:lnTo>
                  <a:lnTo>
                    <a:pt x="1005" y="451"/>
                  </a:lnTo>
                  <a:lnTo>
                    <a:pt x="1005" y="447"/>
                  </a:lnTo>
                  <a:lnTo>
                    <a:pt x="1001" y="447"/>
                  </a:lnTo>
                  <a:lnTo>
                    <a:pt x="1001" y="443"/>
                  </a:lnTo>
                  <a:lnTo>
                    <a:pt x="1005" y="443"/>
                  </a:lnTo>
                  <a:lnTo>
                    <a:pt x="1009" y="443"/>
                  </a:lnTo>
                  <a:lnTo>
                    <a:pt x="1009" y="439"/>
                  </a:lnTo>
                  <a:lnTo>
                    <a:pt x="1009" y="443"/>
                  </a:lnTo>
                  <a:lnTo>
                    <a:pt x="1013" y="443"/>
                  </a:lnTo>
                  <a:lnTo>
                    <a:pt x="1017" y="443"/>
                  </a:lnTo>
                  <a:close/>
                  <a:moveTo>
                    <a:pt x="486" y="447"/>
                  </a:moveTo>
                  <a:lnTo>
                    <a:pt x="482" y="447"/>
                  </a:lnTo>
                  <a:lnTo>
                    <a:pt x="486" y="447"/>
                  </a:lnTo>
                  <a:close/>
                  <a:moveTo>
                    <a:pt x="454" y="447"/>
                  </a:moveTo>
                  <a:lnTo>
                    <a:pt x="450" y="447"/>
                  </a:lnTo>
                  <a:lnTo>
                    <a:pt x="454" y="447"/>
                  </a:lnTo>
                  <a:close/>
                  <a:moveTo>
                    <a:pt x="494" y="459"/>
                  </a:moveTo>
                  <a:lnTo>
                    <a:pt x="490" y="459"/>
                  </a:lnTo>
                  <a:lnTo>
                    <a:pt x="490" y="455"/>
                  </a:lnTo>
                  <a:lnTo>
                    <a:pt x="494" y="455"/>
                  </a:lnTo>
                  <a:lnTo>
                    <a:pt x="494" y="459"/>
                  </a:lnTo>
                  <a:close/>
                  <a:moveTo>
                    <a:pt x="502" y="459"/>
                  </a:moveTo>
                  <a:lnTo>
                    <a:pt x="502" y="463"/>
                  </a:lnTo>
                  <a:lnTo>
                    <a:pt x="498" y="463"/>
                  </a:lnTo>
                  <a:lnTo>
                    <a:pt x="498" y="459"/>
                  </a:lnTo>
                  <a:lnTo>
                    <a:pt x="502" y="459"/>
                  </a:lnTo>
                  <a:close/>
                  <a:moveTo>
                    <a:pt x="1180" y="471"/>
                  </a:moveTo>
                  <a:lnTo>
                    <a:pt x="1184" y="471"/>
                  </a:lnTo>
                  <a:lnTo>
                    <a:pt x="1184" y="467"/>
                  </a:lnTo>
                  <a:lnTo>
                    <a:pt x="1188" y="467"/>
                  </a:lnTo>
                  <a:lnTo>
                    <a:pt x="1184" y="467"/>
                  </a:lnTo>
                  <a:lnTo>
                    <a:pt x="1184" y="471"/>
                  </a:lnTo>
                  <a:lnTo>
                    <a:pt x="1180" y="471"/>
                  </a:lnTo>
                  <a:close/>
                  <a:moveTo>
                    <a:pt x="1121" y="487"/>
                  </a:moveTo>
                  <a:lnTo>
                    <a:pt x="1125" y="487"/>
                  </a:lnTo>
                  <a:lnTo>
                    <a:pt x="1125" y="491"/>
                  </a:lnTo>
                  <a:lnTo>
                    <a:pt x="1121" y="487"/>
                  </a:lnTo>
                  <a:close/>
                  <a:moveTo>
                    <a:pt x="877" y="491"/>
                  </a:moveTo>
                  <a:lnTo>
                    <a:pt x="873" y="491"/>
                  </a:lnTo>
                  <a:lnTo>
                    <a:pt x="873" y="487"/>
                  </a:lnTo>
                  <a:lnTo>
                    <a:pt x="873" y="491"/>
                  </a:lnTo>
                  <a:lnTo>
                    <a:pt x="877" y="491"/>
                  </a:lnTo>
                  <a:close/>
                  <a:moveTo>
                    <a:pt x="865" y="499"/>
                  </a:moveTo>
                  <a:lnTo>
                    <a:pt x="865" y="503"/>
                  </a:lnTo>
                  <a:lnTo>
                    <a:pt x="869" y="503"/>
                  </a:lnTo>
                  <a:lnTo>
                    <a:pt x="873" y="503"/>
                  </a:lnTo>
                  <a:lnTo>
                    <a:pt x="873" y="507"/>
                  </a:lnTo>
                  <a:lnTo>
                    <a:pt x="869" y="507"/>
                  </a:lnTo>
                  <a:lnTo>
                    <a:pt x="865" y="507"/>
                  </a:lnTo>
                  <a:lnTo>
                    <a:pt x="865" y="503"/>
                  </a:lnTo>
                  <a:lnTo>
                    <a:pt x="861" y="503"/>
                  </a:lnTo>
                  <a:lnTo>
                    <a:pt x="861" y="499"/>
                  </a:lnTo>
                  <a:lnTo>
                    <a:pt x="857" y="499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7" y="495"/>
                  </a:lnTo>
                  <a:lnTo>
                    <a:pt x="861" y="495"/>
                  </a:lnTo>
                  <a:lnTo>
                    <a:pt x="865" y="499"/>
                  </a:lnTo>
                  <a:close/>
                  <a:moveTo>
                    <a:pt x="849" y="499"/>
                  </a:moveTo>
                  <a:lnTo>
                    <a:pt x="849" y="503"/>
                  </a:lnTo>
                  <a:lnTo>
                    <a:pt x="853" y="503"/>
                  </a:lnTo>
                  <a:lnTo>
                    <a:pt x="853" y="507"/>
                  </a:lnTo>
                  <a:lnTo>
                    <a:pt x="849" y="511"/>
                  </a:lnTo>
                  <a:lnTo>
                    <a:pt x="849" y="507"/>
                  </a:lnTo>
                  <a:lnTo>
                    <a:pt x="845" y="503"/>
                  </a:lnTo>
                  <a:lnTo>
                    <a:pt x="845" y="499"/>
                  </a:lnTo>
                  <a:lnTo>
                    <a:pt x="845" y="495"/>
                  </a:lnTo>
                  <a:lnTo>
                    <a:pt x="849" y="499"/>
                  </a:lnTo>
                  <a:close/>
                  <a:moveTo>
                    <a:pt x="825" y="531"/>
                  </a:moveTo>
                  <a:lnTo>
                    <a:pt x="829" y="531"/>
                  </a:lnTo>
                  <a:lnTo>
                    <a:pt x="829" y="527"/>
                  </a:lnTo>
                  <a:lnTo>
                    <a:pt x="829" y="523"/>
                  </a:lnTo>
                  <a:lnTo>
                    <a:pt x="829" y="519"/>
                  </a:lnTo>
                  <a:lnTo>
                    <a:pt x="829" y="515"/>
                  </a:lnTo>
                  <a:lnTo>
                    <a:pt x="829" y="511"/>
                  </a:lnTo>
                  <a:lnTo>
                    <a:pt x="833" y="503"/>
                  </a:lnTo>
                  <a:lnTo>
                    <a:pt x="837" y="503"/>
                  </a:lnTo>
                  <a:lnTo>
                    <a:pt x="837" y="499"/>
                  </a:lnTo>
                  <a:lnTo>
                    <a:pt x="841" y="499"/>
                  </a:lnTo>
                  <a:lnTo>
                    <a:pt x="841" y="503"/>
                  </a:lnTo>
                  <a:lnTo>
                    <a:pt x="837" y="503"/>
                  </a:lnTo>
                  <a:lnTo>
                    <a:pt x="841" y="503"/>
                  </a:lnTo>
                  <a:lnTo>
                    <a:pt x="845" y="503"/>
                  </a:lnTo>
                  <a:lnTo>
                    <a:pt x="845" y="507"/>
                  </a:lnTo>
                  <a:lnTo>
                    <a:pt x="845" y="511"/>
                  </a:lnTo>
                  <a:lnTo>
                    <a:pt x="841" y="507"/>
                  </a:lnTo>
                  <a:lnTo>
                    <a:pt x="841" y="511"/>
                  </a:lnTo>
                  <a:lnTo>
                    <a:pt x="845" y="511"/>
                  </a:lnTo>
                  <a:lnTo>
                    <a:pt x="845" y="515"/>
                  </a:lnTo>
                  <a:lnTo>
                    <a:pt x="849" y="519"/>
                  </a:lnTo>
                  <a:lnTo>
                    <a:pt x="849" y="515"/>
                  </a:lnTo>
                  <a:lnTo>
                    <a:pt x="853" y="511"/>
                  </a:lnTo>
                  <a:lnTo>
                    <a:pt x="857" y="511"/>
                  </a:lnTo>
                  <a:lnTo>
                    <a:pt x="857" y="515"/>
                  </a:lnTo>
                  <a:lnTo>
                    <a:pt x="861" y="515"/>
                  </a:lnTo>
                  <a:lnTo>
                    <a:pt x="857" y="515"/>
                  </a:lnTo>
                  <a:lnTo>
                    <a:pt x="861" y="519"/>
                  </a:lnTo>
                  <a:lnTo>
                    <a:pt x="865" y="519"/>
                  </a:lnTo>
                  <a:lnTo>
                    <a:pt x="869" y="519"/>
                  </a:lnTo>
                  <a:lnTo>
                    <a:pt x="873" y="519"/>
                  </a:lnTo>
                  <a:lnTo>
                    <a:pt x="873" y="523"/>
                  </a:lnTo>
                  <a:lnTo>
                    <a:pt x="877" y="527"/>
                  </a:lnTo>
                  <a:lnTo>
                    <a:pt x="881" y="527"/>
                  </a:lnTo>
                  <a:lnTo>
                    <a:pt x="881" y="531"/>
                  </a:lnTo>
                  <a:lnTo>
                    <a:pt x="885" y="531"/>
                  </a:lnTo>
                  <a:lnTo>
                    <a:pt x="889" y="531"/>
                  </a:lnTo>
                  <a:lnTo>
                    <a:pt x="893" y="531"/>
                  </a:lnTo>
                  <a:lnTo>
                    <a:pt x="893" y="535"/>
                  </a:lnTo>
                  <a:lnTo>
                    <a:pt x="897" y="535"/>
                  </a:lnTo>
                  <a:lnTo>
                    <a:pt x="897" y="539"/>
                  </a:lnTo>
                  <a:lnTo>
                    <a:pt x="897" y="543"/>
                  </a:lnTo>
                  <a:lnTo>
                    <a:pt x="897" y="547"/>
                  </a:lnTo>
                  <a:lnTo>
                    <a:pt x="893" y="547"/>
                  </a:lnTo>
                  <a:lnTo>
                    <a:pt x="893" y="551"/>
                  </a:lnTo>
                  <a:lnTo>
                    <a:pt x="897" y="547"/>
                  </a:lnTo>
                  <a:lnTo>
                    <a:pt x="901" y="547"/>
                  </a:lnTo>
                  <a:lnTo>
                    <a:pt x="905" y="547"/>
                  </a:lnTo>
                  <a:lnTo>
                    <a:pt x="909" y="551"/>
                  </a:lnTo>
                  <a:lnTo>
                    <a:pt x="909" y="547"/>
                  </a:lnTo>
                  <a:lnTo>
                    <a:pt x="913" y="547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7" y="555"/>
                  </a:lnTo>
                  <a:lnTo>
                    <a:pt x="921" y="555"/>
                  </a:lnTo>
                  <a:lnTo>
                    <a:pt x="917" y="555"/>
                  </a:lnTo>
                  <a:lnTo>
                    <a:pt x="913" y="559"/>
                  </a:lnTo>
                  <a:lnTo>
                    <a:pt x="909" y="559"/>
                  </a:lnTo>
                  <a:lnTo>
                    <a:pt x="909" y="563"/>
                  </a:lnTo>
                  <a:lnTo>
                    <a:pt x="905" y="563"/>
                  </a:lnTo>
                  <a:lnTo>
                    <a:pt x="901" y="563"/>
                  </a:lnTo>
                  <a:lnTo>
                    <a:pt x="897" y="559"/>
                  </a:lnTo>
                  <a:lnTo>
                    <a:pt x="893" y="559"/>
                  </a:lnTo>
                  <a:lnTo>
                    <a:pt x="893" y="555"/>
                  </a:lnTo>
                  <a:lnTo>
                    <a:pt x="889" y="555"/>
                  </a:lnTo>
                  <a:lnTo>
                    <a:pt x="889" y="559"/>
                  </a:lnTo>
                  <a:lnTo>
                    <a:pt x="885" y="559"/>
                  </a:lnTo>
                  <a:lnTo>
                    <a:pt x="885" y="555"/>
                  </a:lnTo>
                  <a:lnTo>
                    <a:pt x="885" y="551"/>
                  </a:lnTo>
                  <a:lnTo>
                    <a:pt x="881" y="551"/>
                  </a:lnTo>
                  <a:lnTo>
                    <a:pt x="877" y="551"/>
                  </a:lnTo>
                  <a:lnTo>
                    <a:pt x="873" y="547"/>
                  </a:lnTo>
                  <a:lnTo>
                    <a:pt x="877" y="547"/>
                  </a:lnTo>
                  <a:lnTo>
                    <a:pt x="877" y="543"/>
                  </a:lnTo>
                  <a:lnTo>
                    <a:pt x="873" y="543"/>
                  </a:lnTo>
                  <a:lnTo>
                    <a:pt x="873" y="547"/>
                  </a:lnTo>
                  <a:lnTo>
                    <a:pt x="869" y="547"/>
                  </a:lnTo>
                  <a:lnTo>
                    <a:pt x="865" y="547"/>
                  </a:lnTo>
                  <a:lnTo>
                    <a:pt x="865" y="551"/>
                  </a:lnTo>
                  <a:lnTo>
                    <a:pt x="869" y="551"/>
                  </a:lnTo>
                  <a:lnTo>
                    <a:pt x="869" y="555"/>
                  </a:lnTo>
                  <a:lnTo>
                    <a:pt x="865" y="555"/>
                  </a:lnTo>
                  <a:lnTo>
                    <a:pt x="861" y="559"/>
                  </a:lnTo>
                  <a:lnTo>
                    <a:pt x="857" y="559"/>
                  </a:lnTo>
                  <a:lnTo>
                    <a:pt x="857" y="563"/>
                  </a:lnTo>
                  <a:lnTo>
                    <a:pt x="853" y="563"/>
                  </a:lnTo>
                  <a:lnTo>
                    <a:pt x="853" y="567"/>
                  </a:lnTo>
                  <a:lnTo>
                    <a:pt x="849" y="567"/>
                  </a:lnTo>
                  <a:lnTo>
                    <a:pt x="849" y="571"/>
                  </a:lnTo>
                  <a:lnTo>
                    <a:pt x="845" y="571"/>
                  </a:lnTo>
                  <a:lnTo>
                    <a:pt x="841" y="571"/>
                  </a:lnTo>
                  <a:lnTo>
                    <a:pt x="837" y="571"/>
                  </a:lnTo>
                  <a:lnTo>
                    <a:pt x="837" y="567"/>
                  </a:lnTo>
                  <a:lnTo>
                    <a:pt x="837" y="563"/>
                  </a:lnTo>
                  <a:lnTo>
                    <a:pt x="837" y="559"/>
                  </a:lnTo>
                  <a:lnTo>
                    <a:pt x="837" y="555"/>
                  </a:lnTo>
                  <a:lnTo>
                    <a:pt x="833" y="555"/>
                  </a:lnTo>
                  <a:lnTo>
                    <a:pt x="829" y="559"/>
                  </a:lnTo>
                  <a:lnTo>
                    <a:pt x="825" y="559"/>
                  </a:lnTo>
                  <a:lnTo>
                    <a:pt x="821" y="559"/>
                  </a:lnTo>
                  <a:lnTo>
                    <a:pt x="817" y="559"/>
                  </a:lnTo>
                  <a:lnTo>
                    <a:pt x="813" y="559"/>
                  </a:lnTo>
                  <a:lnTo>
                    <a:pt x="813" y="555"/>
                  </a:lnTo>
                  <a:lnTo>
                    <a:pt x="817" y="551"/>
                  </a:lnTo>
                  <a:lnTo>
                    <a:pt x="821" y="551"/>
                  </a:lnTo>
                  <a:lnTo>
                    <a:pt x="825" y="547"/>
                  </a:lnTo>
                  <a:lnTo>
                    <a:pt x="829" y="547"/>
                  </a:lnTo>
                  <a:lnTo>
                    <a:pt x="829" y="543"/>
                  </a:lnTo>
                  <a:lnTo>
                    <a:pt x="825" y="543"/>
                  </a:lnTo>
                  <a:lnTo>
                    <a:pt x="825" y="539"/>
                  </a:lnTo>
                  <a:lnTo>
                    <a:pt x="825" y="535"/>
                  </a:lnTo>
                  <a:lnTo>
                    <a:pt x="825" y="531"/>
                  </a:lnTo>
                  <a:close/>
                  <a:moveTo>
                    <a:pt x="873" y="503"/>
                  </a:moveTo>
                  <a:lnTo>
                    <a:pt x="869" y="503"/>
                  </a:lnTo>
                  <a:lnTo>
                    <a:pt x="869" y="499"/>
                  </a:lnTo>
                  <a:lnTo>
                    <a:pt x="873" y="499"/>
                  </a:lnTo>
                  <a:lnTo>
                    <a:pt x="873" y="503"/>
                  </a:lnTo>
                  <a:close/>
                  <a:moveTo>
                    <a:pt x="1192" y="503"/>
                  </a:moveTo>
                  <a:lnTo>
                    <a:pt x="1192" y="507"/>
                  </a:lnTo>
                  <a:lnTo>
                    <a:pt x="1192" y="503"/>
                  </a:lnTo>
                  <a:lnTo>
                    <a:pt x="1192" y="507"/>
                  </a:lnTo>
                  <a:lnTo>
                    <a:pt x="1188" y="507"/>
                  </a:lnTo>
                  <a:lnTo>
                    <a:pt x="1188" y="503"/>
                  </a:lnTo>
                  <a:lnTo>
                    <a:pt x="1192" y="503"/>
                  </a:lnTo>
                  <a:close/>
                  <a:moveTo>
                    <a:pt x="1145" y="531"/>
                  </a:moveTo>
                  <a:lnTo>
                    <a:pt x="1148" y="531"/>
                  </a:lnTo>
                  <a:lnTo>
                    <a:pt x="1145" y="535"/>
                  </a:lnTo>
                  <a:lnTo>
                    <a:pt x="1141" y="535"/>
                  </a:lnTo>
                  <a:lnTo>
                    <a:pt x="1145" y="531"/>
                  </a:lnTo>
                  <a:close/>
                  <a:moveTo>
                    <a:pt x="957" y="551"/>
                  </a:moveTo>
                  <a:lnTo>
                    <a:pt x="953" y="551"/>
                  </a:lnTo>
                  <a:lnTo>
                    <a:pt x="953" y="547"/>
                  </a:lnTo>
                  <a:lnTo>
                    <a:pt x="957" y="547"/>
                  </a:lnTo>
                  <a:lnTo>
                    <a:pt x="961" y="547"/>
                  </a:lnTo>
                  <a:lnTo>
                    <a:pt x="957" y="551"/>
                  </a:lnTo>
                  <a:close/>
                  <a:moveTo>
                    <a:pt x="1037" y="555"/>
                  </a:moveTo>
                  <a:lnTo>
                    <a:pt x="1037" y="559"/>
                  </a:lnTo>
                  <a:lnTo>
                    <a:pt x="1033" y="559"/>
                  </a:lnTo>
                  <a:lnTo>
                    <a:pt x="1037" y="555"/>
                  </a:lnTo>
                  <a:close/>
                  <a:moveTo>
                    <a:pt x="973" y="563"/>
                  </a:moveTo>
                  <a:lnTo>
                    <a:pt x="977" y="563"/>
                  </a:lnTo>
                  <a:lnTo>
                    <a:pt x="973" y="563"/>
                  </a:lnTo>
                  <a:lnTo>
                    <a:pt x="973" y="567"/>
                  </a:lnTo>
                  <a:lnTo>
                    <a:pt x="969" y="563"/>
                  </a:lnTo>
                  <a:lnTo>
                    <a:pt x="965" y="563"/>
                  </a:lnTo>
                  <a:lnTo>
                    <a:pt x="965" y="559"/>
                  </a:lnTo>
                  <a:lnTo>
                    <a:pt x="961" y="559"/>
                  </a:lnTo>
                  <a:lnTo>
                    <a:pt x="961" y="555"/>
                  </a:lnTo>
                  <a:lnTo>
                    <a:pt x="965" y="559"/>
                  </a:lnTo>
                  <a:lnTo>
                    <a:pt x="969" y="559"/>
                  </a:lnTo>
                  <a:lnTo>
                    <a:pt x="973" y="559"/>
                  </a:lnTo>
                  <a:lnTo>
                    <a:pt x="973" y="563"/>
                  </a:lnTo>
                  <a:close/>
                  <a:moveTo>
                    <a:pt x="1160" y="559"/>
                  </a:moveTo>
                  <a:lnTo>
                    <a:pt x="1160" y="563"/>
                  </a:lnTo>
                  <a:lnTo>
                    <a:pt x="1164" y="567"/>
                  </a:lnTo>
                  <a:lnTo>
                    <a:pt x="1160" y="567"/>
                  </a:lnTo>
                  <a:lnTo>
                    <a:pt x="1160" y="563"/>
                  </a:lnTo>
                  <a:lnTo>
                    <a:pt x="1156" y="559"/>
                  </a:lnTo>
                  <a:lnTo>
                    <a:pt x="1160" y="559"/>
                  </a:lnTo>
                  <a:close/>
                  <a:moveTo>
                    <a:pt x="1152" y="559"/>
                  </a:moveTo>
                  <a:lnTo>
                    <a:pt x="1152" y="563"/>
                  </a:lnTo>
                  <a:lnTo>
                    <a:pt x="1148" y="563"/>
                  </a:lnTo>
                  <a:lnTo>
                    <a:pt x="1148" y="559"/>
                  </a:lnTo>
                  <a:lnTo>
                    <a:pt x="1152" y="559"/>
                  </a:lnTo>
                  <a:close/>
                  <a:moveTo>
                    <a:pt x="949" y="563"/>
                  </a:moveTo>
                  <a:lnTo>
                    <a:pt x="953" y="563"/>
                  </a:lnTo>
                  <a:lnTo>
                    <a:pt x="957" y="563"/>
                  </a:lnTo>
                  <a:lnTo>
                    <a:pt x="961" y="567"/>
                  </a:lnTo>
                  <a:lnTo>
                    <a:pt x="961" y="571"/>
                  </a:lnTo>
                  <a:lnTo>
                    <a:pt x="957" y="571"/>
                  </a:lnTo>
                  <a:lnTo>
                    <a:pt x="953" y="571"/>
                  </a:lnTo>
                  <a:lnTo>
                    <a:pt x="949" y="567"/>
                  </a:lnTo>
                  <a:lnTo>
                    <a:pt x="945" y="567"/>
                  </a:lnTo>
                  <a:lnTo>
                    <a:pt x="945" y="563"/>
                  </a:lnTo>
                  <a:lnTo>
                    <a:pt x="949" y="563"/>
                  </a:lnTo>
                  <a:close/>
                  <a:moveTo>
                    <a:pt x="889" y="575"/>
                  </a:moveTo>
                  <a:lnTo>
                    <a:pt x="893" y="575"/>
                  </a:lnTo>
                  <a:lnTo>
                    <a:pt x="893" y="579"/>
                  </a:lnTo>
                  <a:lnTo>
                    <a:pt x="893" y="583"/>
                  </a:lnTo>
                  <a:lnTo>
                    <a:pt x="889" y="583"/>
                  </a:lnTo>
                  <a:lnTo>
                    <a:pt x="889" y="587"/>
                  </a:lnTo>
                  <a:lnTo>
                    <a:pt x="885" y="587"/>
                  </a:lnTo>
                  <a:lnTo>
                    <a:pt x="885" y="591"/>
                  </a:lnTo>
                  <a:lnTo>
                    <a:pt x="881" y="591"/>
                  </a:lnTo>
                  <a:lnTo>
                    <a:pt x="877" y="595"/>
                  </a:lnTo>
                  <a:lnTo>
                    <a:pt x="873" y="595"/>
                  </a:lnTo>
                  <a:lnTo>
                    <a:pt x="869" y="595"/>
                  </a:lnTo>
                  <a:lnTo>
                    <a:pt x="865" y="595"/>
                  </a:lnTo>
                  <a:lnTo>
                    <a:pt x="865" y="591"/>
                  </a:lnTo>
                  <a:lnTo>
                    <a:pt x="861" y="587"/>
                  </a:lnTo>
                  <a:lnTo>
                    <a:pt x="865" y="587"/>
                  </a:lnTo>
                  <a:lnTo>
                    <a:pt x="869" y="583"/>
                  </a:lnTo>
                  <a:lnTo>
                    <a:pt x="869" y="579"/>
                  </a:lnTo>
                  <a:lnTo>
                    <a:pt x="873" y="575"/>
                  </a:lnTo>
                  <a:lnTo>
                    <a:pt x="873" y="579"/>
                  </a:lnTo>
                  <a:lnTo>
                    <a:pt x="877" y="579"/>
                  </a:lnTo>
                  <a:lnTo>
                    <a:pt x="881" y="579"/>
                  </a:lnTo>
                  <a:lnTo>
                    <a:pt x="881" y="575"/>
                  </a:lnTo>
                  <a:lnTo>
                    <a:pt x="885" y="575"/>
                  </a:lnTo>
                  <a:lnTo>
                    <a:pt x="889" y="575"/>
                  </a:lnTo>
                  <a:close/>
                  <a:moveTo>
                    <a:pt x="1005" y="579"/>
                  </a:moveTo>
                  <a:lnTo>
                    <a:pt x="1009" y="583"/>
                  </a:lnTo>
                  <a:lnTo>
                    <a:pt x="1013" y="583"/>
                  </a:lnTo>
                  <a:lnTo>
                    <a:pt x="1009" y="583"/>
                  </a:lnTo>
                  <a:lnTo>
                    <a:pt x="1005" y="583"/>
                  </a:lnTo>
                  <a:lnTo>
                    <a:pt x="1005" y="579"/>
                  </a:lnTo>
                  <a:close/>
                  <a:moveTo>
                    <a:pt x="1152" y="583"/>
                  </a:moveTo>
                  <a:lnTo>
                    <a:pt x="1152" y="587"/>
                  </a:lnTo>
                  <a:lnTo>
                    <a:pt x="1148" y="587"/>
                  </a:lnTo>
                  <a:lnTo>
                    <a:pt x="1148" y="583"/>
                  </a:lnTo>
                  <a:lnTo>
                    <a:pt x="1152" y="583"/>
                  </a:lnTo>
                  <a:close/>
                  <a:moveTo>
                    <a:pt x="1160" y="587"/>
                  </a:moveTo>
                  <a:lnTo>
                    <a:pt x="1156" y="591"/>
                  </a:lnTo>
                  <a:lnTo>
                    <a:pt x="1152" y="591"/>
                  </a:lnTo>
                  <a:lnTo>
                    <a:pt x="1152" y="587"/>
                  </a:lnTo>
                  <a:lnTo>
                    <a:pt x="1148" y="587"/>
                  </a:lnTo>
                  <a:lnTo>
                    <a:pt x="1152" y="587"/>
                  </a:lnTo>
                  <a:lnTo>
                    <a:pt x="1156" y="587"/>
                  </a:lnTo>
                  <a:lnTo>
                    <a:pt x="1160" y="587"/>
                  </a:lnTo>
                  <a:close/>
                  <a:moveTo>
                    <a:pt x="929" y="603"/>
                  </a:moveTo>
                  <a:lnTo>
                    <a:pt x="929" y="606"/>
                  </a:lnTo>
                  <a:lnTo>
                    <a:pt x="925" y="610"/>
                  </a:lnTo>
                  <a:lnTo>
                    <a:pt x="925" y="606"/>
                  </a:lnTo>
                  <a:lnTo>
                    <a:pt x="921" y="606"/>
                  </a:lnTo>
                  <a:lnTo>
                    <a:pt x="917" y="603"/>
                  </a:lnTo>
                  <a:lnTo>
                    <a:pt x="917" y="599"/>
                  </a:lnTo>
                  <a:lnTo>
                    <a:pt x="917" y="595"/>
                  </a:lnTo>
                  <a:lnTo>
                    <a:pt x="921" y="595"/>
                  </a:lnTo>
                  <a:lnTo>
                    <a:pt x="921" y="591"/>
                  </a:lnTo>
                  <a:lnTo>
                    <a:pt x="925" y="591"/>
                  </a:lnTo>
                  <a:lnTo>
                    <a:pt x="929" y="591"/>
                  </a:lnTo>
                  <a:lnTo>
                    <a:pt x="929" y="587"/>
                  </a:lnTo>
                  <a:lnTo>
                    <a:pt x="929" y="591"/>
                  </a:lnTo>
                  <a:lnTo>
                    <a:pt x="933" y="591"/>
                  </a:lnTo>
                  <a:lnTo>
                    <a:pt x="933" y="595"/>
                  </a:lnTo>
                  <a:lnTo>
                    <a:pt x="933" y="599"/>
                  </a:lnTo>
                  <a:lnTo>
                    <a:pt x="929" y="603"/>
                  </a:lnTo>
                  <a:close/>
                  <a:moveTo>
                    <a:pt x="1148" y="603"/>
                  </a:moveTo>
                  <a:lnTo>
                    <a:pt x="1152" y="603"/>
                  </a:lnTo>
                  <a:lnTo>
                    <a:pt x="1152" y="606"/>
                  </a:lnTo>
                  <a:lnTo>
                    <a:pt x="1148" y="603"/>
                  </a:lnTo>
                  <a:lnTo>
                    <a:pt x="1145" y="603"/>
                  </a:lnTo>
                  <a:lnTo>
                    <a:pt x="1148" y="599"/>
                  </a:lnTo>
                  <a:lnTo>
                    <a:pt x="1148" y="603"/>
                  </a:lnTo>
                  <a:close/>
                  <a:moveTo>
                    <a:pt x="726" y="603"/>
                  </a:moveTo>
                  <a:lnTo>
                    <a:pt x="722" y="603"/>
                  </a:lnTo>
                  <a:lnTo>
                    <a:pt x="726" y="603"/>
                  </a:lnTo>
                  <a:close/>
                  <a:moveTo>
                    <a:pt x="1156" y="610"/>
                  </a:moveTo>
                  <a:lnTo>
                    <a:pt x="1152" y="610"/>
                  </a:lnTo>
                  <a:lnTo>
                    <a:pt x="1156" y="610"/>
                  </a:lnTo>
                  <a:lnTo>
                    <a:pt x="1152" y="614"/>
                  </a:lnTo>
                  <a:lnTo>
                    <a:pt x="1148" y="614"/>
                  </a:lnTo>
                  <a:lnTo>
                    <a:pt x="1148" y="610"/>
                  </a:lnTo>
                  <a:lnTo>
                    <a:pt x="1145" y="610"/>
                  </a:lnTo>
                  <a:lnTo>
                    <a:pt x="1141" y="610"/>
                  </a:lnTo>
                  <a:lnTo>
                    <a:pt x="1145" y="606"/>
                  </a:lnTo>
                  <a:lnTo>
                    <a:pt x="1148" y="606"/>
                  </a:lnTo>
                  <a:lnTo>
                    <a:pt x="1152" y="606"/>
                  </a:lnTo>
                  <a:lnTo>
                    <a:pt x="1156" y="610"/>
                  </a:lnTo>
                  <a:close/>
                  <a:moveTo>
                    <a:pt x="949" y="626"/>
                  </a:moveTo>
                  <a:lnTo>
                    <a:pt x="949" y="630"/>
                  </a:lnTo>
                  <a:lnTo>
                    <a:pt x="945" y="630"/>
                  </a:lnTo>
                  <a:lnTo>
                    <a:pt x="941" y="630"/>
                  </a:lnTo>
                  <a:lnTo>
                    <a:pt x="945" y="630"/>
                  </a:lnTo>
                  <a:lnTo>
                    <a:pt x="945" y="626"/>
                  </a:lnTo>
                  <a:lnTo>
                    <a:pt x="949" y="626"/>
                  </a:lnTo>
                  <a:close/>
                  <a:moveTo>
                    <a:pt x="1105" y="634"/>
                  </a:moveTo>
                  <a:lnTo>
                    <a:pt x="1109" y="638"/>
                  </a:lnTo>
                  <a:lnTo>
                    <a:pt x="1105" y="638"/>
                  </a:lnTo>
                  <a:lnTo>
                    <a:pt x="1105" y="642"/>
                  </a:lnTo>
                  <a:lnTo>
                    <a:pt x="1101" y="642"/>
                  </a:lnTo>
                  <a:lnTo>
                    <a:pt x="1097" y="642"/>
                  </a:lnTo>
                  <a:lnTo>
                    <a:pt x="1101" y="642"/>
                  </a:lnTo>
                  <a:lnTo>
                    <a:pt x="1101" y="638"/>
                  </a:lnTo>
                  <a:lnTo>
                    <a:pt x="1101" y="634"/>
                  </a:lnTo>
                  <a:lnTo>
                    <a:pt x="1105" y="634"/>
                  </a:lnTo>
                  <a:close/>
                  <a:moveTo>
                    <a:pt x="925" y="650"/>
                  </a:moveTo>
                  <a:lnTo>
                    <a:pt x="925" y="654"/>
                  </a:lnTo>
                  <a:lnTo>
                    <a:pt x="921" y="654"/>
                  </a:lnTo>
                  <a:lnTo>
                    <a:pt x="921" y="650"/>
                  </a:lnTo>
                  <a:lnTo>
                    <a:pt x="925" y="650"/>
                  </a:lnTo>
                  <a:close/>
                  <a:moveTo>
                    <a:pt x="1085" y="670"/>
                  </a:moveTo>
                  <a:lnTo>
                    <a:pt x="1085" y="674"/>
                  </a:lnTo>
                  <a:lnTo>
                    <a:pt x="1085" y="670"/>
                  </a:lnTo>
                  <a:close/>
                  <a:moveTo>
                    <a:pt x="1196" y="698"/>
                  </a:moveTo>
                  <a:lnTo>
                    <a:pt x="1196" y="702"/>
                  </a:lnTo>
                  <a:lnTo>
                    <a:pt x="1192" y="702"/>
                  </a:lnTo>
                  <a:lnTo>
                    <a:pt x="1192" y="698"/>
                  </a:lnTo>
                  <a:lnTo>
                    <a:pt x="1196" y="698"/>
                  </a:lnTo>
                  <a:close/>
                  <a:moveTo>
                    <a:pt x="1200" y="702"/>
                  </a:moveTo>
                  <a:lnTo>
                    <a:pt x="1196" y="702"/>
                  </a:lnTo>
                  <a:lnTo>
                    <a:pt x="1196" y="698"/>
                  </a:lnTo>
                  <a:lnTo>
                    <a:pt x="1200" y="698"/>
                  </a:lnTo>
                  <a:lnTo>
                    <a:pt x="1200" y="702"/>
                  </a:lnTo>
                  <a:close/>
                  <a:moveTo>
                    <a:pt x="929" y="706"/>
                  </a:moveTo>
                  <a:lnTo>
                    <a:pt x="929" y="710"/>
                  </a:lnTo>
                  <a:lnTo>
                    <a:pt x="925" y="710"/>
                  </a:lnTo>
                  <a:lnTo>
                    <a:pt x="925" y="706"/>
                  </a:lnTo>
                  <a:lnTo>
                    <a:pt x="929" y="706"/>
                  </a:lnTo>
                  <a:close/>
                  <a:moveTo>
                    <a:pt x="1200" y="710"/>
                  </a:moveTo>
                  <a:lnTo>
                    <a:pt x="1200" y="714"/>
                  </a:lnTo>
                  <a:lnTo>
                    <a:pt x="1200" y="710"/>
                  </a:lnTo>
                  <a:close/>
                  <a:moveTo>
                    <a:pt x="1204" y="722"/>
                  </a:moveTo>
                  <a:lnTo>
                    <a:pt x="1204" y="726"/>
                  </a:lnTo>
                  <a:lnTo>
                    <a:pt x="1200" y="726"/>
                  </a:lnTo>
                  <a:lnTo>
                    <a:pt x="1204" y="726"/>
                  </a:lnTo>
                  <a:lnTo>
                    <a:pt x="1204" y="730"/>
                  </a:lnTo>
                  <a:lnTo>
                    <a:pt x="1204" y="726"/>
                  </a:lnTo>
                  <a:lnTo>
                    <a:pt x="1200" y="726"/>
                  </a:lnTo>
                  <a:lnTo>
                    <a:pt x="1200" y="722"/>
                  </a:lnTo>
                  <a:lnTo>
                    <a:pt x="1204" y="722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929" y="726"/>
                  </a:moveTo>
                  <a:lnTo>
                    <a:pt x="929" y="730"/>
                  </a:lnTo>
                  <a:lnTo>
                    <a:pt x="929" y="726"/>
                  </a:lnTo>
                  <a:close/>
                  <a:moveTo>
                    <a:pt x="925" y="750"/>
                  </a:moveTo>
                  <a:lnTo>
                    <a:pt x="925" y="746"/>
                  </a:lnTo>
                  <a:lnTo>
                    <a:pt x="929" y="746"/>
                  </a:lnTo>
                  <a:lnTo>
                    <a:pt x="929" y="742"/>
                  </a:lnTo>
                  <a:lnTo>
                    <a:pt x="925" y="746"/>
                  </a:lnTo>
                  <a:lnTo>
                    <a:pt x="921" y="746"/>
                  </a:lnTo>
                  <a:lnTo>
                    <a:pt x="925" y="746"/>
                  </a:lnTo>
                  <a:lnTo>
                    <a:pt x="925" y="742"/>
                  </a:lnTo>
                  <a:lnTo>
                    <a:pt x="929" y="738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33" y="730"/>
                  </a:lnTo>
                  <a:lnTo>
                    <a:pt x="933" y="734"/>
                  </a:lnTo>
                  <a:lnTo>
                    <a:pt x="929" y="738"/>
                  </a:lnTo>
                  <a:lnTo>
                    <a:pt x="933" y="738"/>
                  </a:lnTo>
                  <a:lnTo>
                    <a:pt x="933" y="734"/>
                  </a:lnTo>
                  <a:lnTo>
                    <a:pt x="933" y="730"/>
                  </a:lnTo>
                  <a:lnTo>
                    <a:pt x="937" y="730"/>
                  </a:lnTo>
                  <a:lnTo>
                    <a:pt x="937" y="734"/>
                  </a:lnTo>
                  <a:lnTo>
                    <a:pt x="941" y="734"/>
                  </a:lnTo>
                  <a:lnTo>
                    <a:pt x="937" y="738"/>
                  </a:lnTo>
                  <a:lnTo>
                    <a:pt x="937" y="742"/>
                  </a:lnTo>
                  <a:lnTo>
                    <a:pt x="937" y="746"/>
                  </a:lnTo>
                  <a:lnTo>
                    <a:pt x="933" y="746"/>
                  </a:lnTo>
                  <a:lnTo>
                    <a:pt x="937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7" y="734"/>
                  </a:lnTo>
                  <a:lnTo>
                    <a:pt x="937" y="738"/>
                  </a:lnTo>
                  <a:lnTo>
                    <a:pt x="933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3" y="738"/>
                  </a:lnTo>
                  <a:lnTo>
                    <a:pt x="933" y="742"/>
                  </a:lnTo>
                  <a:lnTo>
                    <a:pt x="933" y="746"/>
                  </a:lnTo>
                  <a:lnTo>
                    <a:pt x="929" y="746"/>
                  </a:lnTo>
                  <a:lnTo>
                    <a:pt x="925" y="750"/>
                  </a:lnTo>
                  <a:close/>
                  <a:moveTo>
                    <a:pt x="921" y="738"/>
                  </a:moveTo>
                  <a:lnTo>
                    <a:pt x="925" y="734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29" y="734"/>
                  </a:lnTo>
                  <a:lnTo>
                    <a:pt x="929" y="738"/>
                  </a:lnTo>
                  <a:lnTo>
                    <a:pt x="925" y="738"/>
                  </a:lnTo>
                  <a:lnTo>
                    <a:pt x="921" y="738"/>
                  </a:lnTo>
                  <a:close/>
                  <a:moveTo>
                    <a:pt x="937" y="742"/>
                  </a:moveTo>
                  <a:lnTo>
                    <a:pt x="941" y="738"/>
                  </a:lnTo>
                  <a:lnTo>
                    <a:pt x="941" y="734"/>
                  </a:lnTo>
                  <a:lnTo>
                    <a:pt x="945" y="738"/>
                  </a:lnTo>
                  <a:lnTo>
                    <a:pt x="941" y="738"/>
                  </a:lnTo>
                  <a:lnTo>
                    <a:pt x="941" y="742"/>
                  </a:lnTo>
                  <a:lnTo>
                    <a:pt x="937" y="742"/>
                  </a:lnTo>
                  <a:close/>
                  <a:moveTo>
                    <a:pt x="1200" y="734"/>
                  </a:moveTo>
                  <a:lnTo>
                    <a:pt x="1204" y="734"/>
                  </a:lnTo>
                  <a:lnTo>
                    <a:pt x="1204" y="738"/>
                  </a:lnTo>
                  <a:lnTo>
                    <a:pt x="1200" y="738"/>
                  </a:lnTo>
                  <a:lnTo>
                    <a:pt x="1200" y="734"/>
                  </a:lnTo>
                  <a:close/>
                  <a:moveTo>
                    <a:pt x="1208" y="738"/>
                  </a:moveTo>
                  <a:lnTo>
                    <a:pt x="1212" y="742"/>
                  </a:lnTo>
                  <a:lnTo>
                    <a:pt x="1208" y="742"/>
                  </a:lnTo>
                  <a:lnTo>
                    <a:pt x="1208" y="738"/>
                  </a:lnTo>
                  <a:close/>
                  <a:moveTo>
                    <a:pt x="937" y="742"/>
                  </a:moveTo>
                  <a:lnTo>
                    <a:pt x="937" y="746"/>
                  </a:lnTo>
                  <a:lnTo>
                    <a:pt x="937" y="750"/>
                  </a:lnTo>
                  <a:lnTo>
                    <a:pt x="937" y="746"/>
                  </a:lnTo>
                  <a:lnTo>
                    <a:pt x="937" y="742"/>
                  </a:lnTo>
                  <a:close/>
                  <a:moveTo>
                    <a:pt x="163" y="766"/>
                  </a:moveTo>
                  <a:lnTo>
                    <a:pt x="163" y="770"/>
                  </a:lnTo>
                  <a:lnTo>
                    <a:pt x="159" y="774"/>
                  </a:lnTo>
                  <a:lnTo>
                    <a:pt x="159" y="770"/>
                  </a:lnTo>
                  <a:lnTo>
                    <a:pt x="163" y="770"/>
                  </a:lnTo>
                  <a:lnTo>
                    <a:pt x="163" y="766"/>
                  </a:lnTo>
                  <a:close/>
                  <a:moveTo>
                    <a:pt x="937" y="770"/>
                  </a:moveTo>
                  <a:lnTo>
                    <a:pt x="933" y="770"/>
                  </a:lnTo>
                  <a:lnTo>
                    <a:pt x="929" y="770"/>
                  </a:lnTo>
                  <a:lnTo>
                    <a:pt x="925" y="774"/>
                  </a:lnTo>
                  <a:lnTo>
                    <a:pt x="925" y="770"/>
                  </a:lnTo>
                  <a:lnTo>
                    <a:pt x="929" y="770"/>
                  </a:lnTo>
                  <a:lnTo>
                    <a:pt x="933" y="770"/>
                  </a:lnTo>
                  <a:lnTo>
                    <a:pt x="937" y="770"/>
                  </a:lnTo>
                  <a:close/>
                  <a:moveTo>
                    <a:pt x="155" y="774"/>
                  </a:moveTo>
                  <a:lnTo>
                    <a:pt x="155" y="778"/>
                  </a:lnTo>
                  <a:lnTo>
                    <a:pt x="151" y="778"/>
                  </a:lnTo>
                  <a:lnTo>
                    <a:pt x="151" y="774"/>
                  </a:lnTo>
                  <a:lnTo>
                    <a:pt x="155" y="774"/>
                  </a:lnTo>
                  <a:close/>
                  <a:moveTo>
                    <a:pt x="119" y="798"/>
                  </a:moveTo>
                  <a:lnTo>
                    <a:pt x="119" y="794"/>
                  </a:lnTo>
                  <a:lnTo>
                    <a:pt x="119" y="790"/>
                  </a:lnTo>
                  <a:lnTo>
                    <a:pt x="119" y="786"/>
                  </a:lnTo>
                  <a:lnTo>
                    <a:pt x="123" y="786"/>
                  </a:lnTo>
                  <a:lnTo>
                    <a:pt x="127" y="786"/>
                  </a:lnTo>
                  <a:lnTo>
                    <a:pt x="127" y="790"/>
                  </a:lnTo>
                  <a:lnTo>
                    <a:pt x="123" y="790"/>
                  </a:lnTo>
                  <a:lnTo>
                    <a:pt x="127" y="790"/>
                  </a:lnTo>
                  <a:lnTo>
                    <a:pt x="131" y="786"/>
                  </a:lnTo>
                  <a:lnTo>
                    <a:pt x="131" y="790"/>
                  </a:lnTo>
                  <a:lnTo>
                    <a:pt x="135" y="790"/>
                  </a:lnTo>
                  <a:lnTo>
                    <a:pt x="135" y="794"/>
                  </a:lnTo>
                  <a:lnTo>
                    <a:pt x="131" y="794"/>
                  </a:lnTo>
                  <a:lnTo>
                    <a:pt x="127" y="798"/>
                  </a:lnTo>
                  <a:lnTo>
                    <a:pt x="131" y="798"/>
                  </a:lnTo>
                  <a:lnTo>
                    <a:pt x="135" y="794"/>
                  </a:lnTo>
                  <a:lnTo>
                    <a:pt x="135" y="790"/>
                  </a:lnTo>
                  <a:lnTo>
                    <a:pt x="139" y="790"/>
                  </a:lnTo>
                  <a:lnTo>
                    <a:pt x="139" y="786"/>
                  </a:lnTo>
                  <a:lnTo>
                    <a:pt x="139" y="790"/>
                  </a:lnTo>
                  <a:lnTo>
                    <a:pt x="139" y="794"/>
                  </a:lnTo>
                  <a:lnTo>
                    <a:pt x="135" y="798"/>
                  </a:lnTo>
                  <a:lnTo>
                    <a:pt x="135" y="802"/>
                  </a:lnTo>
                  <a:lnTo>
                    <a:pt x="135" y="806"/>
                  </a:lnTo>
                  <a:lnTo>
                    <a:pt x="131" y="806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1" y="810"/>
                  </a:lnTo>
                  <a:lnTo>
                    <a:pt x="127" y="810"/>
                  </a:lnTo>
                  <a:lnTo>
                    <a:pt x="127" y="806"/>
                  </a:lnTo>
                  <a:lnTo>
                    <a:pt x="123" y="806"/>
                  </a:lnTo>
                  <a:lnTo>
                    <a:pt x="127" y="806"/>
                  </a:lnTo>
                  <a:lnTo>
                    <a:pt x="131" y="806"/>
                  </a:lnTo>
                  <a:lnTo>
                    <a:pt x="127" y="802"/>
                  </a:lnTo>
                  <a:lnTo>
                    <a:pt x="123" y="802"/>
                  </a:lnTo>
                  <a:lnTo>
                    <a:pt x="119" y="802"/>
                  </a:lnTo>
                  <a:lnTo>
                    <a:pt x="119" y="798"/>
                  </a:lnTo>
                  <a:lnTo>
                    <a:pt x="123" y="798"/>
                  </a:lnTo>
                  <a:lnTo>
                    <a:pt x="119" y="798"/>
                  </a:lnTo>
                  <a:close/>
                  <a:moveTo>
                    <a:pt x="159" y="790"/>
                  </a:moveTo>
                  <a:lnTo>
                    <a:pt x="163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5" y="790"/>
                  </a:lnTo>
                  <a:lnTo>
                    <a:pt x="155" y="794"/>
                  </a:lnTo>
                  <a:lnTo>
                    <a:pt x="155" y="790"/>
                  </a:lnTo>
                  <a:lnTo>
                    <a:pt x="159" y="790"/>
                  </a:lnTo>
                  <a:lnTo>
                    <a:pt x="159" y="786"/>
                  </a:lnTo>
                  <a:lnTo>
                    <a:pt x="159" y="790"/>
                  </a:lnTo>
                  <a:close/>
                  <a:moveTo>
                    <a:pt x="163" y="794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3" y="798"/>
                  </a:lnTo>
                  <a:lnTo>
                    <a:pt x="159" y="798"/>
                  </a:lnTo>
                  <a:lnTo>
                    <a:pt x="163" y="794"/>
                  </a:lnTo>
                  <a:close/>
                  <a:moveTo>
                    <a:pt x="183" y="798"/>
                  </a:moveTo>
                  <a:lnTo>
                    <a:pt x="179" y="798"/>
                  </a:lnTo>
                  <a:lnTo>
                    <a:pt x="179" y="802"/>
                  </a:lnTo>
                  <a:lnTo>
                    <a:pt x="179" y="806"/>
                  </a:lnTo>
                  <a:lnTo>
                    <a:pt x="179" y="798"/>
                  </a:lnTo>
                  <a:lnTo>
                    <a:pt x="183" y="798"/>
                  </a:lnTo>
                  <a:close/>
                  <a:moveTo>
                    <a:pt x="159" y="798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7" y="802"/>
                  </a:lnTo>
                  <a:lnTo>
                    <a:pt x="167" y="806"/>
                  </a:lnTo>
                  <a:lnTo>
                    <a:pt x="171" y="810"/>
                  </a:lnTo>
                  <a:lnTo>
                    <a:pt x="167" y="810"/>
                  </a:lnTo>
                  <a:lnTo>
                    <a:pt x="163" y="806"/>
                  </a:lnTo>
                  <a:lnTo>
                    <a:pt x="159" y="806"/>
                  </a:lnTo>
                  <a:lnTo>
                    <a:pt x="159" y="802"/>
                  </a:lnTo>
                  <a:lnTo>
                    <a:pt x="159" y="798"/>
                  </a:lnTo>
                  <a:close/>
                  <a:moveTo>
                    <a:pt x="183" y="802"/>
                  </a:moveTo>
                  <a:lnTo>
                    <a:pt x="183" y="806"/>
                  </a:lnTo>
                  <a:lnTo>
                    <a:pt x="179" y="806"/>
                  </a:lnTo>
                  <a:lnTo>
                    <a:pt x="179" y="802"/>
                  </a:lnTo>
                  <a:lnTo>
                    <a:pt x="183" y="802"/>
                  </a:lnTo>
                  <a:close/>
                  <a:moveTo>
                    <a:pt x="925" y="806"/>
                  </a:moveTo>
                  <a:lnTo>
                    <a:pt x="921" y="806"/>
                  </a:lnTo>
                  <a:lnTo>
                    <a:pt x="925" y="806"/>
                  </a:lnTo>
                  <a:close/>
                  <a:moveTo>
                    <a:pt x="179" y="806"/>
                  </a:moveTo>
                  <a:lnTo>
                    <a:pt x="179" y="810"/>
                  </a:lnTo>
                  <a:lnTo>
                    <a:pt x="175" y="810"/>
                  </a:lnTo>
                  <a:lnTo>
                    <a:pt x="175" y="806"/>
                  </a:lnTo>
                  <a:lnTo>
                    <a:pt x="179" y="806"/>
                  </a:lnTo>
                  <a:close/>
                  <a:moveTo>
                    <a:pt x="905" y="810"/>
                  </a:moveTo>
                  <a:lnTo>
                    <a:pt x="909" y="810"/>
                  </a:lnTo>
                  <a:lnTo>
                    <a:pt x="909" y="814"/>
                  </a:lnTo>
                  <a:lnTo>
                    <a:pt x="913" y="818"/>
                  </a:lnTo>
                  <a:lnTo>
                    <a:pt x="913" y="822"/>
                  </a:lnTo>
                  <a:lnTo>
                    <a:pt x="913" y="818"/>
                  </a:lnTo>
                  <a:lnTo>
                    <a:pt x="909" y="818"/>
                  </a:lnTo>
                  <a:lnTo>
                    <a:pt x="905" y="818"/>
                  </a:lnTo>
                  <a:lnTo>
                    <a:pt x="901" y="818"/>
                  </a:lnTo>
                  <a:lnTo>
                    <a:pt x="897" y="814"/>
                  </a:lnTo>
                  <a:lnTo>
                    <a:pt x="893" y="814"/>
                  </a:lnTo>
                  <a:lnTo>
                    <a:pt x="893" y="810"/>
                  </a:lnTo>
                  <a:lnTo>
                    <a:pt x="897" y="810"/>
                  </a:lnTo>
                  <a:lnTo>
                    <a:pt x="901" y="810"/>
                  </a:lnTo>
                  <a:lnTo>
                    <a:pt x="901" y="806"/>
                  </a:lnTo>
                  <a:lnTo>
                    <a:pt x="901" y="810"/>
                  </a:lnTo>
                  <a:lnTo>
                    <a:pt x="905" y="810"/>
                  </a:lnTo>
                  <a:close/>
                  <a:moveTo>
                    <a:pt x="175" y="810"/>
                  </a:moveTo>
                  <a:lnTo>
                    <a:pt x="175" y="814"/>
                  </a:lnTo>
                  <a:lnTo>
                    <a:pt x="175" y="810"/>
                  </a:lnTo>
                  <a:lnTo>
                    <a:pt x="171" y="810"/>
                  </a:lnTo>
                  <a:lnTo>
                    <a:pt x="175" y="810"/>
                  </a:lnTo>
                  <a:close/>
                  <a:moveTo>
                    <a:pt x="179" y="818"/>
                  </a:moveTo>
                  <a:lnTo>
                    <a:pt x="183" y="822"/>
                  </a:lnTo>
                  <a:lnTo>
                    <a:pt x="183" y="826"/>
                  </a:lnTo>
                  <a:lnTo>
                    <a:pt x="179" y="822"/>
                  </a:lnTo>
                  <a:lnTo>
                    <a:pt x="175" y="818"/>
                  </a:lnTo>
                  <a:lnTo>
                    <a:pt x="179" y="818"/>
                  </a:lnTo>
                  <a:close/>
                  <a:moveTo>
                    <a:pt x="195" y="818"/>
                  </a:moveTo>
                  <a:lnTo>
                    <a:pt x="191" y="818"/>
                  </a:lnTo>
                  <a:lnTo>
                    <a:pt x="191" y="822"/>
                  </a:lnTo>
                  <a:lnTo>
                    <a:pt x="191" y="818"/>
                  </a:lnTo>
                  <a:lnTo>
                    <a:pt x="195" y="818"/>
                  </a:lnTo>
                  <a:close/>
                  <a:moveTo>
                    <a:pt x="191" y="818"/>
                  </a:moveTo>
                  <a:lnTo>
                    <a:pt x="191" y="822"/>
                  </a:lnTo>
                  <a:lnTo>
                    <a:pt x="191" y="826"/>
                  </a:lnTo>
                  <a:lnTo>
                    <a:pt x="187" y="826"/>
                  </a:lnTo>
                  <a:lnTo>
                    <a:pt x="191" y="822"/>
                  </a:lnTo>
                  <a:lnTo>
                    <a:pt x="191" y="818"/>
                  </a:lnTo>
                  <a:close/>
                  <a:moveTo>
                    <a:pt x="143" y="818"/>
                  </a:moveTo>
                  <a:lnTo>
                    <a:pt x="143" y="822"/>
                  </a:lnTo>
                  <a:lnTo>
                    <a:pt x="139" y="818"/>
                  </a:lnTo>
                  <a:lnTo>
                    <a:pt x="143" y="818"/>
                  </a:lnTo>
                  <a:close/>
                  <a:moveTo>
                    <a:pt x="187" y="822"/>
                  </a:moveTo>
                  <a:lnTo>
                    <a:pt x="187" y="826"/>
                  </a:lnTo>
                  <a:lnTo>
                    <a:pt x="183" y="826"/>
                  </a:lnTo>
                  <a:lnTo>
                    <a:pt x="183" y="822"/>
                  </a:lnTo>
                  <a:lnTo>
                    <a:pt x="187" y="822"/>
                  </a:lnTo>
                  <a:close/>
                  <a:moveTo>
                    <a:pt x="187" y="826"/>
                  </a:moveTo>
                  <a:lnTo>
                    <a:pt x="187" y="830"/>
                  </a:lnTo>
                  <a:lnTo>
                    <a:pt x="183" y="826"/>
                  </a:lnTo>
                  <a:lnTo>
                    <a:pt x="187" y="826"/>
                  </a:lnTo>
                  <a:close/>
                  <a:moveTo>
                    <a:pt x="203" y="834"/>
                  </a:moveTo>
                  <a:lnTo>
                    <a:pt x="199" y="834"/>
                  </a:lnTo>
                  <a:lnTo>
                    <a:pt x="199" y="838"/>
                  </a:lnTo>
                  <a:lnTo>
                    <a:pt x="199" y="834"/>
                  </a:lnTo>
                  <a:lnTo>
                    <a:pt x="199" y="830"/>
                  </a:lnTo>
                  <a:lnTo>
                    <a:pt x="203" y="830"/>
                  </a:lnTo>
                  <a:lnTo>
                    <a:pt x="203" y="826"/>
                  </a:lnTo>
                  <a:lnTo>
                    <a:pt x="207" y="826"/>
                  </a:lnTo>
                  <a:lnTo>
                    <a:pt x="207" y="830"/>
                  </a:lnTo>
                  <a:lnTo>
                    <a:pt x="203" y="830"/>
                  </a:lnTo>
                  <a:lnTo>
                    <a:pt x="203" y="834"/>
                  </a:lnTo>
                  <a:close/>
                  <a:moveTo>
                    <a:pt x="195" y="826"/>
                  </a:moveTo>
                  <a:lnTo>
                    <a:pt x="195" y="830"/>
                  </a:lnTo>
                  <a:lnTo>
                    <a:pt x="191" y="830"/>
                  </a:lnTo>
                  <a:lnTo>
                    <a:pt x="195" y="830"/>
                  </a:lnTo>
                  <a:lnTo>
                    <a:pt x="195" y="826"/>
                  </a:lnTo>
                  <a:close/>
                  <a:moveTo>
                    <a:pt x="151" y="834"/>
                  </a:moveTo>
                  <a:lnTo>
                    <a:pt x="151" y="838"/>
                  </a:lnTo>
                  <a:lnTo>
                    <a:pt x="147" y="834"/>
                  </a:lnTo>
                  <a:lnTo>
                    <a:pt x="151" y="834"/>
                  </a:lnTo>
                  <a:close/>
                  <a:moveTo>
                    <a:pt x="933" y="834"/>
                  </a:moveTo>
                  <a:lnTo>
                    <a:pt x="933" y="838"/>
                  </a:lnTo>
                  <a:lnTo>
                    <a:pt x="929" y="838"/>
                  </a:lnTo>
                  <a:lnTo>
                    <a:pt x="929" y="834"/>
                  </a:lnTo>
                  <a:lnTo>
                    <a:pt x="933" y="834"/>
                  </a:lnTo>
                  <a:close/>
                  <a:moveTo>
                    <a:pt x="195" y="842"/>
                  </a:moveTo>
                  <a:lnTo>
                    <a:pt x="195" y="846"/>
                  </a:lnTo>
                  <a:lnTo>
                    <a:pt x="199" y="846"/>
                  </a:lnTo>
                  <a:lnTo>
                    <a:pt x="199" y="850"/>
                  </a:lnTo>
                  <a:lnTo>
                    <a:pt x="195" y="850"/>
                  </a:lnTo>
                  <a:lnTo>
                    <a:pt x="195" y="846"/>
                  </a:lnTo>
                  <a:lnTo>
                    <a:pt x="195" y="842"/>
                  </a:lnTo>
                  <a:close/>
                  <a:moveTo>
                    <a:pt x="1272" y="934"/>
                  </a:moveTo>
                  <a:lnTo>
                    <a:pt x="1268" y="934"/>
                  </a:lnTo>
                  <a:lnTo>
                    <a:pt x="1264" y="934"/>
                  </a:lnTo>
                  <a:lnTo>
                    <a:pt x="1260" y="934"/>
                  </a:lnTo>
                  <a:lnTo>
                    <a:pt x="1256" y="934"/>
                  </a:lnTo>
                  <a:lnTo>
                    <a:pt x="1256" y="930"/>
                  </a:lnTo>
                  <a:lnTo>
                    <a:pt x="1252" y="934"/>
                  </a:lnTo>
                  <a:lnTo>
                    <a:pt x="1244" y="934"/>
                  </a:lnTo>
                  <a:lnTo>
                    <a:pt x="1240" y="934"/>
                  </a:lnTo>
                  <a:lnTo>
                    <a:pt x="1236" y="934"/>
                  </a:lnTo>
                  <a:lnTo>
                    <a:pt x="1236" y="930"/>
                  </a:lnTo>
                  <a:lnTo>
                    <a:pt x="1236" y="926"/>
                  </a:lnTo>
                  <a:lnTo>
                    <a:pt x="1240" y="922"/>
                  </a:lnTo>
                  <a:lnTo>
                    <a:pt x="1244" y="918"/>
                  </a:lnTo>
                  <a:lnTo>
                    <a:pt x="1248" y="914"/>
                  </a:lnTo>
                  <a:lnTo>
                    <a:pt x="1248" y="918"/>
                  </a:lnTo>
                  <a:lnTo>
                    <a:pt x="1248" y="914"/>
                  </a:lnTo>
                  <a:lnTo>
                    <a:pt x="1244" y="914"/>
                  </a:lnTo>
                  <a:lnTo>
                    <a:pt x="1240" y="914"/>
                  </a:lnTo>
                  <a:lnTo>
                    <a:pt x="1236" y="914"/>
                  </a:lnTo>
                  <a:lnTo>
                    <a:pt x="1240" y="910"/>
                  </a:lnTo>
                  <a:lnTo>
                    <a:pt x="1244" y="910"/>
                  </a:lnTo>
                  <a:lnTo>
                    <a:pt x="1240" y="910"/>
                  </a:lnTo>
                  <a:lnTo>
                    <a:pt x="1244" y="914"/>
                  </a:lnTo>
                  <a:lnTo>
                    <a:pt x="1244" y="910"/>
                  </a:lnTo>
                  <a:lnTo>
                    <a:pt x="1248" y="906"/>
                  </a:lnTo>
                  <a:lnTo>
                    <a:pt x="1248" y="902"/>
                  </a:lnTo>
                  <a:lnTo>
                    <a:pt x="1252" y="898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906"/>
                  </a:lnTo>
                  <a:lnTo>
                    <a:pt x="1256" y="902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898"/>
                  </a:lnTo>
                  <a:lnTo>
                    <a:pt x="1252" y="898"/>
                  </a:lnTo>
                  <a:lnTo>
                    <a:pt x="1252" y="894"/>
                  </a:lnTo>
                  <a:lnTo>
                    <a:pt x="1256" y="890"/>
                  </a:lnTo>
                  <a:lnTo>
                    <a:pt x="1260" y="894"/>
                  </a:lnTo>
                  <a:lnTo>
                    <a:pt x="1256" y="890"/>
                  </a:lnTo>
                  <a:lnTo>
                    <a:pt x="1256" y="886"/>
                  </a:lnTo>
                  <a:lnTo>
                    <a:pt x="1260" y="886"/>
                  </a:lnTo>
                  <a:lnTo>
                    <a:pt x="1260" y="878"/>
                  </a:lnTo>
                  <a:lnTo>
                    <a:pt x="1264" y="874"/>
                  </a:lnTo>
                  <a:lnTo>
                    <a:pt x="1264" y="870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8" y="862"/>
                  </a:lnTo>
                  <a:lnTo>
                    <a:pt x="1272" y="862"/>
                  </a:lnTo>
                  <a:lnTo>
                    <a:pt x="1272" y="858"/>
                  </a:lnTo>
                  <a:lnTo>
                    <a:pt x="1272" y="854"/>
                  </a:lnTo>
                  <a:lnTo>
                    <a:pt x="1276" y="850"/>
                  </a:lnTo>
                  <a:lnTo>
                    <a:pt x="1280" y="850"/>
                  </a:lnTo>
                  <a:lnTo>
                    <a:pt x="1280" y="846"/>
                  </a:lnTo>
                  <a:lnTo>
                    <a:pt x="1284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96" y="846"/>
                  </a:lnTo>
                  <a:lnTo>
                    <a:pt x="1296" y="850"/>
                  </a:lnTo>
                  <a:lnTo>
                    <a:pt x="1292" y="850"/>
                  </a:lnTo>
                  <a:lnTo>
                    <a:pt x="1288" y="850"/>
                  </a:lnTo>
                  <a:lnTo>
                    <a:pt x="1284" y="850"/>
                  </a:lnTo>
                  <a:lnTo>
                    <a:pt x="1284" y="854"/>
                  </a:lnTo>
                  <a:lnTo>
                    <a:pt x="1288" y="854"/>
                  </a:lnTo>
                  <a:lnTo>
                    <a:pt x="1292" y="854"/>
                  </a:lnTo>
                  <a:lnTo>
                    <a:pt x="1292" y="858"/>
                  </a:lnTo>
                  <a:lnTo>
                    <a:pt x="1288" y="858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70"/>
                  </a:lnTo>
                  <a:lnTo>
                    <a:pt x="1280" y="870"/>
                  </a:lnTo>
                  <a:lnTo>
                    <a:pt x="1280" y="874"/>
                  </a:lnTo>
                  <a:lnTo>
                    <a:pt x="1280" y="878"/>
                  </a:lnTo>
                  <a:lnTo>
                    <a:pt x="1276" y="878"/>
                  </a:lnTo>
                  <a:lnTo>
                    <a:pt x="1276" y="882"/>
                  </a:lnTo>
                  <a:lnTo>
                    <a:pt x="1276" y="886"/>
                  </a:lnTo>
                  <a:lnTo>
                    <a:pt x="1272" y="886"/>
                  </a:lnTo>
                  <a:lnTo>
                    <a:pt x="1276" y="886"/>
                  </a:lnTo>
                  <a:lnTo>
                    <a:pt x="1272" y="890"/>
                  </a:lnTo>
                  <a:lnTo>
                    <a:pt x="1276" y="890"/>
                  </a:lnTo>
                  <a:lnTo>
                    <a:pt x="1276" y="886"/>
                  </a:lnTo>
                  <a:lnTo>
                    <a:pt x="1280" y="882"/>
                  </a:lnTo>
                  <a:lnTo>
                    <a:pt x="1284" y="878"/>
                  </a:lnTo>
                  <a:lnTo>
                    <a:pt x="1284" y="882"/>
                  </a:lnTo>
                  <a:lnTo>
                    <a:pt x="1288" y="882"/>
                  </a:lnTo>
                  <a:lnTo>
                    <a:pt x="1292" y="882"/>
                  </a:lnTo>
                  <a:lnTo>
                    <a:pt x="1296" y="882"/>
                  </a:lnTo>
                  <a:lnTo>
                    <a:pt x="1292" y="882"/>
                  </a:lnTo>
                  <a:lnTo>
                    <a:pt x="1292" y="886"/>
                  </a:lnTo>
                  <a:lnTo>
                    <a:pt x="1288" y="886"/>
                  </a:lnTo>
                  <a:lnTo>
                    <a:pt x="1284" y="890"/>
                  </a:lnTo>
                  <a:lnTo>
                    <a:pt x="1288" y="886"/>
                  </a:lnTo>
                  <a:lnTo>
                    <a:pt x="1288" y="890"/>
                  </a:lnTo>
                  <a:lnTo>
                    <a:pt x="1284" y="890"/>
                  </a:lnTo>
                  <a:lnTo>
                    <a:pt x="1284" y="894"/>
                  </a:lnTo>
                  <a:lnTo>
                    <a:pt x="1288" y="894"/>
                  </a:lnTo>
                  <a:lnTo>
                    <a:pt x="1288" y="890"/>
                  </a:lnTo>
                  <a:lnTo>
                    <a:pt x="1292" y="894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296" y="894"/>
                  </a:lnTo>
                  <a:lnTo>
                    <a:pt x="1296" y="898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300" y="890"/>
                  </a:lnTo>
                  <a:lnTo>
                    <a:pt x="1300" y="894"/>
                  </a:lnTo>
                  <a:lnTo>
                    <a:pt x="1296" y="898"/>
                  </a:lnTo>
                  <a:lnTo>
                    <a:pt x="1296" y="902"/>
                  </a:lnTo>
                  <a:lnTo>
                    <a:pt x="1296" y="898"/>
                  </a:lnTo>
                  <a:lnTo>
                    <a:pt x="1300" y="898"/>
                  </a:lnTo>
                  <a:lnTo>
                    <a:pt x="1300" y="894"/>
                  </a:lnTo>
                  <a:lnTo>
                    <a:pt x="1300" y="898"/>
                  </a:lnTo>
                  <a:lnTo>
                    <a:pt x="1304" y="898"/>
                  </a:lnTo>
                  <a:lnTo>
                    <a:pt x="1308" y="894"/>
                  </a:lnTo>
                  <a:lnTo>
                    <a:pt x="1308" y="890"/>
                  </a:lnTo>
                  <a:lnTo>
                    <a:pt x="1308" y="894"/>
                  </a:lnTo>
                  <a:lnTo>
                    <a:pt x="1308" y="898"/>
                  </a:lnTo>
                  <a:lnTo>
                    <a:pt x="1312" y="894"/>
                  </a:lnTo>
                  <a:lnTo>
                    <a:pt x="1316" y="894"/>
                  </a:lnTo>
                  <a:lnTo>
                    <a:pt x="1320" y="894"/>
                  </a:lnTo>
                  <a:lnTo>
                    <a:pt x="1324" y="898"/>
                  </a:lnTo>
                  <a:lnTo>
                    <a:pt x="1324" y="902"/>
                  </a:lnTo>
                  <a:lnTo>
                    <a:pt x="1320" y="902"/>
                  </a:lnTo>
                  <a:lnTo>
                    <a:pt x="1320" y="906"/>
                  </a:lnTo>
                  <a:lnTo>
                    <a:pt x="1316" y="906"/>
                  </a:lnTo>
                  <a:lnTo>
                    <a:pt x="1320" y="906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24" y="910"/>
                  </a:lnTo>
                  <a:lnTo>
                    <a:pt x="1320" y="910"/>
                  </a:lnTo>
                  <a:lnTo>
                    <a:pt x="1316" y="914"/>
                  </a:lnTo>
                  <a:lnTo>
                    <a:pt x="1320" y="914"/>
                  </a:lnTo>
                  <a:lnTo>
                    <a:pt x="1324" y="914"/>
                  </a:lnTo>
                  <a:lnTo>
                    <a:pt x="1324" y="910"/>
                  </a:lnTo>
                  <a:lnTo>
                    <a:pt x="1328" y="910"/>
                  </a:lnTo>
                  <a:lnTo>
                    <a:pt x="1328" y="914"/>
                  </a:lnTo>
                  <a:lnTo>
                    <a:pt x="1328" y="910"/>
                  </a:lnTo>
                  <a:lnTo>
                    <a:pt x="1332" y="910"/>
                  </a:lnTo>
                  <a:lnTo>
                    <a:pt x="1332" y="914"/>
                  </a:lnTo>
                  <a:lnTo>
                    <a:pt x="1332" y="918"/>
                  </a:lnTo>
                  <a:lnTo>
                    <a:pt x="1328" y="918"/>
                  </a:lnTo>
                  <a:lnTo>
                    <a:pt x="1324" y="918"/>
                  </a:ln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0" y="926"/>
                  </a:lnTo>
                  <a:lnTo>
                    <a:pt x="1316" y="926"/>
                  </a:lnTo>
                  <a:lnTo>
                    <a:pt x="1320" y="926"/>
                  </a:lnTo>
                  <a:lnTo>
                    <a:pt x="1324" y="926"/>
                  </a:lnTo>
                  <a:lnTo>
                    <a:pt x="1320" y="930"/>
                  </a:lnTo>
                  <a:lnTo>
                    <a:pt x="1320" y="934"/>
                  </a:lnTo>
                  <a:lnTo>
                    <a:pt x="1324" y="934"/>
                  </a:lnTo>
                  <a:lnTo>
                    <a:pt x="1324" y="930"/>
                  </a:lnTo>
                  <a:lnTo>
                    <a:pt x="1328" y="926"/>
                  </a:lnTo>
                  <a:lnTo>
                    <a:pt x="1328" y="922"/>
                  </a:lnTo>
                  <a:lnTo>
                    <a:pt x="1328" y="926"/>
                  </a:lnTo>
                  <a:lnTo>
                    <a:pt x="1332" y="922"/>
                  </a:lnTo>
                  <a:lnTo>
                    <a:pt x="1336" y="922"/>
                  </a:lnTo>
                  <a:lnTo>
                    <a:pt x="1332" y="922"/>
                  </a:lnTo>
                  <a:lnTo>
                    <a:pt x="1332" y="926"/>
                  </a:lnTo>
                  <a:lnTo>
                    <a:pt x="1332" y="930"/>
                  </a:lnTo>
                  <a:lnTo>
                    <a:pt x="1328" y="934"/>
                  </a:lnTo>
                  <a:lnTo>
                    <a:pt x="1328" y="938"/>
                  </a:lnTo>
                  <a:lnTo>
                    <a:pt x="1332" y="938"/>
                  </a:lnTo>
                  <a:lnTo>
                    <a:pt x="1332" y="934"/>
                  </a:lnTo>
                  <a:lnTo>
                    <a:pt x="1336" y="930"/>
                  </a:lnTo>
                  <a:lnTo>
                    <a:pt x="1336" y="934"/>
                  </a:lnTo>
                  <a:lnTo>
                    <a:pt x="1336" y="938"/>
                  </a:lnTo>
                  <a:lnTo>
                    <a:pt x="1336" y="942"/>
                  </a:lnTo>
                  <a:lnTo>
                    <a:pt x="1332" y="942"/>
                  </a:lnTo>
                  <a:lnTo>
                    <a:pt x="1332" y="946"/>
                  </a:lnTo>
                  <a:lnTo>
                    <a:pt x="1332" y="950"/>
                  </a:lnTo>
                  <a:lnTo>
                    <a:pt x="1332" y="954"/>
                  </a:lnTo>
                  <a:lnTo>
                    <a:pt x="1328" y="954"/>
                  </a:lnTo>
                  <a:lnTo>
                    <a:pt x="1324" y="954"/>
                  </a:lnTo>
                  <a:lnTo>
                    <a:pt x="1320" y="954"/>
                  </a:lnTo>
                  <a:lnTo>
                    <a:pt x="1320" y="950"/>
                  </a:lnTo>
                  <a:lnTo>
                    <a:pt x="1324" y="950"/>
                  </a:lnTo>
                  <a:lnTo>
                    <a:pt x="1320" y="946"/>
                  </a:lnTo>
                  <a:lnTo>
                    <a:pt x="1324" y="946"/>
                  </a:lnTo>
                  <a:lnTo>
                    <a:pt x="1324" y="942"/>
                  </a:lnTo>
                  <a:lnTo>
                    <a:pt x="1320" y="946"/>
                  </a:lnTo>
                  <a:lnTo>
                    <a:pt x="1316" y="950"/>
                  </a:lnTo>
                  <a:lnTo>
                    <a:pt x="1312" y="950"/>
                  </a:lnTo>
                  <a:lnTo>
                    <a:pt x="1312" y="946"/>
                  </a:lnTo>
                  <a:lnTo>
                    <a:pt x="1316" y="946"/>
                  </a:lnTo>
                  <a:lnTo>
                    <a:pt x="1316" y="942"/>
                  </a:lnTo>
                  <a:lnTo>
                    <a:pt x="1320" y="938"/>
                  </a:lnTo>
                  <a:lnTo>
                    <a:pt x="1316" y="938"/>
                  </a:lnTo>
                  <a:lnTo>
                    <a:pt x="1316" y="934"/>
                  </a:lnTo>
                  <a:lnTo>
                    <a:pt x="1320" y="934"/>
                  </a:lnTo>
                  <a:lnTo>
                    <a:pt x="1316" y="934"/>
                  </a:lnTo>
                  <a:lnTo>
                    <a:pt x="1316" y="930"/>
                  </a:lnTo>
                  <a:lnTo>
                    <a:pt x="1312" y="930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04" y="938"/>
                  </a:lnTo>
                  <a:lnTo>
                    <a:pt x="1300" y="942"/>
                  </a:lnTo>
                  <a:lnTo>
                    <a:pt x="1300" y="946"/>
                  </a:lnTo>
                  <a:lnTo>
                    <a:pt x="1296" y="950"/>
                  </a:lnTo>
                  <a:lnTo>
                    <a:pt x="1292" y="950"/>
                  </a:lnTo>
                  <a:lnTo>
                    <a:pt x="1288" y="950"/>
                  </a:lnTo>
                  <a:lnTo>
                    <a:pt x="1288" y="946"/>
                  </a:lnTo>
                  <a:lnTo>
                    <a:pt x="1292" y="946"/>
                  </a:lnTo>
                  <a:lnTo>
                    <a:pt x="1296" y="942"/>
                  </a:lnTo>
                  <a:lnTo>
                    <a:pt x="1296" y="938"/>
                  </a:lnTo>
                  <a:lnTo>
                    <a:pt x="1300" y="938"/>
                  </a:lnTo>
                  <a:lnTo>
                    <a:pt x="1304" y="934"/>
                  </a:lnTo>
                  <a:lnTo>
                    <a:pt x="1300" y="934"/>
                  </a:lnTo>
                  <a:lnTo>
                    <a:pt x="1300" y="930"/>
                  </a:lnTo>
                  <a:lnTo>
                    <a:pt x="1304" y="930"/>
                  </a:lnTo>
                  <a:lnTo>
                    <a:pt x="1300" y="930"/>
                  </a:lnTo>
                  <a:lnTo>
                    <a:pt x="1300" y="934"/>
                  </a:lnTo>
                  <a:lnTo>
                    <a:pt x="1296" y="934"/>
                  </a:lnTo>
                  <a:lnTo>
                    <a:pt x="1296" y="930"/>
                  </a:lnTo>
                  <a:lnTo>
                    <a:pt x="1296" y="934"/>
                  </a:lnTo>
                  <a:lnTo>
                    <a:pt x="1296" y="938"/>
                  </a:lnTo>
                  <a:lnTo>
                    <a:pt x="1292" y="938"/>
                  </a:lnTo>
                  <a:lnTo>
                    <a:pt x="1288" y="938"/>
                  </a:lnTo>
                  <a:lnTo>
                    <a:pt x="1288" y="934"/>
                  </a:lnTo>
                  <a:lnTo>
                    <a:pt x="1288" y="938"/>
                  </a:lnTo>
                  <a:lnTo>
                    <a:pt x="1284" y="938"/>
                  </a:lnTo>
                  <a:lnTo>
                    <a:pt x="1284" y="934"/>
                  </a:lnTo>
                  <a:lnTo>
                    <a:pt x="1288" y="934"/>
                  </a:lnTo>
                  <a:lnTo>
                    <a:pt x="1292" y="934"/>
                  </a:lnTo>
                  <a:lnTo>
                    <a:pt x="1288" y="934"/>
                  </a:lnTo>
                  <a:lnTo>
                    <a:pt x="1288" y="930"/>
                  </a:lnTo>
                  <a:lnTo>
                    <a:pt x="1288" y="926"/>
                  </a:lnTo>
                  <a:lnTo>
                    <a:pt x="1288" y="930"/>
                  </a:lnTo>
                  <a:lnTo>
                    <a:pt x="1284" y="930"/>
                  </a:lnTo>
                  <a:lnTo>
                    <a:pt x="1284" y="934"/>
                  </a:lnTo>
                  <a:lnTo>
                    <a:pt x="1280" y="934"/>
                  </a:lnTo>
                  <a:lnTo>
                    <a:pt x="1276" y="934"/>
                  </a:lnTo>
                  <a:lnTo>
                    <a:pt x="1272" y="934"/>
                  </a:lnTo>
                  <a:close/>
                  <a:moveTo>
                    <a:pt x="203" y="874"/>
                  </a:moveTo>
                  <a:lnTo>
                    <a:pt x="203" y="870"/>
                  </a:lnTo>
                  <a:lnTo>
                    <a:pt x="203" y="866"/>
                  </a:lnTo>
                  <a:lnTo>
                    <a:pt x="199" y="866"/>
                  </a:lnTo>
                  <a:lnTo>
                    <a:pt x="203" y="866"/>
                  </a:lnTo>
                  <a:lnTo>
                    <a:pt x="203" y="870"/>
                  </a:lnTo>
                  <a:lnTo>
                    <a:pt x="195" y="870"/>
                  </a:lnTo>
                  <a:lnTo>
                    <a:pt x="191" y="870"/>
                  </a:lnTo>
                  <a:lnTo>
                    <a:pt x="191" y="866"/>
                  </a:lnTo>
                  <a:lnTo>
                    <a:pt x="191" y="862"/>
                  </a:lnTo>
                  <a:lnTo>
                    <a:pt x="195" y="862"/>
                  </a:lnTo>
                  <a:lnTo>
                    <a:pt x="199" y="862"/>
                  </a:lnTo>
                  <a:lnTo>
                    <a:pt x="203" y="862"/>
                  </a:lnTo>
                  <a:lnTo>
                    <a:pt x="203" y="866"/>
                  </a:lnTo>
                  <a:lnTo>
                    <a:pt x="207" y="866"/>
                  </a:lnTo>
                  <a:lnTo>
                    <a:pt x="211" y="866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70"/>
                  </a:lnTo>
                  <a:lnTo>
                    <a:pt x="227" y="870"/>
                  </a:lnTo>
                  <a:lnTo>
                    <a:pt x="227" y="874"/>
                  </a:lnTo>
                  <a:lnTo>
                    <a:pt x="231" y="874"/>
                  </a:lnTo>
                  <a:lnTo>
                    <a:pt x="235" y="874"/>
                  </a:lnTo>
                  <a:lnTo>
                    <a:pt x="235" y="878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43" y="886"/>
                  </a:lnTo>
                  <a:lnTo>
                    <a:pt x="243" y="890"/>
                  </a:lnTo>
                  <a:lnTo>
                    <a:pt x="243" y="894"/>
                  </a:lnTo>
                  <a:lnTo>
                    <a:pt x="247" y="894"/>
                  </a:lnTo>
                  <a:lnTo>
                    <a:pt x="251" y="898"/>
                  </a:lnTo>
                  <a:lnTo>
                    <a:pt x="255" y="898"/>
                  </a:lnTo>
                  <a:lnTo>
                    <a:pt x="259" y="898"/>
                  </a:lnTo>
                  <a:lnTo>
                    <a:pt x="259" y="902"/>
                  </a:lnTo>
                  <a:lnTo>
                    <a:pt x="263" y="906"/>
                  </a:lnTo>
                  <a:lnTo>
                    <a:pt x="263" y="910"/>
                  </a:lnTo>
                  <a:lnTo>
                    <a:pt x="263" y="914"/>
                  </a:lnTo>
                  <a:lnTo>
                    <a:pt x="263" y="910"/>
                  </a:lnTo>
                  <a:lnTo>
                    <a:pt x="267" y="910"/>
                  </a:lnTo>
                  <a:lnTo>
                    <a:pt x="267" y="914"/>
                  </a:lnTo>
                  <a:lnTo>
                    <a:pt x="267" y="918"/>
                  </a:lnTo>
                  <a:lnTo>
                    <a:pt x="267" y="914"/>
                  </a:lnTo>
                  <a:lnTo>
                    <a:pt x="263" y="918"/>
                  </a:lnTo>
                  <a:lnTo>
                    <a:pt x="259" y="918"/>
                  </a:lnTo>
                  <a:lnTo>
                    <a:pt x="251" y="914"/>
                  </a:lnTo>
                  <a:lnTo>
                    <a:pt x="247" y="914"/>
                  </a:lnTo>
                  <a:lnTo>
                    <a:pt x="247" y="910"/>
                  </a:lnTo>
                  <a:lnTo>
                    <a:pt x="243" y="910"/>
                  </a:lnTo>
                  <a:lnTo>
                    <a:pt x="239" y="910"/>
                  </a:lnTo>
                  <a:lnTo>
                    <a:pt x="239" y="906"/>
                  </a:lnTo>
                  <a:lnTo>
                    <a:pt x="243" y="906"/>
                  </a:lnTo>
                  <a:lnTo>
                    <a:pt x="243" y="902"/>
                  </a:lnTo>
                  <a:lnTo>
                    <a:pt x="243" y="898"/>
                  </a:lnTo>
                  <a:lnTo>
                    <a:pt x="243" y="902"/>
                  </a:lnTo>
                  <a:lnTo>
                    <a:pt x="239" y="902"/>
                  </a:lnTo>
                  <a:lnTo>
                    <a:pt x="239" y="906"/>
                  </a:lnTo>
                  <a:lnTo>
                    <a:pt x="235" y="902"/>
                  </a:lnTo>
                  <a:lnTo>
                    <a:pt x="235" y="906"/>
                  </a:lnTo>
                  <a:lnTo>
                    <a:pt x="231" y="902"/>
                  </a:lnTo>
                  <a:lnTo>
                    <a:pt x="231" y="898"/>
                  </a:lnTo>
                  <a:lnTo>
                    <a:pt x="227" y="898"/>
                  </a:lnTo>
                  <a:lnTo>
                    <a:pt x="227" y="894"/>
                  </a:lnTo>
                  <a:lnTo>
                    <a:pt x="223" y="894"/>
                  </a:lnTo>
                  <a:lnTo>
                    <a:pt x="219" y="894"/>
                  </a:lnTo>
                  <a:lnTo>
                    <a:pt x="219" y="890"/>
                  </a:lnTo>
                  <a:lnTo>
                    <a:pt x="223" y="890"/>
                  </a:lnTo>
                  <a:lnTo>
                    <a:pt x="227" y="890"/>
                  </a:lnTo>
                  <a:lnTo>
                    <a:pt x="223" y="890"/>
                  </a:lnTo>
                  <a:lnTo>
                    <a:pt x="219" y="890"/>
                  </a:lnTo>
                  <a:lnTo>
                    <a:pt x="219" y="886"/>
                  </a:lnTo>
                  <a:lnTo>
                    <a:pt x="215" y="886"/>
                  </a:lnTo>
                  <a:lnTo>
                    <a:pt x="215" y="882"/>
                  </a:lnTo>
                  <a:lnTo>
                    <a:pt x="211" y="882"/>
                  </a:lnTo>
                  <a:lnTo>
                    <a:pt x="211" y="886"/>
                  </a:lnTo>
                  <a:lnTo>
                    <a:pt x="207" y="882"/>
                  </a:lnTo>
                  <a:lnTo>
                    <a:pt x="207" y="878"/>
                  </a:lnTo>
                  <a:lnTo>
                    <a:pt x="211" y="878"/>
                  </a:lnTo>
                  <a:lnTo>
                    <a:pt x="207" y="878"/>
                  </a:lnTo>
                  <a:lnTo>
                    <a:pt x="207" y="882"/>
                  </a:lnTo>
                  <a:lnTo>
                    <a:pt x="203" y="878"/>
                  </a:lnTo>
                  <a:lnTo>
                    <a:pt x="199" y="878"/>
                  </a:lnTo>
                  <a:lnTo>
                    <a:pt x="199" y="874"/>
                  </a:lnTo>
                  <a:lnTo>
                    <a:pt x="195" y="874"/>
                  </a:lnTo>
                  <a:lnTo>
                    <a:pt x="199" y="870"/>
                  </a:lnTo>
                  <a:lnTo>
                    <a:pt x="203" y="870"/>
                  </a:lnTo>
                  <a:lnTo>
                    <a:pt x="203" y="874"/>
                  </a:lnTo>
                  <a:close/>
                  <a:moveTo>
                    <a:pt x="223" y="862"/>
                  </a:moveTo>
                  <a:lnTo>
                    <a:pt x="223" y="866"/>
                  </a:lnTo>
                  <a:lnTo>
                    <a:pt x="219" y="866"/>
                  </a:lnTo>
                  <a:lnTo>
                    <a:pt x="219" y="862"/>
                  </a:lnTo>
                  <a:lnTo>
                    <a:pt x="223" y="862"/>
                  </a:lnTo>
                  <a:close/>
                  <a:moveTo>
                    <a:pt x="235" y="874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39" y="878"/>
                  </a:lnTo>
                  <a:lnTo>
                    <a:pt x="235" y="878"/>
                  </a:lnTo>
                  <a:lnTo>
                    <a:pt x="235" y="874"/>
                  </a:lnTo>
                  <a:close/>
                  <a:moveTo>
                    <a:pt x="1172" y="886"/>
                  </a:moveTo>
                  <a:lnTo>
                    <a:pt x="1176" y="886"/>
                  </a:lnTo>
                  <a:lnTo>
                    <a:pt x="1180" y="886"/>
                  </a:lnTo>
                  <a:lnTo>
                    <a:pt x="1184" y="890"/>
                  </a:lnTo>
                  <a:lnTo>
                    <a:pt x="1188" y="890"/>
                  </a:lnTo>
                  <a:lnTo>
                    <a:pt x="1188" y="894"/>
                  </a:lnTo>
                  <a:lnTo>
                    <a:pt x="1192" y="894"/>
                  </a:lnTo>
                  <a:lnTo>
                    <a:pt x="1196" y="894"/>
                  </a:lnTo>
                  <a:lnTo>
                    <a:pt x="1196" y="898"/>
                  </a:lnTo>
                  <a:lnTo>
                    <a:pt x="1200" y="898"/>
                  </a:lnTo>
                  <a:lnTo>
                    <a:pt x="1200" y="902"/>
                  </a:lnTo>
                  <a:lnTo>
                    <a:pt x="1196" y="902"/>
                  </a:lnTo>
                  <a:lnTo>
                    <a:pt x="1192" y="902"/>
                  </a:lnTo>
                  <a:lnTo>
                    <a:pt x="1188" y="902"/>
                  </a:lnTo>
                  <a:lnTo>
                    <a:pt x="1184" y="898"/>
                  </a:lnTo>
                  <a:lnTo>
                    <a:pt x="1180" y="898"/>
                  </a:lnTo>
                  <a:lnTo>
                    <a:pt x="1176" y="898"/>
                  </a:lnTo>
                  <a:lnTo>
                    <a:pt x="1172" y="894"/>
                  </a:lnTo>
                  <a:lnTo>
                    <a:pt x="1168" y="890"/>
                  </a:lnTo>
                  <a:lnTo>
                    <a:pt x="1164" y="890"/>
                  </a:lnTo>
                  <a:lnTo>
                    <a:pt x="1164" y="886"/>
                  </a:lnTo>
                  <a:lnTo>
                    <a:pt x="1160" y="886"/>
                  </a:lnTo>
                  <a:lnTo>
                    <a:pt x="1156" y="882"/>
                  </a:lnTo>
                  <a:lnTo>
                    <a:pt x="1160" y="882"/>
                  </a:lnTo>
                  <a:lnTo>
                    <a:pt x="1164" y="882"/>
                  </a:lnTo>
                  <a:lnTo>
                    <a:pt x="1172" y="886"/>
                  </a:lnTo>
                  <a:close/>
                  <a:moveTo>
                    <a:pt x="215" y="882"/>
                  </a:moveTo>
                  <a:lnTo>
                    <a:pt x="215" y="886"/>
                  </a:lnTo>
                  <a:lnTo>
                    <a:pt x="219" y="890"/>
                  </a:lnTo>
                  <a:lnTo>
                    <a:pt x="215" y="890"/>
                  </a:lnTo>
                  <a:lnTo>
                    <a:pt x="211" y="886"/>
                  </a:lnTo>
                  <a:lnTo>
                    <a:pt x="215" y="882"/>
                  </a:lnTo>
                  <a:close/>
                  <a:moveTo>
                    <a:pt x="255" y="894"/>
                  </a:moveTo>
                  <a:lnTo>
                    <a:pt x="251" y="890"/>
                  </a:lnTo>
                  <a:lnTo>
                    <a:pt x="247" y="886"/>
                  </a:lnTo>
                  <a:lnTo>
                    <a:pt x="251" y="886"/>
                  </a:lnTo>
                  <a:lnTo>
                    <a:pt x="255" y="890"/>
                  </a:lnTo>
                  <a:lnTo>
                    <a:pt x="255" y="894"/>
                  </a:lnTo>
                  <a:close/>
                  <a:moveTo>
                    <a:pt x="223" y="894"/>
                  </a:moveTo>
                  <a:lnTo>
                    <a:pt x="227" y="894"/>
                  </a:lnTo>
                  <a:lnTo>
                    <a:pt x="227" y="898"/>
                  </a:lnTo>
                  <a:lnTo>
                    <a:pt x="223" y="898"/>
                  </a:lnTo>
                  <a:lnTo>
                    <a:pt x="223" y="894"/>
                  </a:lnTo>
                  <a:close/>
                  <a:moveTo>
                    <a:pt x="263" y="902"/>
                  </a:moveTo>
                  <a:lnTo>
                    <a:pt x="263" y="906"/>
                  </a:lnTo>
                  <a:lnTo>
                    <a:pt x="267" y="906"/>
                  </a:lnTo>
                  <a:lnTo>
                    <a:pt x="263" y="906"/>
                  </a:lnTo>
                  <a:lnTo>
                    <a:pt x="263" y="902"/>
                  </a:lnTo>
                  <a:close/>
                  <a:moveTo>
                    <a:pt x="263" y="906"/>
                  </a:moveTo>
                  <a:lnTo>
                    <a:pt x="267" y="906"/>
                  </a:lnTo>
                  <a:lnTo>
                    <a:pt x="267" y="910"/>
                  </a:lnTo>
                  <a:lnTo>
                    <a:pt x="263" y="910"/>
                  </a:lnTo>
                  <a:lnTo>
                    <a:pt x="263" y="906"/>
                  </a:lnTo>
                  <a:close/>
                  <a:moveTo>
                    <a:pt x="1156" y="926"/>
                  </a:moveTo>
                  <a:lnTo>
                    <a:pt x="1156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6" y="926"/>
                  </a:lnTo>
                  <a:close/>
                  <a:moveTo>
                    <a:pt x="1204" y="934"/>
                  </a:moveTo>
                  <a:lnTo>
                    <a:pt x="1200" y="934"/>
                  </a:lnTo>
                  <a:lnTo>
                    <a:pt x="1204" y="934"/>
                  </a:lnTo>
                  <a:lnTo>
                    <a:pt x="1200" y="934"/>
                  </a:lnTo>
                  <a:lnTo>
                    <a:pt x="1196" y="938"/>
                  </a:lnTo>
                  <a:lnTo>
                    <a:pt x="1200" y="938"/>
                  </a:lnTo>
                  <a:lnTo>
                    <a:pt x="1200" y="934"/>
                  </a:lnTo>
                  <a:lnTo>
                    <a:pt x="1200" y="938"/>
                  </a:lnTo>
                  <a:lnTo>
                    <a:pt x="1196" y="938"/>
                  </a:lnTo>
                  <a:lnTo>
                    <a:pt x="1196" y="942"/>
                  </a:lnTo>
                  <a:lnTo>
                    <a:pt x="1200" y="942"/>
                  </a:lnTo>
                  <a:lnTo>
                    <a:pt x="1196" y="942"/>
                  </a:lnTo>
                  <a:lnTo>
                    <a:pt x="1196" y="938"/>
                  </a:lnTo>
                  <a:lnTo>
                    <a:pt x="1200" y="934"/>
                  </a:lnTo>
                  <a:lnTo>
                    <a:pt x="1204" y="934"/>
                  </a:lnTo>
                  <a:close/>
                  <a:moveTo>
                    <a:pt x="1192" y="962"/>
                  </a:moveTo>
                  <a:lnTo>
                    <a:pt x="1188" y="962"/>
                  </a:lnTo>
                  <a:lnTo>
                    <a:pt x="1188" y="966"/>
                  </a:lnTo>
                  <a:lnTo>
                    <a:pt x="1184" y="966"/>
                  </a:lnTo>
                  <a:lnTo>
                    <a:pt x="1188" y="966"/>
                  </a:lnTo>
                  <a:lnTo>
                    <a:pt x="1188" y="970"/>
                  </a:lnTo>
                  <a:lnTo>
                    <a:pt x="1184" y="970"/>
                  </a:lnTo>
                  <a:lnTo>
                    <a:pt x="1180" y="970"/>
                  </a:lnTo>
                  <a:lnTo>
                    <a:pt x="1180" y="966"/>
                  </a:lnTo>
                  <a:lnTo>
                    <a:pt x="1176" y="966"/>
                  </a:lnTo>
                  <a:lnTo>
                    <a:pt x="1180" y="962"/>
                  </a:lnTo>
                  <a:lnTo>
                    <a:pt x="1176" y="966"/>
                  </a:lnTo>
                  <a:lnTo>
                    <a:pt x="1172" y="966"/>
                  </a:lnTo>
                  <a:lnTo>
                    <a:pt x="1168" y="962"/>
                  </a:lnTo>
                  <a:lnTo>
                    <a:pt x="1164" y="962"/>
                  </a:lnTo>
                  <a:lnTo>
                    <a:pt x="1164" y="958"/>
                  </a:lnTo>
                  <a:lnTo>
                    <a:pt x="1164" y="954"/>
                  </a:lnTo>
                  <a:lnTo>
                    <a:pt x="1160" y="954"/>
                  </a:lnTo>
                  <a:lnTo>
                    <a:pt x="1160" y="950"/>
                  </a:lnTo>
                  <a:lnTo>
                    <a:pt x="1164" y="946"/>
                  </a:lnTo>
                  <a:lnTo>
                    <a:pt x="1164" y="950"/>
                  </a:lnTo>
                  <a:lnTo>
                    <a:pt x="1164" y="954"/>
                  </a:lnTo>
                  <a:lnTo>
                    <a:pt x="1168" y="954"/>
                  </a:lnTo>
                  <a:lnTo>
                    <a:pt x="1168" y="958"/>
                  </a:lnTo>
                  <a:lnTo>
                    <a:pt x="1172" y="958"/>
                  </a:lnTo>
                  <a:lnTo>
                    <a:pt x="1176" y="958"/>
                  </a:lnTo>
                  <a:lnTo>
                    <a:pt x="1180" y="958"/>
                  </a:lnTo>
                  <a:lnTo>
                    <a:pt x="1184" y="958"/>
                  </a:lnTo>
                  <a:lnTo>
                    <a:pt x="1188" y="958"/>
                  </a:lnTo>
                  <a:lnTo>
                    <a:pt x="1192" y="958"/>
                  </a:lnTo>
                  <a:lnTo>
                    <a:pt x="1196" y="958"/>
                  </a:lnTo>
                  <a:lnTo>
                    <a:pt x="1192" y="962"/>
                  </a:lnTo>
                  <a:close/>
                  <a:moveTo>
                    <a:pt x="1216" y="978"/>
                  </a:moveTo>
                  <a:lnTo>
                    <a:pt x="1212" y="978"/>
                  </a:lnTo>
                  <a:lnTo>
                    <a:pt x="1208" y="978"/>
                  </a:lnTo>
                  <a:lnTo>
                    <a:pt x="1204" y="978"/>
                  </a:lnTo>
                  <a:lnTo>
                    <a:pt x="1204" y="974"/>
                  </a:lnTo>
                  <a:lnTo>
                    <a:pt x="1204" y="970"/>
                  </a:lnTo>
                  <a:lnTo>
                    <a:pt x="1204" y="966"/>
                  </a:lnTo>
                  <a:lnTo>
                    <a:pt x="1204" y="962"/>
                  </a:lnTo>
                  <a:lnTo>
                    <a:pt x="1208" y="958"/>
                  </a:lnTo>
                  <a:lnTo>
                    <a:pt x="1212" y="954"/>
                  </a:lnTo>
                  <a:lnTo>
                    <a:pt x="1212" y="950"/>
                  </a:lnTo>
                  <a:lnTo>
                    <a:pt x="1216" y="950"/>
                  </a:lnTo>
                  <a:lnTo>
                    <a:pt x="1216" y="946"/>
                  </a:lnTo>
                  <a:lnTo>
                    <a:pt x="1220" y="946"/>
                  </a:lnTo>
                  <a:lnTo>
                    <a:pt x="1216" y="950"/>
                  </a:lnTo>
                  <a:lnTo>
                    <a:pt x="1220" y="950"/>
                  </a:lnTo>
                  <a:lnTo>
                    <a:pt x="1220" y="954"/>
                  </a:lnTo>
                  <a:lnTo>
                    <a:pt x="1216" y="962"/>
                  </a:lnTo>
                  <a:lnTo>
                    <a:pt x="1216" y="966"/>
                  </a:lnTo>
                  <a:lnTo>
                    <a:pt x="1216" y="962"/>
                  </a:lnTo>
                  <a:lnTo>
                    <a:pt x="1220" y="962"/>
                  </a:lnTo>
                  <a:lnTo>
                    <a:pt x="1216" y="966"/>
                  </a:lnTo>
                  <a:lnTo>
                    <a:pt x="1212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66"/>
                  </a:lnTo>
                  <a:lnTo>
                    <a:pt x="1216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74"/>
                  </a:lnTo>
                  <a:lnTo>
                    <a:pt x="1208" y="974"/>
                  </a:lnTo>
                  <a:lnTo>
                    <a:pt x="1212" y="974"/>
                  </a:lnTo>
                  <a:lnTo>
                    <a:pt x="1216" y="974"/>
                  </a:lnTo>
                  <a:lnTo>
                    <a:pt x="1216" y="970"/>
                  </a:lnTo>
                  <a:lnTo>
                    <a:pt x="1220" y="970"/>
                  </a:lnTo>
                  <a:lnTo>
                    <a:pt x="1216" y="970"/>
                  </a:lnTo>
                  <a:lnTo>
                    <a:pt x="1212" y="970"/>
                  </a:lnTo>
                  <a:lnTo>
                    <a:pt x="1216" y="970"/>
                  </a:lnTo>
                  <a:lnTo>
                    <a:pt x="1216" y="966"/>
                  </a:lnTo>
                  <a:lnTo>
                    <a:pt x="1220" y="966"/>
                  </a:lnTo>
                  <a:lnTo>
                    <a:pt x="1220" y="962"/>
                  </a:lnTo>
                  <a:lnTo>
                    <a:pt x="1220" y="966"/>
                  </a:lnTo>
                  <a:lnTo>
                    <a:pt x="1216" y="966"/>
                  </a:lnTo>
                  <a:lnTo>
                    <a:pt x="1220" y="962"/>
                  </a:lnTo>
                  <a:lnTo>
                    <a:pt x="1224" y="962"/>
                  </a:lnTo>
                  <a:lnTo>
                    <a:pt x="1224" y="966"/>
                  </a:lnTo>
                  <a:lnTo>
                    <a:pt x="1228" y="966"/>
                  </a:lnTo>
                  <a:lnTo>
                    <a:pt x="1228" y="970"/>
                  </a:lnTo>
                  <a:lnTo>
                    <a:pt x="1224" y="970"/>
                  </a:lnTo>
                  <a:lnTo>
                    <a:pt x="1224" y="974"/>
                  </a:lnTo>
                  <a:lnTo>
                    <a:pt x="1220" y="974"/>
                  </a:lnTo>
                  <a:lnTo>
                    <a:pt x="1220" y="978"/>
                  </a:lnTo>
                  <a:lnTo>
                    <a:pt x="1216" y="978"/>
                  </a:lnTo>
                  <a:close/>
                  <a:moveTo>
                    <a:pt x="1061" y="946"/>
                  </a:moveTo>
                  <a:lnTo>
                    <a:pt x="1061" y="950"/>
                  </a:lnTo>
                  <a:lnTo>
                    <a:pt x="1057" y="950"/>
                  </a:lnTo>
                  <a:lnTo>
                    <a:pt x="1061" y="946"/>
                  </a:lnTo>
                  <a:close/>
                  <a:moveTo>
                    <a:pt x="1212" y="978"/>
                  </a:moveTo>
                  <a:lnTo>
                    <a:pt x="1212" y="982"/>
                  </a:lnTo>
                  <a:lnTo>
                    <a:pt x="1208" y="982"/>
                  </a:lnTo>
                  <a:lnTo>
                    <a:pt x="1208" y="978"/>
                  </a:lnTo>
                  <a:lnTo>
                    <a:pt x="1212" y="978"/>
                  </a:lnTo>
                  <a:close/>
                  <a:moveTo>
                    <a:pt x="1125" y="994"/>
                  </a:moveTo>
                  <a:lnTo>
                    <a:pt x="1125" y="998"/>
                  </a:lnTo>
                  <a:lnTo>
                    <a:pt x="1121" y="998"/>
                  </a:lnTo>
                  <a:lnTo>
                    <a:pt x="1121" y="994"/>
                  </a:lnTo>
                  <a:lnTo>
                    <a:pt x="1125" y="994"/>
                  </a:lnTo>
                  <a:close/>
                  <a:moveTo>
                    <a:pt x="877" y="84"/>
                  </a:moveTo>
                  <a:lnTo>
                    <a:pt x="873" y="84"/>
                  </a:lnTo>
                  <a:lnTo>
                    <a:pt x="873" y="80"/>
                  </a:lnTo>
                  <a:lnTo>
                    <a:pt x="877" y="80"/>
                  </a:lnTo>
                  <a:lnTo>
                    <a:pt x="881" y="80"/>
                  </a:lnTo>
                  <a:lnTo>
                    <a:pt x="885" y="80"/>
                  </a:lnTo>
                  <a:lnTo>
                    <a:pt x="885" y="76"/>
                  </a:lnTo>
                  <a:lnTo>
                    <a:pt x="889" y="76"/>
                  </a:lnTo>
                  <a:lnTo>
                    <a:pt x="893" y="76"/>
                  </a:lnTo>
                  <a:lnTo>
                    <a:pt x="897" y="76"/>
                  </a:lnTo>
                  <a:lnTo>
                    <a:pt x="893" y="72"/>
                  </a:lnTo>
                  <a:lnTo>
                    <a:pt x="893" y="76"/>
                  </a:lnTo>
                  <a:lnTo>
                    <a:pt x="889" y="76"/>
                  </a:lnTo>
                  <a:lnTo>
                    <a:pt x="885" y="76"/>
                  </a:lnTo>
                  <a:lnTo>
                    <a:pt x="877" y="76"/>
                  </a:lnTo>
                  <a:lnTo>
                    <a:pt x="873" y="80"/>
                  </a:lnTo>
                  <a:lnTo>
                    <a:pt x="869" y="80"/>
                  </a:lnTo>
                  <a:lnTo>
                    <a:pt x="869" y="76"/>
                  </a:lnTo>
                  <a:lnTo>
                    <a:pt x="873" y="76"/>
                  </a:lnTo>
                  <a:lnTo>
                    <a:pt x="877" y="76"/>
                  </a:lnTo>
                  <a:lnTo>
                    <a:pt x="873" y="72"/>
                  </a:lnTo>
                  <a:lnTo>
                    <a:pt x="873" y="76"/>
                  </a:lnTo>
                  <a:lnTo>
                    <a:pt x="869" y="76"/>
                  </a:lnTo>
                  <a:lnTo>
                    <a:pt x="865" y="76"/>
                  </a:lnTo>
                  <a:lnTo>
                    <a:pt x="865" y="80"/>
                  </a:lnTo>
                  <a:lnTo>
                    <a:pt x="865" y="84"/>
                  </a:lnTo>
                  <a:lnTo>
                    <a:pt x="861" y="84"/>
                  </a:lnTo>
                  <a:lnTo>
                    <a:pt x="857" y="84"/>
                  </a:lnTo>
                  <a:lnTo>
                    <a:pt x="853" y="84"/>
                  </a:lnTo>
                  <a:lnTo>
                    <a:pt x="849" y="84"/>
                  </a:lnTo>
                  <a:lnTo>
                    <a:pt x="845" y="84"/>
                  </a:lnTo>
                  <a:lnTo>
                    <a:pt x="841" y="84"/>
                  </a:lnTo>
                  <a:lnTo>
                    <a:pt x="837" y="84"/>
                  </a:lnTo>
                  <a:lnTo>
                    <a:pt x="833" y="84"/>
                  </a:lnTo>
                  <a:lnTo>
                    <a:pt x="837" y="80"/>
                  </a:lnTo>
                  <a:lnTo>
                    <a:pt x="833" y="80"/>
                  </a:lnTo>
                  <a:lnTo>
                    <a:pt x="833" y="84"/>
                  </a:lnTo>
                  <a:lnTo>
                    <a:pt x="829" y="84"/>
                  </a:lnTo>
                  <a:lnTo>
                    <a:pt x="825" y="84"/>
                  </a:lnTo>
                  <a:lnTo>
                    <a:pt x="821" y="80"/>
                  </a:lnTo>
                  <a:lnTo>
                    <a:pt x="825" y="76"/>
                  </a:lnTo>
                  <a:lnTo>
                    <a:pt x="829" y="76"/>
                  </a:lnTo>
                  <a:lnTo>
                    <a:pt x="829" y="72"/>
                  </a:lnTo>
                  <a:lnTo>
                    <a:pt x="833" y="72"/>
                  </a:lnTo>
                  <a:lnTo>
                    <a:pt x="837" y="72"/>
                  </a:lnTo>
                  <a:lnTo>
                    <a:pt x="837" y="68"/>
                  </a:lnTo>
                  <a:lnTo>
                    <a:pt x="845" y="68"/>
                  </a:lnTo>
                  <a:lnTo>
                    <a:pt x="849" y="68"/>
                  </a:lnTo>
                  <a:lnTo>
                    <a:pt x="857" y="68"/>
                  </a:lnTo>
                  <a:lnTo>
                    <a:pt x="861" y="68"/>
                  </a:lnTo>
                  <a:lnTo>
                    <a:pt x="865" y="68"/>
                  </a:lnTo>
                  <a:lnTo>
                    <a:pt x="869" y="64"/>
                  </a:lnTo>
                  <a:lnTo>
                    <a:pt x="873" y="64"/>
                  </a:lnTo>
                  <a:lnTo>
                    <a:pt x="877" y="64"/>
                  </a:lnTo>
                  <a:lnTo>
                    <a:pt x="881" y="64"/>
                  </a:lnTo>
                  <a:lnTo>
                    <a:pt x="885" y="64"/>
                  </a:lnTo>
                  <a:lnTo>
                    <a:pt x="881" y="64"/>
                  </a:lnTo>
                  <a:lnTo>
                    <a:pt x="877" y="64"/>
                  </a:lnTo>
                  <a:lnTo>
                    <a:pt x="873" y="64"/>
                  </a:lnTo>
                  <a:lnTo>
                    <a:pt x="869" y="64"/>
                  </a:lnTo>
                  <a:lnTo>
                    <a:pt x="865" y="64"/>
                  </a:lnTo>
                  <a:lnTo>
                    <a:pt x="861" y="64"/>
                  </a:lnTo>
                  <a:lnTo>
                    <a:pt x="857" y="64"/>
                  </a:lnTo>
                  <a:lnTo>
                    <a:pt x="853" y="64"/>
                  </a:lnTo>
                  <a:lnTo>
                    <a:pt x="849" y="68"/>
                  </a:lnTo>
                  <a:lnTo>
                    <a:pt x="845" y="68"/>
                  </a:lnTo>
                  <a:lnTo>
                    <a:pt x="841" y="68"/>
                  </a:lnTo>
                  <a:lnTo>
                    <a:pt x="837" y="68"/>
                  </a:lnTo>
                  <a:lnTo>
                    <a:pt x="833" y="68"/>
                  </a:lnTo>
                  <a:lnTo>
                    <a:pt x="829" y="68"/>
                  </a:lnTo>
                  <a:lnTo>
                    <a:pt x="825" y="72"/>
                  </a:lnTo>
                  <a:lnTo>
                    <a:pt x="817" y="76"/>
                  </a:lnTo>
                  <a:lnTo>
                    <a:pt x="813" y="80"/>
                  </a:lnTo>
                  <a:lnTo>
                    <a:pt x="809" y="80"/>
                  </a:lnTo>
                  <a:lnTo>
                    <a:pt x="805" y="80"/>
                  </a:lnTo>
                  <a:lnTo>
                    <a:pt x="801" y="80"/>
                  </a:lnTo>
                  <a:lnTo>
                    <a:pt x="797" y="80"/>
                  </a:lnTo>
                  <a:lnTo>
                    <a:pt x="797" y="76"/>
                  </a:lnTo>
                  <a:lnTo>
                    <a:pt x="794" y="76"/>
                  </a:lnTo>
                  <a:lnTo>
                    <a:pt x="790" y="76"/>
                  </a:lnTo>
                  <a:lnTo>
                    <a:pt x="786" y="76"/>
                  </a:lnTo>
                  <a:lnTo>
                    <a:pt x="782" y="72"/>
                  </a:lnTo>
                  <a:lnTo>
                    <a:pt x="786" y="72"/>
                  </a:lnTo>
                  <a:lnTo>
                    <a:pt x="790" y="68"/>
                  </a:lnTo>
                  <a:lnTo>
                    <a:pt x="794" y="68"/>
                  </a:lnTo>
                  <a:lnTo>
                    <a:pt x="797" y="68"/>
                  </a:lnTo>
                  <a:lnTo>
                    <a:pt x="801" y="68"/>
                  </a:lnTo>
                  <a:lnTo>
                    <a:pt x="805" y="68"/>
                  </a:lnTo>
                  <a:lnTo>
                    <a:pt x="809" y="68"/>
                  </a:lnTo>
                  <a:lnTo>
                    <a:pt x="813" y="68"/>
                  </a:lnTo>
                  <a:lnTo>
                    <a:pt x="817" y="68"/>
                  </a:lnTo>
                  <a:lnTo>
                    <a:pt x="821" y="68"/>
                  </a:lnTo>
                  <a:lnTo>
                    <a:pt x="825" y="68"/>
                  </a:lnTo>
                  <a:lnTo>
                    <a:pt x="829" y="68"/>
                  </a:lnTo>
                  <a:lnTo>
                    <a:pt x="833" y="64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45" y="60"/>
                  </a:lnTo>
                  <a:lnTo>
                    <a:pt x="849" y="60"/>
                  </a:lnTo>
                  <a:lnTo>
                    <a:pt x="845" y="60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3" y="60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1" y="64"/>
                  </a:lnTo>
                  <a:lnTo>
                    <a:pt x="817" y="64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05" y="68"/>
                  </a:lnTo>
                  <a:lnTo>
                    <a:pt x="801" y="68"/>
                  </a:lnTo>
                  <a:lnTo>
                    <a:pt x="797" y="68"/>
                  </a:lnTo>
                  <a:lnTo>
                    <a:pt x="794" y="68"/>
                  </a:lnTo>
                  <a:lnTo>
                    <a:pt x="790" y="68"/>
                  </a:lnTo>
                  <a:lnTo>
                    <a:pt x="786" y="68"/>
                  </a:lnTo>
                  <a:lnTo>
                    <a:pt x="782" y="68"/>
                  </a:lnTo>
                  <a:lnTo>
                    <a:pt x="778" y="68"/>
                  </a:lnTo>
                  <a:lnTo>
                    <a:pt x="774" y="68"/>
                  </a:lnTo>
                  <a:lnTo>
                    <a:pt x="770" y="68"/>
                  </a:lnTo>
                  <a:lnTo>
                    <a:pt x="766" y="64"/>
                  </a:lnTo>
                  <a:lnTo>
                    <a:pt x="770" y="60"/>
                  </a:lnTo>
                  <a:lnTo>
                    <a:pt x="774" y="60"/>
                  </a:lnTo>
                  <a:lnTo>
                    <a:pt x="778" y="60"/>
                  </a:lnTo>
                  <a:lnTo>
                    <a:pt x="778" y="64"/>
                  </a:lnTo>
                  <a:lnTo>
                    <a:pt x="782" y="64"/>
                  </a:lnTo>
                  <a:lnTo>
                    <a:pt x="782" y="60"/>
                  </a:lnTo>
                  <a:lnTo>
                    <a:pt x="786" y="60"/>
                  </a:lnTo>
                  <a:lnTo>
                    <a:pt x="782" y="60"/>
                  </a:lnTo>
                  <a:lnTo>
                    <a:pt x="778" y="60"/>
                  </a:lnTo>
                  <a:lnTo>
                    <a:pt x="774" y="60"/>
                  </a:lnTo>
                  <a:lnTo>
                    <a:pt x="774" y="56"/>
                  </a:lnTo>
                  <a:lnTo>
                    <a:pt x="778" y="56"/>
                  </a:lnTo>
                  <a:lnTo>
                    <a:pt x="782" y="56"/>
                  </a:lnTo>
                  <a:lnTo>
                    <a:pt x="786" y="56"/>
                  </a:lnTo>
                  <a:lnTo>
                    <a:pt x="790" y="52"/>
                  </a:lnTo>
                  <a:lnTo>
                    <a:pt x="794" y="52"/>
                  </a:lnTo>
                  <a:lnTo>
                    <a:pt x="797" y="52"/>
                  </a:lnTo>
                  <a:lnTo>
                    <a:pt x="801" y="52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13" y="52"/>
                  </a:lnTo>
                  <a:lnTo>
                    <a:pt x="809" y="52"/>
                  </a:lnTo>
                  <a:lnTo>
                    <a:pt x="805" y="52"/>
                  </a:lnTo>
                  <a:lnTo>
                    <a:pt x="801" y="52"/>
                  </a:lnTo>
                  <a:lnTo>
                    <a:pt x="797" y="52"/>
                  </a:lnTo>
                  <a:lnTo>
                    <a:pt x="794" y="52"/>
                  </a:lnTo>
                  <a:lnTo>
                    <a:pt x="790" y="52"/>
                  </a:lnTo>
                  <a:lnTo>
                    <a:pt x="786" y="52"/>
                  </a:lnTo>
                  <a:lnTo>
                    <a:pt x="782" y="52"/>
                  </a:lnTo>
                  <a:lnTo>
                    <a:pt x="778" y="52"/>
                  </a:lnTo>
                  <a:lnTo>
                    <a:pt x="778" y="56"/>
                  </a:lnTo>
                  <a:lnTo>
                    <a:pt x="770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58" y="56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4" y="48"/>
                  </a:lnTo>
                  <a:lnTo>
                    <a:pt x="778" y="48"/>
                  </a:lnTo>
                  <a:lnTo>
                    <a:pt x="774" y="48"/>
                  </a:lnTo>
                  <a:lnTo>
                    <a:pt x="770" y="48"/>
                  </a:lnTo>
                  <a:lnTo>
                    <a:pt x="766" y="48"/>
                  </a:lnTo>
                  <a:lnTo>
                    <a:pt x="762" y="48"/>
                  </a:lnTo>
                  <a:lnTo>
                    <a:pt x="758" y="48"/>
                  </a:lnTo>
                  <a:lnTo>
                    <a:pt x="758" y="52"/>
                  </a:lnTo>
                  <a:lnTo>
                    <a:pt x="754" y="52"/>
                  </a:lnTo>
                  <a:lnTo>
                    <a:pt x="750" y="52"/>
                  </a:lnTo>
                  <a:lnTo>
                    <a:pt x="750" y="48"/>
                  </a:lnTo>
                  <a:lnTo>
                    <a:pt x="746" y="48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44"/>
                  </a:lnTo>
                  <a:lnTo>
                    <a:pt x="750" y="44"/>
                  </a:lnTo>
                  <a:lnTo>
                    <a:pt x="754" y="44"/>
                  </a:lnTo>
                  <a:lnTo>
                    <a:pt x="758" y="44"/>
                  </a:lnTo>
                  <a:lnTo>
                    <a:pt x="758" y="40"/>
                  </a:lnTo>
                  <a:lnTo>
                    <a:pt x="762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74" y="40"/>
                  </a:lnTo>
                  <a:lnTo>
                    <a:pt x="778" y="40"/>
                  </a:lnTo>
                  <a:lnTo>
                    <a:pt x="782" y="44"/>
                  </a:lnTo>
                  <a:lnTo>
                    <a:pt x="782" y="40"/>
                  </a:lnTo>
                  <a:lnTo>
                    <a:pt x="786" y="40"/>
                  </a:lnTo>
                  <a:lnTo>
                    <a:pt x="786" y="36"/>
                  </a:lnTo>
                  <a:lnTo>
                    <a:pt x="790" y="36"/>
                  </a:lnTo>
                  <a:lnTo>
                    <a:pt x="794" y="36"/>
                  </a:lnTo>
                  <a:lnTo>
                    <a:pt x="797" y="36"/>
                  </a:lnTo>
                  <a:lnTo>
                    <a:pt x="801" y="32"/>
                  </a:lnTo>
                  <a:lnTo>
                    <a:pt x="805" y="36"/>
                  </a:lnTo>
                  <a:lnTo>
                    <a:pt x="805" y="32"/>
                  </a:lnTo>
                  <a:lnTo>
                    <a:pt x="809" y="32"/>
                  </a:lnTo>
                  <a:lnTo>
                    <a:pt x="809" y="36"/>
                  </a:lnTo>
                  <a:lnTo>
                    <a:pt x="813" y="36"/>
                  </a:lnTo>
                  <a:lnTo>
                    <a:pt x="813" y="40"/>
                  </a:lnTo>
                  <a:lnTo>
                    <a:pt x="817" y="40"/>
                  </a:lnTo>
                  <a:lnTo>
                    <a:pt x="821" y="40"/>
                  </a:lnTo>
                  <a:lnTo>
                    <a:pt x="817" y="40"/>
                  </a:lnTo>
                  <a:lnTo>
                    <a:pt x="813" y="40"/>
                  </a:lnTo>
                  <a:lnTo>
                    <a:pt x="813" y="36"/>
                  </a:lnTo>
                  <a:lnTo>
                    <a:pt x="817" y="36"/>
                  </a:lnTo>
                  <a:lnTo>
                    <a:pt x="821" y="36"/>
                  </a:lnTo>
                  <a:lnTo>
                    <a:pt x="825" y="36"/>
                  </a:lnTo>
                  <a:lnTo>
                    <a:pt x="829" y="36"/>
                  </a:lnTo>
                  <a:lnTo>
                    <a:pt x="833" y="36"/>
                  </a:lnTo>
                  <a:lnTo>
                    <a:pt x="837" y="36"/>
                  </a:lnTo>
                  <a:lnTo>
                    <a:pt x="837" y="40"/>
                  </a:lnTo>
                  <a:lnTo>
                    <a:pt x="841" y="40"/>
                  </a:lnTo>
                  <a:lnTo>
                    <a:pt x="837" y="40"/>
                  </a:lnTo>
                  <a:lnTo>
                    <a:pt x="837" y="36"/>
                  </a:lnTo>
                  <a:lnTo>
                    <a:pt x="841" y="36"/>
                  </a:lnTo>
                  <a:lnTo>
                    <a:pt x="845" y="36"/>
                  </a:lnTo>
                  <a:lnTo>
                    <a:pt x="845" y="40"/>
                  </a:lnTo>
                  <a:lnTo>
                    <a:pt x="849" y="40"/>
                  </a:lnTo>
                  <a:lnTo>
                    <a:pt x="845" y="40"/>
                  </a:lnTo>
                  <a:lnTo>
                    <a:pt x="845" y="36"/>
                  </a:lnTo>
                  <a:lnTo>
                    <a:pt x="849" y="36"/>
                  </a:lnTo>
                  <a:lnTo>
                    <a:pt x="849" y="40"/>
                  </a:lnTo>
                  <a:lnTo>
                    <a:pt x="853" y="40"/>
                  </a:lnTo>
                  <a:lnTo>
                    <a:pt x="849" y="36"/>
                  </a:lnTo>
                  <a:lnTo>
                    <a:pt x="845" y="36"/>
                  </a:lnTo>
                  <a:lnTo>
                    <a:pt x="841" y="36"/>
                  </a:lnTo>
                  <a:lnTo>
                    <a:pt x="837" y="36"/>
                  </a:lnTo>
                  <a:lnTo>
                    <a:pt x="833" y="36"/>
                  </a:lnTo>
                  <a:lnTo>
                    <a:pt x="833" y="32"/>
                  </a:lnTo>
                  <a:lnTo>
                    <a:pt x="829" y="32"/>
                  </a:lnTo>
                  <a:lnTo>
                    <a:pt x="825" y="32"/>
                  </a:lnTo>
                  <a:lnTo>
                    <a:pt x="821" y="32"/>
                  </a:lnTo>
                  <a:lnTo>
                    <a:pt x="817" y="32"/>
                  </a:lnTo>
                  <a:lnTo>
                    <a:pt x="817" y="28"/>
                  </a:lnTo>
                  <a:lnTo>
                    <a:pt x="821" y="28"/>
                  </a:lnTo>
                  <a:lnTo>
                    <a:pt x="825" y="28"/>
                  </a:lnTo>
                  <a:lnTo>
                    <a:pt x="829" y="28"/>
                  </a:lnTo>
                  <a:lnTo>
                    <a:pt x="833" y="28"/>
                  </a:lnTo>
                  <a:lnTo>
                    <a:pt x="837" y="28"/>
                  </a:lnTo>
                  <a:lnTo>
                    <a:pt x="841" y="28"/>
                  </a:lnTo>
                  <a:lnTo>
                    <a:pt x="837" y="24"/>
                  </a:lnTo>
                  <a:lnTo>
                    <a:pt x="841" y="24"/>
                  </a:lnTo>
                  <a:lnTo>
                    <a:pt x="837" y="24"/>
                  </a:lnTo>
                  <a:lnTo>
                    <a:pt x="833" y="24"/>
                  </a:lnTo>
                  <a:lnTo>
                    <a:pt x="833" y="20"/>
                  </a:lnTo>
                  <a:lnTo>
                    <a:pt x="837" y="20"/>
                  </a:lnTo>
                  <a:lnTo>
                    <a:pt x="841" y="20"/>
                  </a:lnTo>
                  <a:lnTo>
                    <a:pt x="845" y="20"/>
                  </a:lnTo>
                  <a:lnTo>
                    <a:pt x="853" y="20"/>
                  </a:lnTo>
                  <a:lnTo>
                    <a:pt x="853" y="24"/>
                  </a:lnTo>
                  <a:lnTo>
                    <a:pt x="849" y="24"/>
                  </a:lnTo>
                  <a:lnTo>
                    <a:pt x="853" y="24"/>
                  </a:lnTo>
                  <a:lnTo>
                    <a:pt x="857" y="24"/>
                  </a:lnTo>
                  <a:lnTo>
                    <a:pt x="861" y="24"/>
                  </a:lnTo>
                  <a:lnTo>
                    <a:pt x="865" y="24"/>
                  </a:lnTo>
                  <a:lnTo>
                    <a:pt x="869" y="28"/>
                  </a:lnTo>
                  <a:lnTo>
                    <a:pt x="873" y="28"/>
                  </a:lnTo>
                  <a:lnTo>
                    <a:pt x="873" y="32"/>
                  </a:lnTo>
                  <a:lnTo>
                    <a:pt x="877" y="32"/>
                  </a:lnTo>
                  <a:lnTo>
                    <a:pt x="877" y="36"/>
                  </a:lnTo>
                  <a:lnTo>
                    <a:pt x="881" y="36"/>
                  </a:lnTo>
                  <a:lnTo>
                    <a:pt x="885" y="36"/>
                  </a:lnTo>
                  <a:lnTo>
                    <a:pt x="889" y="36"/>
                  </a:lnTo>
                  <a:lnTo>
                    <a:pt x="893" y="36"/>
                  </a:lnTo>
                  <a:lnTo>
                    <a:pt x="889" y="36"/>
                  </a:lnTo>
                  <a:lnTo>
                    <a:pt x="885" y="32"/>
                  </a:lnTo>
                  <a:lnTo>
                    <a:pt x="881" y="32"/>
                  </a:lnTo>
                  <a:lnTo>
                    <a:pt x="877" y="32"/>
                  </a:lnTo>
                  <a:lnTo>
                    <a:pt x="877" y="28"/>
                  </a:lnTo>
                  <a:lnTo>
                    <a:pt x="881" y="28"/>
                  </a:lnTo>
                  <a:lnTo>
                    <a:pt x="885" y="28"/>
                  </a:lnTo>
                  <a:lnTo>
                    <a:pt x="889" y="28"/>
                  </a:lnTo>
                  <a:lnTo>
                    <a:pt x="889" y="32"/>
                  </a:lnTo>
                  <a:lnTo>
                    <a:pt x="893" y="32"/>
                  </a:lnTo>
                  <a:lnTo>
                    <a:pt x="897" y="32"/>
                  </a:lnTo>
                  <a:lnTo>
                    <a:pt x="901" y="32"/>
                  </a:lnTo>
                  <a:lnTo>
                    <a:pt x="905" y="36"/>
                  </a:lnTo>
                  <a:lnTo>
                    <a:pt x="909" y="36"/>
                  </a:lnTo>
                  <a:lnTo>
                    <a:pt x="913" y="36"/>
                  </a:lnTo>
                  <a:lnTo>
                    <a:pt x="917" y="36"/>
                  </a:lnTo>
                  <a:lnTo>
                    <a:pt x="921" y="36"/>
                  </a:lnTo>
                  <a:lnTo>
                    <a:pt x="925" y="40"/>
                  </a:lnTo>
                  <a:lnTo>
                    <a:pt x="929" y="40"/>
                  </a:lnTo>
                  <a:lnTo>
                    <a:pt x="929" y="44"/>
                  </a:lnTo>
                  <a:lnTo>
                    <a:pt x="933" y="44"/>
                  </a:lnTo>
                  <a:lnTo>
                    <a:pt x="929" y="40"/>
                  </a:lnTo>
                  <a:lnTo>
                    <a:pt x="925" y="36"/>
                  </a:lnTo>
                  <a:lnTo>
                    <a:pt x="921" y="36"/>
                  </a:lnTo>
                  <a:lnTo>
                    <a:pt x="917" y="36"/>
                  </a:lnTo>
                  <a:lnTo>
                    <a:pt x="913" y="36"/>
                  </a:lnTo>
                  <a:lnTo>
                    <a:pt x="909" y="36"/>
                  </a:lnTo>
                  <a:lnTo>
                    <a:pt x="909" y="32"/>
                  </a:lnTo>
                  <a:lnTo>
                    <a:pt x="905" y="32"/>
                  </a:lnTo>
                  <a:lnTo>
                    <a:pt x="901" y="32"/>
                  </a:lnTo>
                  <a:lnTo>
                    <a:pt x="897" y="28"/>
                  </a:lnTo>
                  <a:lnTo>
                    <a:pt x="893" y="28"/>
                  </a:lnTo>
                  <a:lnTo>
                    <a:pt x="889" y="28"/>
                  </a:lnTo>
                  <a:lnTo>
                    <a:pt x="885" y="28"/>
                  </a:lnTo>
                  <a:lnTo>
                    <a:pt x="885" y="24"/>
                  </a:lnTo>
                  <a:lnTo>
                    <a:pt x="881" y="24"/>
                  </a:lnTo>
                  <a:lnTo>
                    <a:pt x="885" y="20"/>
                  </a:lnTo>
                  <a:lnTo>
                    <a:pt x="889" y="20"/>
                  </a:lnTo>
                  <a:lnTo>
                    <a:pt x="897" y="20"/>
                  </a:lnTo>
                  <a:lnTo>
                    <a:pt x="901" y="20"/>
                  </a:lnTo>
                  <a:lnTo>
                    <a:pt x="897" y="20"/>
                  </a:lnTo>
                  <a:lnTo>
                    <a:pt x="893" y="20"/>
                  </a:lnTo>
                  <a:lnTo>
                    <a:pt x="889" y="20"/>
                  </a:lnTo>
                  <a:lnTo>
                    <a:pt x="889" y="16"/>
                  </a:lnTo>
                  <a:lnTo>
                    <a:pt x="885" y="16"/>
                  </a:lnTo>
                  <a:lnTo>
                    <a:pt x="889" y="16"/>
                  </a:lnTo>
                  <a:lnTo>
                    <a:pt x="893" y="16"/>
                  </a:lnTo>
                  <a:lnTo>
                    <a:pt x="901" y="16"/>
                  </a:lnTo>
                  <a:lnTo>
                    <a:pt x="905" y="20"/>
                  </a:lnTo>
                  <a:lnTo>
                    <a:pt x="909" y="20"/>
                  </a:lnTo>
                  <a:lnTo>
                    <a:pt x="913" y="20"/>
                  </a:lnTo>
                  <a:lnTo>
                    <a:pt x="909" y="16"/>
                  </a:lnTo>
                  <a:lnTo>
                    <a:pt x="905" y="16"/>
                  </a:lnTo>
                  <a:lnTo>
                    <a:pt x="905" y="12"/>
                  </a:lnTo>
                  <a:lnTo>
                    <a:pt x="901" y="12"/>
                  </a:lnTo>
                  <a:lnTo>
                    <a:pt x="897" y="12"/>
                  </a:lnTo>
                  <a:lnTo>
                    <a:pt x="901" y="12"/>
                  </a:lnTo>
                  <a:lnTo>
                    <a:pt x="901" y="8"/>
                  </a:lnTo>
                  <a:lnTo>
                    <a:pt x="909" y="12"/>
                  </a:lnTo>
                  <a:lnTo>
                    <a:pt x="917" y="12"/>
                  </a:lnTo>
                  <a:lnTo>
                    <a:pt x="921" y="12"/>
                  </a:lnTo>
                  <a:lnTo>
                    <a:pt x="921" y="16"/>
                  </a:lnTo>
                  <a:lnTo>
                    <a:pt x="925" y="16"/>
                  </a:lnTo>
                  <a:lnTo>
                    <a:pt x="925" y="12"/>
                  </a:lnTo>
                  <a:lnTo>
                    <a:pt x="929" y="16"/>
                  </a:lnTo>
                  <a:lnTo>
                    <a:pt x="933" y="16"/>
                  </a:lnTo>
                  <a:lnTo>
                    <a:pt x="937" y="16"/>
                  </a:lnTo>
                  <a:lnTo>
                    <a:pt x="941" y="16"/>
                  </a:lnTo>
                  <a:lnTo>
                    <a:pt x="945" y="16"/>
                  </a:lnTo>
                  <a:lnTo>
                    <a:pt x="941" y="16"/>
                  </a:lnTo>
                  <a:lnTo>
                    <a:pt x="937" y="16"/>
                  </a:lnTo>
                  <a:lnTo>
                    <a:pt x="933" y="16"/>
                  </a:lnTo>
                  <a:lnTo>
                    <a:pt x="933" y="12"/>
                  </a:lnTo>
                  <a:lnTo>
                    <a:pt x="929" y="12"/>
                  </a:lnTo>
                  <a:lnTo>
                    <a:pt x="925" y="12"/>
                  </a:lnTo>
                  <a:lnTo>
                    <a:pt x="921" y="12"/>
                  </a:lnTo>
                  <a:lnTo>
                    <a:pt x="925" y="12"/>
                  </a:lnTo>
                  <a:lnTo>
                    <a:pt x="929" y="12"/>
                  </a:lnTo>
                  <a:lnTo>
                    <a:pt x="925" y="8"/>
                  </a:lnTo>
                  <a:lnTo>
                    <a:pt x="921" y="8"/>
                  </a:lnTo>
                  <a:lnTo>
                    <a:pt x="917" y="8"/>
                  </a:lnTo>
                  <a:lnTo>
                    <a:pt x="921" y="8"/>
                  </a:lnTo>
                  <a:lnTo>
                    <a:pt x="925" y="4"/>
                  </a:lnTo>
                  <a:lnTo>
                    <a:pt x="929" y="4"/>
                  </a:lnTo>
                  <a:lnTo>
                    <a:pt x="933" y="4"/>
                  </a:lnTo>
                  <a:lnTo>
                    <a:pt x="937" y="4"/>
                  </a:lnTo>
                  <a:lnTo>
                    <a:pt x="937" y="8"/>
                  </a:lnTo>
                  <a:lnTo>
                    <a:pt x="941" y="8"/>
                  </a:lnTo>
                  <a:lnTo>
                    <a:pt x="945" y="8"/>
                  </a:lnTo>
                  <a:lnTo>
                    <a:pt x="949" y="8"/>
                  </a:lnTo>
                  <a:lnTo>
                    <a:pt x="949" y="12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53" y="8"/>
                  </a:lnTo>
                  <a:lnTo>
                    <a:pt x="957" y="8"/>
                  </a:lnTo>
                  <a:lnTo>
                    <a:pt x="961" y="8"/>
                  </a:lnTo>
                  <a:lnTo>
                    <a:pt x="965" y="8"/>
                  </a:lnTo>
                  <a:lnTo>
                    <a:pt x="969" y="12"/>
                  </a:lnTo>
                  <a:lnTo>
                    <a:pt x="973" y="12"/>
                  </a:lnTo>
                  <a:lnTo>
                    <a:pt x="973" y="16"/>
                  </a:lnTo>
                  <a:lnTo>
                    <a:pt x="977" y="16"/>
                  </a:lnTo>
                  <a:lnTo>
                    <a:pt x="981" y="16"/>
                  </a:lnTo>
                  <a:lnTo>
                    <a:pt x="985" y="16"/>
                  </a:lnTo>
                  <a:lnTo>
                    <a:pt x="985" y="20"/>
                  </a:lnTo>
                  <a:lnTo>
                    <a:pt x="981" y="20"/>
                  </a:lnTo>
                  <a:lnTo>
                    <a:pt x="981" y="24"/>
                  </a:lnTo>
                  <a:lnTo>
                    <a:pt x="981" y="20"/>
                  </a:lnTo>
                  <a:lnTo>
                    <a:pt x="985" y="20"/>
                  </a:lnTo>
                  <a:lnTo>
                    <a:pt x="989" y="16"/>
                  </a:lnTo>
                  <a:lnTo>
                    <a:pt x="993" y="16"/>
                  </a:lnTo>
                  <a:lnTo>
                    <a:pt x="989" y="16"/>
                  </a:lnTo>
                  <a:lnTo>
                    <a:pt x="985" y="16"/>
                  </a:lnTo>
                  <a:lnTo>
                    <a:pt x="981" y="16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81" y="12"/>
                  </a:lnTo>
                  <a:lnTo>
                    <a:pt x="985" y="12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73" y="8"/>
                  </a:lnTo>
                  <a:lnTo>
                    <a:pt x="969" y="8"/>
                  </a:lnTo>
                  <a:lnTo>
                    <a:pt x="965" y="8"/>
                  </a:lnTo>
                  <a:lnTo>
                    <a:pt x="961" y="4"/>
                  </a:lnTo>
                  <a:lnTo>
                    <a:pt x="965" y="4"/>
                  </a:lnTo>
                  <a:lnTo>
                    <a:pt x="969" y="4"/>
                  </a:lnTo>
                  <a:lnTo>
                    <a:pt x="973" y="4"/>
                  </a:lnTo>
                  <a:lnTo>
                    <a:pt x="977" y="4"/>
                  </a:lnTo>
                  <a:lnTo>
                    <a:pt x="981" y="4"/>
                  </a:lnTo>
                  <a:lnTo>
                    <a:pt x="985" y="4"/>
                  </a:lnTo>
                  <a:lnTo>
                    <a:pt x="989" y="4"/>
                  </a:lnTo>
                  <a:lnTo>
                    <a:pt x="993" y="4"/>
                  </a:lnTo>
                  <a:lnTo>
                    <a:pt x="997" y="4"/>
                  </a:lnTo>
                  <a:lnTo>
                    <a:pt x="1001" y="4"/>
                  </a:lnTo>
                  <a:lnTo>
                    <a:pt x="1005" y="4"/>
                  </a:lnTo>
                  <a:lnTo>
                    <a:pt x="1009" y="4"/>
                  </a:lnTo>
                  <a:lnTo>
                    <a:pt x="1013" y="4"/>
                  </a:lnTo>
                  <a:lnTo>
                    <a:pt x="1017" y="8"/>
                  </a:lnTo>
                  <a:lnTo>
                    <a:pt x="1021" y="12"/>
                  </a:lnTo>
                  <a:lnTo>
                    <a:pt x="1025" y="12"/>
                  </a:lnTo>
                  <a:lnTo>
                    <a:pt x="1029" y="12"/>
                  </a:lnTo>
                  <a:lnTo>
                    <a:pt x="1033" y="12"/>
                  </a:lnTo>
                  <a:lnTo>
                    <a:pt x="1033" y="16"/>
                  </a:lnTo>
                  <a:lnTo>
                    <a:pt x="1037" y="12"/>
                  </a:lnTo>
                  <a:lnTo>
                    <a:pt x="1033" y="12"/>
                  </a:lnTo>
                  <a:lnTo>
                    <a:pt x="1029" y="12"/>
                  </a:lnTo>
                  <a:lnTo>
                    <a:pt x="1025" y="12"/>
                  </a:lnTo>
                  <a:lnTo>
                    <a:pt x="1021" y="8"/>
                  </a:lnTo>
                  <a:lnTo>
                    <a:pt x="1025" y="4"/>
                  </a:lnTo>
                  <a:lnTo>
                    <a:pt x="1029" y="4"/>
                  </a:lnTo>
                  <a:lnTo>
                    <a:pt x="1033" y="0"/>
                  </a:lnTo>
                  <a:lnTo>
                    <a:pt x="1037" y="0"/>
                  </a:lnTo>
                  <a:lnTo>
                    <a:pt x="1041" y="0"/>
                  </a:lnTo>
                  <a:lnTo>
                    <a:pt x="1045" y="0"/>
                  </a:lnTo>
                  <a:lnTo>
                    <a:pt x="1049" y="0"/>
                  </a:lnTo>
                  <a:lnTo>
                    <a:pt x="1049" y="4"/>
                  </a:lnTo>
                  <a:lnTo>
                    <a:pt x="1049" y="8"/>
                  </a:lnTo>
                  <a:lnTo>
                    <a:pt x="1053" y="8"/>
                  </a:lnTo>
                  <a:lnTo>
                    <a:pt x="1057" y="8"/>
                  </a:lnTo>
                  <a:lnTo>
                    <a:pt x="1061" y="8"/>
                  </a:lnTo>
                  <a:lnTo>
                    <a:pt x="1057" y="8"/>
                  </a:lnTo>
                  <a:lnTo>
                    <a:pt x="1053" y="4"/>
                  </a:lnTo>
                  <a:lnTo>
                    <a:pt x="1057" y="0"/>
                  </a:lnTo>
                  <a:lnTo>
                    <a:pt x="1061" y="0"/>
                  </a:lnTo>
                  <a:lnTo>
                    <a:pt x="1065" y="0"/>
                  </a:lnTo>
                  <a:lnTo>
                    <a:pt x="1069" y="0"/>
                  </a:lnTo>
                  <a:lnTo>
                    <a:pt x="1073" y="0"/>
                  </a:lnTo>
                  <a:lnTo>
                    <a:pt x="1077" y="0"/>
                  </a:lnTo>
                  <a:lnTo>
                    <a:pt x="1081" y="0"/>
                  </a:lnTo>
                  <a:lnTo>
                    <a:pt x="1081" y="4"/>
                  </a:lnTo>
                  <a:lnTo>
                    <a:pt x="1077" y="4"/>
                  </a:lnTo>
                  <a:lnTo>
                    <a:pt x="1081" y="4"/>
                  </a:lnTo>
                  <a:lnTo>
                    <a:pt x="1085" y="4"/>
                  </a:lnTo>
                  <a:lnTo>
                    <a:pt x="1089" y="4"/>
                  </a:lnTo>
                  <a:lnTo>
                    <a:pt x="1093" y="4"/>
                  </a:lnTo>
                  <a:lnTo>
                    <a:pt x="1097" y="4"/>
                  </a:lnTo>
                  <a:lnTo>
                    <a:pt x="1101" y="4"/>
                  </a:lnTo>
                  <a:lnTo>
                    <a:pt x="1101" y="8"/>
                  </a:lnTo>
                  <a:lnTo>
                    <a:pt x="1105" y="8"/>
                  </a:lnTo>
                  <a:lnTo>
                    <a:pt x="1105" y="4"/>
                  </a:lnTo>
                  <a:lnTo>
                    <a:pt x="1109" y="4"/>
                  </a:lnTo>
                  <a:lnTo>
                    <a:pt x="1113" y="4"/>
                  </a:lnTo>
                  <a:lnTo>
                    <a:pt x="1113" y="8"/>
                  </a:lnTo>
                  <a:lnTo>
                    <a:pt x="1117" y="8"/>
                  </a:lnTo>
                  <a:lnTo>
                    <a:pt x="1117" y="4"/>
                  </a:lnTo>
                  <a:lnTo>
                    <a:pt x="1121" y="4"/>
                  </a:lnTo>
                  <a:lnTo>
                    <a:pt x="1121" y="8"/>
                  </a:lnTo>
                  <a:lnTo>
                    <a:pt x="1125" y="8"/>
                  </a:lnTo>
                  <a:lnTo>
                    <a:pt x="1129" y="8"/>
                  </a:lnTo>
                  <a:lnTo>
                    <a:pt x="1121" y="12"/>
                  </a:lnTo>
                  <a:lnTo>
                    <a:pt x="1117" y="12"/>
                  </a:lnTo>
                  <a:lnTo>
                    <a:pt x="1113" y="12"/>
                  </a:lnTo>
                  <a:lnTo>
                    <a:pt x="1109" y="12"/>
                  </a:lnTo>
                  <a:lnTo>
                    <a:pt x="1105" y="12"/>
                  </a:lnTo>
                  <a:lnTo>
                    <a:pt x="1105" y="16"/>
                  </a:lnTo>
                  <a:lnTo>
                    <a:pt x="1101" y="16"/>
                  </a:lnTo>
                  <a:lnTo>
                    <a:pt x="1097" y="16"/>
                  </a:lnTo>
                  <a:lnTo>
                    <a:pt x="1093" y="16"/>
                  </a:lnTo>
                  <a:lnTo>
                    <a:pt x="1097" y="16"/>
                  </a:lnTo>
                  <a:lnTo>
                    <a:pt x="1101" y="16"/>
                  </a:lnTo>
                  <a:lnTo>
                    <a:pt x="1105" y="16"/>
                  </a:lnTo>
                  <a:lnTo>
                    <a:pt x="1109" y="16"/>
                  </a:lnTo>
                  <a:lnTo>
                    <a:pt x="1113" y="16"/>
                  </a:lnTo>
                  <a:lnTo>
                    <a:pt x="1117" y="16"/>
                  </a:lnTo>
                  <a:lnTo>
                    <a:pt x="1121" y="12"/>
                  </a:lnTo>
                  <a:lnTo>
                    <a:pt x="1125" y="12"/>
                  </a:lnTo>
                  <a:lnTo>
                    <a:pt x="1133" y="12"/>
                  </a:lnTo>
                  <a:lnTo>
                    <a:pt x="1137" y="8"/>
                  </a:lnTo>
                  <a:lnTo>
                    <a:pt x="1141" y="8"/>
                  </a:lnTo>
                  <a:lnTo>
                    <a:pt x="1145" y="8"/>
                  </a:lnTo>
                  <a:lnTo>
                    <a:pt x="1141" y="12"/>
                  </a:lnTo>
                  <a:lnTo>
                    <a:pt x="1145" y="12"/>
                  </a:lnTo>
                  <a:lnTo>
                    <a:pt x="1148" y="12"/>
                  </a:lnTo>
                  <a:lnTo>
                    <a:pt x="1145" y="12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52" y="8"/>
                  </a:lnTo>
                  <a:lnTo>
                    <a:pt x="1156" y="8"/>
                  </a:lnTo>
                  <a:lnTo>
                    <a:pt x="1152" y="8"/>
                  </a:lnTo>
                  <a:lnTo>
                    <a:pt x="1152" y="12"/>
                  </a:lnTo>
                  <a:lnTo>
                    <a:pt x="1156" y="12"/>
                  </a:lnTo>
                  <a:lnTo>
                    <a:pt x="1160" y="12"/>
                  </a:lnTo>
                  <a:lnTo>
                    <a:pt x="1164" y="8"/>
                  </a:lnTo>
                  <a:lnTo>
                    <a:pt x="1168" y="8"/>
                  </a:lnTo>
                  <a:lnTo>
                    <a:pt x="1172" y="8"/>
                  </a:lnTo>
                  <a:lnTo>
                    <a:pt x="1172" y="12"/>
                  </a:lnTo>
                  <a:lnTo>
                    <a:pt x="1168" y="12"/>
                  </a:lnTo>
                  <a:lnTo>
                    <a:pt x="1172" y="16"/>
                  </a:lnTo>
                  <a:lnTo>
                    <a:pt x="1176" y="16"/>
                  </a:lnTo>
                  <a:lnTo>
                    <a:pt x="1180" y="16"/>
                  </a:lnTo>
                  <a:lnTo>
                    <a:pt x="1180" y="20"/>
                  </a:lnTo>
                  <a:lnTo>
                    <a:pt x="1176" y="20"/>
                  </a:lnTo>
                  <a:lnTo>
                    <a:pt x="1176" y="24"/>
                  </a:lnTo>
                  <a:lnTo>
                    <a:pt x="1180" y="24"/>
                  </a:lnTo>
                  <a:lnTo>
                    <a:pt x="1180" y="20"/>
                  </a:lnTo>
                  <a:lnTo>
                    <a:pt x="1184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96" y="20"/>
                  </a:lnTo>
                  <a:lnTo>
                    <a:pt x="1200" y="20"/>
                  </a:lnTo>
                  <a:lnTo>
                    <a:pt x="1204" y="20"/>
                  </a:lnTo>
                  <a:lnTo>
                    <a:pt x="1204" y="24"/>
                  </a:lnTo>
                  <a:lnTo>
                    <a:pt x="1208" y="24"/>
                  </a:lnTo>
                  <a:lnTo>
                    <a:pt x="1208" y="28"/>
                  </a:lnTo>
                  <a:lnTo>
                    <a:pt x="1204" y="32"/>
                  </a:lnTo>
                  <a:lnTo>
                    <a:pt x="1200" y="32"/>
                  </a:lnTo>
                  <a:lnTo>
                    <a:pt x="1196" y="32"/>
                  </a:lnTo>
                  <a:lnTo>
                    <a:pt x="1192" y="36"/>
                  </a:lnTo>
                  <a:lnTo>
                    <a:pt x="1188" y="36"/>
                  </a:lnTo>
                  <a:lnTo>
                    <a:pt x="1180" y="40"/>
                  </a:lnTo>
                  <a:lnTo>
                    <a:pt x="1176" y="40"/>
                  </a:lnTo>
                  <a:lnTo>
                    <a:pt x="1172" y="40"/>
                  </a:lnTo>
                  <a:lnTo>
                    <a:pt x="1168" y="40"/>
                  </a:lnTo>
                  <a:lnTo>
                    <a:pt x="1168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56" y="44"/>
                  </a:lnTo>
                  <a:lnTo>
                    <a:pt x="1152" y="44"/>
                  </a:lnTo>
                  <a:lnTo>
                    <a:pt x="1148" y="44"/>
                  </a:lnTo>
                  <a:lnTo>
                    <a:pt x="1145" y="44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37" y="48"/>
                  </a:lnTo>
                  <a:lnTo>
                    <a:pt x="1141" y="48"/>
                  </a:lnTo>
                  <a:lnTo>
                    <a:pt x="1145" y="48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29" y="48"/>
                  </a:lnTo>
                  <a:lnTo>
                    <a:pt x="1125" y="48"/>
                  </a:lnTo>
                  <a:lnTo>
                    <a:pt x="1121" y="48"/>
                  </a:lnTo>
                  <a:lnTo>
                    <a:pt x="1117" y="48"/>
                  </a:lnTo>
                  <a:lnTo>
                    <a:pt x="1113" y="48"/>
                  </a:lnTo>
                  <a:lnTo>
                    <a:pt x="1109" y="48"/>
                  </a:lnTo>
                  <a:lnTo>
                    <a:pt x="1105" y="52"/>
                  </a:lnTo>
                  <a:lnTo>
                    <a:pt x="1101" y="52"/>
                  </a:lnTo>
                  <a:lnTo>
                    <a:pt x="1097" y="48"/>
                  </a:lnTo>
                  <a:lnTo>
                    <a:pt x="1093" y="48"/>
                  </a:lnTo>
                  <a:lnTo>
                    <a:pt x="1089" y="48"/>
                  </a:lnTo>
                  <a:lnTo>
                    <a:pt x="1085" y="44"/>
                  </a:lnTo>
                  <a:lnTo>
                    <a:pt x="1085" y="48"/>
                  </a:lnTo>
                  <a:lnTo>
                    <a:pt x="1089" y="48"/>
                  </a:lnTo>
                  <a:lnTo>
                    <a:pt x="1093" y="48"/>
                  </a:lnTo>
                  <a:lnTo>
                    <a:pt x="1097" y="48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097" y="52"/>
                  </a:lnTo>
                  <a:lnTo>
                    <a:pt x="1093" y="52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105" y="52"/>
                  </a:lnTo>
                  <a:lnTo>
                    <a:pt x="1109" y="52"/>
                  </a:lnTo>
                  <a:lnTo>
                    <a:pt x="1113" y="52"/>
                  </a:lnTo>
                  <a:lnTo>
                    <a:pt x="1117" y="52"/>
                  </a:lnTo>
                  <a:lnTo>
                    <a:pt x="1121" y="52"/>
                  </a:lnTo>
                  <a:lnTo>
                    <a:pt x="1125" y="52"/>
                  </a:lnTo>
                  <a:lnTo>
                    <a:pt x="1121" y="52"/>
                  </a:lnTo>
                  <a:lnTo>
                    <a:pt x="1117" y="56"/>
                  </a:lnTo>
                  <a:lnTo>
                    <a:pt x="1113" y="56"/>
                  </a:lnTo>
                  <a:lnTo>
                    <a:pt x="1109" y="56"/>
                  </a:lnTo>
                  <a:lnTo>
                    <a:pt x="1105" y="56"/>
                  </a:lnTo>
                  <a:lnTo>
                    <a:pt x="1101" y="56"/>
                  </a:lnTo>
                  <a:lnTo>
                    <a:pt x="1101" y="60"/>
                  </a:lnTo>
                  <a:lnTo>
                    <a:pt x="1097" y="60"/>
                  </a:lnTo>
                  <a:lnTo>
                    <a:pt x="1093" y="60"/>
                  </a:lnTo>
                  <a:lnTo>
                    <a:pt x="1089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85" y="64"/>
                  </a:lnTo>
                  <a:lnTo>
                    <a:pt x="1093" y="60"/>
                  </a:lnTo>
                  <a:lnTo>
                    <a:pt x="1101" y="60"/>
                  </a:lnTo>
                  <a:lnTo>
                    <a:pt x="1105" y="60"/>
                  </a:lnTo>
                  <a:lnTo>
                    <a:pt x="1109" y="60"/>
                  </a:lnTo>
                  <a:lnTo>
                    <a:pt x="1109" y="56"/>
                  </a:lnTo>
                  <a:lnTo>
                    <a:pt x="1113" y="56"/>
                  </a:lnTo>
                  <a:lnTo>
                    <a:pt x="1117" y="56"/>
                  </a:lnTo>
                  <a:lnTo>
                    <a:pt x="1121" y="56"/>
                  </a:lnTo>
                  <a:lnTo>
                    <a:pt x="1125" y="56"/>
                  </a:lnTo>
                  <a:lnTo>
                    <a:pt x="1129" y="56"/>
                  </a:lnTo>
                  <a:lnTo>
                    <a:pt x="1133" y="56"/>
                  </a:lnTo>
                  <a:lnTo>
                    <a:pt x="1137" y="52"/>
                  </a:lnTo>
                  <a:lnTo>
                    <a:pt x="1141" y="52"/>
                  </a:lnTo>
                  <a:lnTo>
                    <a:pt x="1145" y="52"/>
                  </a:lnTo>
                  <a:lnTo>
                    <a:pt x="1148" y="52"/>
                  </a:lnTo>
                  <a:lnTo>
                    <a:pt x="1156" y="52"/>
                  </a:lnTo>
                  <a:lnTo>
                    <a:pt x="1156" y="56"/>
                  </a:lnTo>
                  <a:lnTo>
                    <a:pt x="1152" y="56"/>
                  </a:lnTo>
                  <a:lnTo>
                    <a:pt x="1148" y="60"/>
                  </a:lnTo>
                  <a:lnTo>
                    <a:pt x="1145" y="60"/>
                  </a:lnTo>
                  <a:lnTo>
                    <a:pt x="1141" y="60"/>
                  </a:lnTo>
                  <a:lnTo>
                    <a:pt x="1137" y="60"/>
                  </a:lnTo>
                  <a:lnTo>
                    <a:pt x="1133" y="64"/>
                  </a:lnTo>
                  <a:lnTo>
                    <a:pt x="1129" y="64"/>
                  </a:lnTo>
                  <a:lnTo>
                    <a:pt x="1129" y="68"/>
                  </a:lnTo>
                  <a:lnTo>
                    <a:pt x="1125" y="68"/>
                  </a:lnTo>
                  <a:lnTo>
                    <a:pt x="1121" y="68"/>
                  </a:lnTo>
                  <a:lnTo>
                    <a:pt x="1117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05" y="72"/>
                  </a:lnTo>
                  <a:lnTo>
                    <a:pt x="1105" y="76"/>
                  </a:lnTo>
                  <a:lnTo>
                    <a:pt x="1101" y="76"/>
                  </a:lnTo>
                  <a:lnTo>
                    <a:pt x="1093" y="80"/>
                  </a:lnTo>
                  <a:lnTo>
                    <a:pt x="1089" y="80"/>
                  </a:lnTo>
                  <a:lnTo>
                    <a:pt x="1089" y="84"/>
                  </a:lnTo>
                  <a:lnTo>
                    <a:pt x="1085" y="84"/>
                  </a:lnTo>
                  <a:lnTo>
                    <a:pt x="1085" y="88"/>
                  </a:lnTo>
                  <a:lnTo>
                    <a:pt x="1081" y="88"/>
                  </a:lnTo>
                  <a:lnTo>
                    <a:pt x="1077" y="88"/>
                  </a:lnTo>
                  <a:lnTo>
                    <a:pt x="1073" y="88"/>
                  </a:lnTo>
                  <a:lnTo>
                    <a:pt x="1069" y="88"/>
                  </a:lnTo>
                  <a:lnTo>
                    <a:pt x="1069" y="84"/>
                  </a:lnTo>
                  <a:lnTo>
                    <a:pt x="1065" y="84"/>
                  </a:lnTo>
                  <a:lnTo>
                    <a:pt x="1061" y="84"/>
                  </a:lnTo>
                  <a:lnTo>
                    <a:pt x="1065" y="84"/>
                  </a:lnTo>
                  <a:lnTo>
                    <a:pt x="1069" y="84"/>
                  </a:lnTo>
                  <a:lnTo>
                    <a:pt x="1069" y="88"/>
                  </a:lnTo>
                  <a:lnTo>
                    <a:pt x="1069" y="92"/>
                  </a:lnTo>
                  <a:lnTo>
                    <a:pt x="1073" y="92"/>
                  </a:lnTo>
                  <a:lnTo>
                    <a:pt x="1077" y="92"/>
                  </a:lnTo>
                  <a:lnTo>
                    <a:pt x="1073" y="92"/>
                  </a:lnTo>
                  <a:lnTo>
                    <a:pt x="1073" y="96"/>
                  </a:lnTo>
                  <a:lnTo>
                    <a:pt x="1069" y="96"/>
                  </a:lnTo>
                  <a:lnTo>
                    <a:pt x="1065" y="92"/>
                  </a:lnTo>
                  <a:lnTo>
                    <a:pt x="1061" y="96"/>
                  </a:lnTo>
                  <a:lnTo>
                    <a:pt x="1057" y="96"/>
                  </a:lnTo>
                  <a:lnTo>
                    <a:pt x="1053" y="96"/>
                  </a:lnTo>
                  <a:lnTo>
                    <a:pt x="1049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41" y="92"/>
                  </a:lnTo>
                  <a:lnTo>
                    <a:pt x="1037" y="92"/>
                  </a:lnTo>
                  <a:lnTo>
                    <a:pt x="1041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37" y="96"/>
                  </a:lnTo>
                  <a:lnTo>
                    <a:pt x="1037" y="100"/>
                  </a:lnTo>
                  <a:lnTo>
                    <a:pt x="1041" y="100"/>
                  </a:lnTo>
                  <a:lnTo>
                    <a:pt x="1045" y="100"/>
                  </a:lnTo>
                  <a:lnTo>
                    <a:pt x="1049" y="100"/>
                  </a:lnTo>
                  <a:lnTo>
                    <a:pt x="1053" y="100"/>
                  </a:lnTo>
                  <a:lnTo>
                    <a:pt x="1053" y="96"/>
                  </a:lnTo>
                  <a:lnTo>
                    <a:pt x="1057" y="96"/>
                  </a:lnTo>
                  <a:lnTo>
                    <a:pt x="1061" y="96"/>
                  </a:lnTo>
                  <a:lnTo>
                    <a:pt x="1065" y="96"/>
                  </a:lnTo>
                  <a:lnTo>
                    <a:pt x="1065" y="100"/>
                  </a:lnTo>
                  <a:lnTo>
                    <a:pt x="1061" y="100"/>
                  </a:lnTo>
                  <a:lnTo>
                    <a:pt x="1057" y="100"/>
                  </a:lnTo>
                  <a:lnTo>
                    <a:pt x="1053" y="104"/>
                  </a:lnTo>
                  <a:lnTo>
                    <a:pt x="1057" y="104"/>
                  </a:lnTo>
                  <a:lnTo>
                    <a:pt x="1061" y="104"/>
                  </a:lnTo>
                  <a:lnTo>
                    <a:pt x="1057" y="108"/>
                  </a:lnTo>
                  <a:lnTo>
                    <a:pt x="1053" y="108"/>
                  </a:lnTo>
                  <a:lnTo>
                    <a:pt x="1049" y="108"/>
                  </a:lnTo>
                  <a:lnTo>
                    <a:pt x="1045" y="108"/>
                  </a:lnTo>
                  <a:lnTo>
                    <a:pt x="1041" y="112"/>
                  </a:lnTo>
                  <a:lnTo>
                    <a:pt x="1037" y="112"/>
                  </a:lnTo>
                  <a:lnTo>
                    <a:pt x="1037" y="108"/>
                  </a:lnTo>
                  <a:lnTo>
                    <a:pt x="1037" y="112"/>
                  </a:lnTo>
                  <a:lnTo>
                    <a:pt x="1033" y="112"/>
                  </a:lnTo>
                  <a:lnTo>
                    <a:pt x="1029" y="108"/>
                  </a:lnTo>
                  <a:lnTo>
                    <a:pt x="1029" y="104"/>
                  </a:lnTo>
                  <a:lnTo>
                    <a:pt x="1025" y="104"/>
                  </a:lnTo>
                  <a:lnTo>
                    <a:pt x="1021" y="104"/>
                  </a:lnTo>
                  <a:lnTo>
                    <a:pt x="1017" y="104"/>
                  </a:lnTo>
                  <a:lnTo>
                    <a:pt x="1013" y="104"/>
                  </a:lnTo>
                  <a:lnTo>
                    <a:pt x="1009" y="104"/>
                  </a:lnTo>
                  <a:lnTo>
                    <a:pt x="1005" y="104"/>
                  </a:lnTo>
                  <a:lnTo>
                    <a:pt x="1001" y="104"/>
                  </a:lnTo>
                  <a:lnTo>
                    <a:pt x="1001" y="108"/>
                  </a:lnTo>
                  <a:lnTo>
                    <a:pt x="1005" y="108"/>
                  </a:lnTo>
                  <a:lnTo>
                    <a:pt x="1009" y="108"/>
                  </a:lnTo>
                  <a:lnTo>
                    <a:pt x="1013" y="108"/>
                  </a:lnTo>
                  <a:lnTo>
                    <a:pt x="1017" y="108"/>
                  </a:lnTo>
                  <a:lnTo>
                    <a:pt x="1021" y="108"/>
                  </a:lnTo>
                  <a:lnTo>
                    <a:pt x="1025" y="108"/>
                  </a:lnTo>
                  <a:lnTo>
                    <a:pt x="1025" y="112"/>
                  </a:lnTo>
                  <a:lnTo>
                    <a:pt x="1025" y="116"/>
                  </a:lnTo>
                  <a:lnTo>
                    <a:pt x="1021" y="116"/>
                  </a:lnTo>
                  <a:lnTo>
                    <a:pt x="1017" y="116"/>
                  </a:lnTo>
                  <a:lnTo>
                    <a:pt x="1013" y="116"/>
                  </a:lnTo>
                  <a:lnTo>
                    <a:pt x="1009" y="116"/>
                  </a:lnTo>
                  <a:lnTo>
                    <a:pt x="1005" y="116"/>
                  </a:lnTo>
                  <a:lnTo>
                    <a:pt x="1001" y="116"/>
                  </a:lnTo>
                  <a:lnTo>
                    <a:pt x="997" y="116"/>
                  </a:lnTo>
                  <a:lnTo>
                    <a:pt x="1001" y="116"/>
                  </a:lnTo>
                  <a:lnTo>
                    <a:pt x="1001" y="120"/>
                  </a:lnTo>
                  <a:lnTo>
                    <a:pt x="997" y="120"/>
                  </a:lnTo>
                  <a:lnTo>
                    <a:pt x="993" y="120"/>
                  </a:lnTo>
                  <a:lnTo>
                    <a:pt x="989" y="120"/>
                  </a:lnTo>
                  <a:lnTo>
                    <a:pt x="985" y="116"/>
                  </a:lnTo>
                  <a:lnTo>
                    <a:pt x="985" y="120"/>
                  </a:lnTo>
                  <a:lnTo>
                    <a:pt x="985" y="116"/>
                  </a:lnTo>
                  <a:lnTo>
                    <a:pt x="981" y="116"/>
                  </a:lnTo>
                  <a:lnTo>
                    <a:pt x="977" y="116"/>
                  </a:lnTo>
                  <a:lnTo>
                    <a:pt x="973" y="116"/>
                  </a:lnTo>
                  <a:lnTo>
                    <a:pt x="969" y="116"/>
                  </a:lnTo>
                  <a:lnTo>
                    <a:pt x="965" y="116"/>
                  </a:lnTo>
                  <a:lnTo>
                    <a:pt x="969" y="116"/>
                  </a:lnTo>
                  <a:lnTo>
                    <a:pt x="973" y="116"/>
                  </a:lnTo>
                  <a:lnTo>
                    <a:pt x="977" y="116"/>
                  </a:lnTo>
                  <a:lnTo>
                    <a:pt x="981" y="116"/>
                  </a:lnTo>
                  <a:lnTo>
                    <a:pt x="981" y="120"/>
                  </a:lnTo>
                  <a:lnTo>
                    <a:pt x="985" y="120"/>
                  </a:lnTo>
                  <a:lnTo>
                    <a:pt x="981" y="120"/>
                  </a:lnTo>
                  <a:lnTo>
                    <a:pt x="977" y="120"/>
                  </a:lnTo>
                  <a:lnTo>
                    <a:pt x="973" y="120"/>
                  </a:lnTo>
                  <a:lnTo>
                    <a:pt x="969" y="120"/>
                  </a:lnTo>
                  <a:lnTo>
                    <a:pt x="965" y="120"/>
                  </a:lnTo>
                  <a:lnTo>
                    <a:pt x="965" y="116"/>
                  </a:lnTo>
                  <a:lnTo>
                    <a:pt x="961" y="116"/>
                  </a:lnTo>
                  <a:lnTo>
                    <a:pt x="965" y="120"/>
                  </a:lnTo>
                  <a:lnTo>
                    <a:pt x="961" y="120"/>
                  </a:lnTo>
                  <a:lnTo>
                    <a:pt x="957" y="120"/>
                  </a:lnTo>
                  <a:lnTo>
                    <a:pt x="953" y="120"/>
                  </a:lnTo>
                  <a:lnTo>
                    <a:pt x="957" y="120"/>
                  </a:lnTo>
                  <a:lnTo>
                    <a:pt x="961" y="120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9" y="124"/>
                  </a:lnTo>
                  <a:lnTo>
                    <a:pt x="973" y="124"/>
                  </a:lnTo>
                  <a:lnTo>
                    <a:pt x="981" y="124"/>
                  </a:lnTo>
                  <a:lnTo>
                    <a:pt x="985" y="124"/>
                  </a:lnTo>
                  <a:lnTo>
                    <a:pt x="989" y="124"/>
                  </a:lnTo>
                  <a:lnTo>
                    <a:pt x="993" y="124"/>
                  </a:lnTo>
                  <a:lnTo>
                    <a:pt x="997" y="124"/>
                  </a:lnTo>
                  <a:lnTo>
                    <a:pt x="1001" y="124"/>
                  </a:lnTo>
                  <a:lnTo>
                    <a:pt x="1005" y="124"/>
                  </a:lnTo>
                  <a:lnTo>
                    <a:pt x="1001" y="124"/>
                  </a:lnTo>
                  <a:lnTo>
                    <a:pt x="1001" y="128"/>
                  </a:lnTo>
                  <a:lnTo>
                    <a:pt x="1005" y="128"/>
                  </a:lnTo>
                  <a:lnTo>
                    <a:pt x="1009" y="128"/>
                  </a:lnTo>
                  <a:lnTo>
                    <a:pt x="1005" y="128"/>
                  </a:lnTo>
                  <a:lnTo>
                    <a:pt x="1005" y="132"/>
                  </a:lnTo>
                  <a:lnTo>
                    <a:pt x="1001" y="132"/>
                  </a:lnTo>
                  <a:lnTo>
                    <a:pt x="997" y="132"/>
                  </a:lnTo>
                  <a:lnTo>
                    <a:pt x="993" y="128"/>
                  </a:lnTo>
                  <a:lnTo>
                    <a:pt x="989" y="128"/>
                  </a:lnTo>
                  <a:lnTo>
                    <a:pt x="985" y="128"/>
                  </a:lnTo>
                  <a:lnTo>
                    <a:pt x="985" y="124"/>
                  </a:lnTo>
                  <a:lnTo>
                    <a:pt x="981" y="124"/>
                  </a:lnTo>
                  <a:lnTo>
                    <a:pt x="977" y="124"/>
                  </a:lnTo>
                  <a:lnTo>
                    <a:pt x="969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57" y="124"/>
                  </a:lnTo>
                  <a:lnTo>
                    <a:pt x="949" y="124"/>
                  </a:lnTo>
                  <a:lnTo>
                    <a:pt x="949" y="128"/>
                  </a:lnTo>
                  <a:lnTo>
                    <a:pt x="953" y="124"/>
                  </a:lnTo>
                  <a:lnTo>
                    <a:pt x="957" y="124"/>
                  </a:lnTo>
                  <a:lnTo>
                    <a:pt x="961" y="124"/>
                  </a:lnTo>
                  <a:lnTo>
                    <a:pt x="965" y="128"/>
                  </a:lnTo>
                  <a:lnTo>
                    <a:pt x="969" y="128"/>
                  </a:lnTo>
                  <a:lnTo>
                    <a:pt x="973" y="128"/>
                  </a:lnTo>
                  <a:lnTo>
                    <a:pt x="977" y="128"/>
                  </a:lnTo>
                  <a:lnTo>
                    <a:pt x="981" y="128"/>
                  </a:lnTo>
                  <a:lnTo>
                    <a:pt x="977" y="128"/>
                  </a:lnTo>
                  <a:lnTo>
                    <a:pt x="973" y="128"/>
                  </a:lnTo>
                  <a:lnTo>
                    <a:pt x="969" y="128"/>
                  </a:lnTo>
                  <a:lnTo>
                    <a:pt x="965" y="128"/>
                  </a:lnTo>
                  <a:lnTo>
                    <a:pt x="961" y="128"/>
                  </a:lnTo>
                  <a:lnTo>
                    <a:pt x="961" y="132"/>
                  </a:lnTo>
                  <a:lnTo>
                    <a:pt x="957" y="132"/>
                  </a:lnTo>
                  <a:lnTo>
                    <a:pt x="957" y="128"/>
                  </a:lnTo>
                  <a:lnTo>
                    <a:pt x="953" y="128"/>
                  </a:lnTo>
                  <a:lnTo>
                    <a:pt x="949" y="128"/>
                  </a:lnTo>
                  <a:lnTo>
                    <a:pt x="945" y="128"/>
                  </a:lnTo>
                  <a:lnTo>
                    <a:pt x="941" y="128"/>
                  </a:lnTo>
                  <a:lnTo>
                    <a:pt x="945" y="128"/>
                  </a:lnTo>
                  <a:lnTo>
                    <a:pt x="949" y="128"/>
                  </a:lnTo>
                  <a:lnTo>
                    <a:pt x="953" y="128"/>
                  </a:lnTo>
                  <a:lnTo>
                    <a:pt x="957" y="128"/>
                  </a:lnTo>
                  <a:lnTo>
                    <a:pt x="957" y="132"/>
                  </a:lnTo>
                  <a:lnTo>
                    <a:pt x="953" y="132"/>
                  </a:lnTo>
                  <a:lnTo>
                    <a:pt x="953" y="136"/>
                  </a:lnTo>
                  <a:lnTo>
                    <a:pt x="949" y="136"/>
                  </a:lnTo>
                  <a:lnTo>
                    <a:pt x="949" y="140"/>
                  </a:lnTo>
                  <a:lnTo>
                    <a:pt x="949" y="136"/>
                  </a:lnTo>
                  <a:lnTo>
                    <a:pt x="953" y="136"/>
                  </a:lnTo>
                  <a:lnTo>
                    <a:pt x="953" y="132"/>
                  </a:lnTo>
                  <a:lnTo>
                    <a:pt x="957" y="132"/>
                  </a:lnTo>
                  <a:lnTo>
                    <a:pt x="961" y="132"/>
                  </a:lnTo>
                  <a:lnTo>
                    <a:pt x="965" y="132"/>
                  </a:lnTo>
                  <a:lnTo>
                    <a:pt x="969" y="132"/>
                  </a:lnTo>
                  <a:lnTo>
                    <a:pt x="973" y="132"/>
                  </a:lnTo>
                  <a:lnTo>
                    <a:pt x="977" y="132"/>
                  </a:lnTo>
                  <a:lnTo>
                    <a:pt x="985" y="132"/>
                  </a:lnTo>
                  <a:lnTo>
                    <a:pt x="989" y="132"/>
                  </a:lnTo>
                  <a:lnTo>
                    <a:pt x="985" y="132"/>
                  </a:lnTo>
                  <a:lnTo>
                    <a:pt x="981" y="132"/>
                  </a:lnTo>
                  <a:lnTo>
                    <a:pt x="981" y="136"/>
                  </a:lnTo>
                  <a:lnTo>
                    <a:pt x="977" y="136"/>
                  </a:lnTo>
                  <a:lnTo>
                    <a:pt x="981" y="136"/>
                  </a:lnTo>
                  <a:lnTo>
                    <a:pt x="985" y="136"/>
                  </a:lnTo>
                  <a:lnTo>
                    <a:pt x="993" y="136"/>
                  </a:lnTo>
                  <a:lnTo>
                    <a:pt x="997" y="136"/>
                  </a:lnTo>
                  <a:lnTo>
                    <a:pt x="1001" y="136"/>
                  </a:lnTo>
                  <a:lnTo>
                    <a:pt x="1001" y="140"/>
                  </a:lnTo>
                  <a:lnTo>
                    <a:pt x="1001" y="144"/>
                  </a:lnTo>
                  <a:lnTo>
                    <a:pt x="997" y="144"/>
                  </a:lnTo>
                  <a:lnTo>
                    <a:pt x="993" y="144"/>
                  </a:lnTo>
                  <a:lnTo>
                    <a:pt x="993" y="148"/>
                  </a:lnTo>
                  <a:lnTo>
                    <a:pt x="985" y="148"/>
                  </a:lnTo>
                  <a:lnTo>
                    <a:pt x="981" y="144"/>
                  </a:lnTo>
                  <a:lnTo>
                    <a:pt x="977" y="144"/>
                  </a:lnTo>
                  <a:lnTo>
                    <a:pt x="973" y="144"/>
                  </a:lnTo>
                  <a:lnTo>
                    <a:pt x="973" y="148"/>
                  </a:lnTo>
                  <a:lnTo>
                    <a:pt x="977" y="148"/>
                  </a:lnTo>
                  <a:lnTo>
                    <a:pt x="981" y="148"/>
                  </a:lnTo>
                  <a:lnTo>
                    <a:pt x="985" y="148"/>
                  </a:lnTo>
                  <a:lnTo>
                    <a:pt x="989" y="148"/>
                  </a:lnTo>
                  <a:lnTo>
                    <a:pt x="993" y="148"/>
                  </a:lnTo>
                  <a:lnTo>
                    <a:pt x="997" y="152"/>
                  </a:lnTo>
                  <a:lnTo>
                    <a:pt x="993" y="152"/>
                  </a:lnTo>
                  <a:lnTo>
                    <a:pt x="993" y="156"/>
                  </a:lnTo>
                  <a:lnTo>
                    <a:pt x="989" y="156"/>
                  </a:lnTo>
                  <a:lnTo>
                    <a:pt x="985" y="156"/>
                  </a:lnTo>
                  <a:lnTo>
                    <a:pt x="981" y="156"/>
                  </a:lnTo>
                  <a:lnTo>
                    <a:pt x="977" y="156"/>
                  </a:lnTo>
                  <a:lnTo>
                    <a:pt x="973" y="156"/>
                  </a:lnTo>
                  <a:lnTo>
                    <a:pt x="969" y="156"/>
                  </a:lnTo>
                  <a:lnTo>
                    <a:pt x="973" y="156"/>
                  </a:lnTo>
                  <a:lnTo>
                    <a:pt x="977" y="156"/>
                  </a:lnTo>
                  <a:lnTo>
                    <a:pt x="985" y="156"/>
                  </a:lnTo>
                  <a:lnTo>
                    <a:pt x="989" y="156"/>
                  </a:lnTo>
                  <a:lnTo>
                    <a:pt x="989" y="160"/>
                  </a:lnTo>
                  <a:lnTo>
                    <a:pt x="985" y="160"/>
                  </a:lnTo>
                  <a:lnTo>
                    <a:pt x="985" y="164"/>
                  </a:lnTo>
                  <a:lnTo>
                    <a:pt x="981" y="160"/>
                  </a:lnTo>
                  <a:lnTo>
                    <a:pt x="977" y="160"/>
                  </a:lnTo>
                  <a:lnTo>
                    <a:pt x="977" y="164"/>
                  </a:lnTo>
                  <a:lnTo>
                    <a:pt x="973" y="164"/>
                  </a:lnTo>
                  <a:lnTo>
                    <a:pt x="969" y="164"/>
                  </a:lnTo>
                  <a:lnTo>
                    <a:pt x="965" y="164"/>
                  </a:lnTo>
                  <a:lnTo>
                    <a:pt x="957" y="164"/>
                  </a:lnTo>
                  <a:lnTo>
                    <a:pt x="953" y="164"/>
                  </a:lnTo>
                  <a:lnTo>
                    <a:pt x="949" y="164"/>
                  </a:lnTo>
                  <a:lnTo>
                    <a:pt x="949" y="160"/>
                  </a:lnTo>
                  <a:lnTo>
                    <a:pt x="945" y="164"/>
                  </a:lnTo>
                  <a:lnTo>
                    <a:pt x="949" y="164"/>
                  </a:lnTo>
                  <a:lnTo>
                    <a:pt x="949" y="168"/>
                  </a:lnTo>
                  <a:lnTo>
                    <a:pt x="953" y="168"/>
                  </a:lnTo>
                  <a:lnTo>
                    <a:pt x="953" y="171"/>
                  </a:lnTo>
                  <a:lnTo>
                    <a:pt x="957" y="171"/>
                  </a:lnTo>
                  <a:lnTo>
                    <a:pt x="953" y="175"/>
                  </a:lnTo>
                  <a:lnTo>
                    <a:pt x="949" y="179"/>
                  </a:lnTo>
                  <a:lnTo>
                    <a:pt x="941" y="183"/>
                  </a:lnTo>
                  <a:lnTo>
                    <a:pt x="941" y="179"/>
                  </a:lnTo>
                  <a:lnTo>
                    <a:pt x="937" y="179"/>
                  </a:lnTo>
                  <a:lnTo>
                    <a:pt x="937" y="183"/>
                  </a:lnTo>
                  <a:lnTo>
                    <a:pt x="933" y="183"/>
                  </a:lnTo>
                  <a:lnTo>
                    <a:pt x="929" y="183"/>
                  </a:lnTo>
                  <a:lnTo>
                    <a:pt x="925" y="183"/>
                  </a:lnTo>
                  <a:lnTo>
                    <a:pt x="921" y="183"/>
                  </a:lnTo>
                  <a:lnTo>
                    <a:pt x="917" y="183"/>
                  </a:lnTo>
                  <a:lnTo>
                    <a:pt x="913" y="179"/>
                  </a:lnTo>
                  <a:lnTo>
                    <a:pt x="909" y="179"/>
                  </a:lnTo>
                  <a:lnTo>
                    <a:pt x="905" y="179"/>
                  </a:lnTo>
                  <a:lnTo>
                    <a:pt x="901" y="179"/>
                  </a:lnTo>
                  <a:lnTo>
                    <a:pt x="901" y="175"/>
                  </a:lnTo>
                  <a:lnTo>
                    <a:pt x="897" y="175"/>
                  </a:lnTo>
                  <a:lnTo>
                    <a:pt x="893" y="171"/>
                  </a:lnTo>
                  <a:lnTo>
                    <a:pt x="897" y="175"/>
                  </a:lnTo>
                  <a:lnTo>
                    <a:pt x="897" y="179"/>
                  </a:lnTo>
                  <a:lnTo>
                    <a:pt x="901" y="179"/>
                  </a:lnTo>
                  <a:lnTo>
                    <a:pt x="905" y="179"/>
                  </a:lnTo>
                  <a:lnTo>
                    <a:pt x="905" y="183"/>
                  </a:lnTo>
                  <a:lnTo>
                    <a:pt x="901" y="183"/>
                  </a:lnTo>
                  <a:lnTo>
                    <a:pt x="893" y="183"/>
                  </a:lnTo>
                  <a:lnTo>
                    <a:pt x="889" y="183"/>
                  </a:lnTo>
                  <a:lnTo>
                    <a:pt x="893" y="183"/>
                  </a:lnTo>
                  <a:lnTo>
                    <a:pt x="893" y="187"/>
                  </a:lnTo>
                  <a:lnTo>
                    <a:pt x="897" y="187"/>
                  </a:lnTo>
                  <a:lnTo>
                    <a:pt x="897" y="183"/>
                  </a:lnTo>
                  <a:lnTo>
                    <a:pt x="901" y="183"/>
                  </a:lnTo>
                  <a:lnTo>
                    <a:pt x="905" y="183"/>
                  </a:lnTo>
                  <a:lnTo>
                    <a:pt x="909" y="183"/>
                  </a:lnTo>
                  <a:lnTo>
                    <a:pt x="913" y="183"/>
                  </a:lnTo>
                  <a:lnTo>
                    <a:pt x="917" y="183"/>
                  </a:lnTo>
                  <a:lnTo>
                    <a:pt x="921" y="183"/>
                  </a:lnTo>
                  <a:lnTo>
                    <a:pt x="921" y="187"/>
                  </a:lnTo>
                  <a:lnTo>
                    <a:pt x="917" y="187"/>
                  </a:lnTo>
                  <a:lnTo>
                    <a:pt x="921" y="187"/>
                  </a:lnTo>
                  <a:lnTo>
                    <a:pt x="925" y="183"/>
                  </a:lnTo>
                  <a:lnTo>
                    <a:pt x="929" y="183"/>
                  </a:lnTo>
                  <a:lnTo>
                    <a:pt x="933" y="183"/>
                  </a:lnTo>
                  <a:lnTo>
                    <a:pt x="937" y="187"/>
                  </a:lnTo>
                  <a:lnTo>
                    <a:pt x="937" y="191"/>
                  </a:lnTo>
                  <a:lnTo>
                    <a:pt x="933" y="191"/>
                  </a:lnTo>
                  <a:lnTo>
                    <a:pt x="933" y="195"/>
                  </a:lnTo>
                  <a:lnTo>
                    <a:pt x="933" y="191"/>
                  </a:lnTo>
                  <a:lnTo>
                    <a:pt x="937" y="191"/>
                  </a:lnTo>
                  <a:lnTo>
                    <a:pt x="941" y="195"/>
                  </a:lnTo>
                  <a:lnTo>
                    <a:pt x="945" y="195"/>
                  </a:lnTo>
                  <a:lnTo>
                    <a:pt x="945" y="191"/>
                  </a:lnTo>
                  <a:lnTo>
                    <a:pt x="949" y="191"/>
                  </a:lnTo>
                  <a:lnTo>
                    <a:pt x="953" y="191"/>
                  </a:lnTo>
                  <a:lnTo>
                    <a:pt x="957" y="199"/>
                  </a:lnTo>
                  <a:lnTo>
                    <a:pt x="957" y="203"/>
                  </a:lnTo>
                  <a:lnTo>
                    <a:pt x="953" y="203"/>
                  </a:lnTo>
                  <a:lnTo>
                    <a:pt x="949" y="203"/>
                  </a:lnTo>
                  <a:lnTo>
                    <a:pt x="949" y="207"/>
                  </a:lnTo>
                  <a:lnTo>
                    <a:pt x="945" y="207"/>
                  </a:lnTo>
                  <a:lnTo>
                    <a:pt x="945" y="203"/>
                  </a:lnTo>
                  <a:lnTo>
                    <a:pt x="941" y="203"/>
                  </a:lnTo>
                  <a:lnTo>
                    <a:pt x="941" y="207"/>
                  </a:lnTo>
                  <a:lnTo>
                    <a:pt x="937" y="207"/>
                  </a:lnTo>
                  <a:lnTo>
                    <a:pt x="933" y="207"/>
                  </a:lnTo>
                  <a:lnTo>
                    <a:pt x="933" y="211"/>
                  </a:lnTo>
                  <a:lnTo>
                    <a:pt x="929" y="211"/>
                  </a:lnTo>
                  <a:lnTo>
                    <a:pt x="925" y="211"/>
                  </a:lnTo>
                  <a:lnTo>
                    <a:pt x="925" y="215"/>
                  </a:lnTo>
                  <a:lnTo>
                    <a:pt x="921" y="215"/>
                  </a:lnTo>
                  <a:lnTo>
                    <a:pt x="917" y="215"/>
                  </a:lnTo>
                  <a:lnTo>
                    <a:pt x="913" y="215"/>
                  </a:lnTo>
                  <a:lnTo>
                    <a:pt x="909" y="215"/>
                  </a:lnTo>
                  <a:lnTo>
                    <a:pt x="905" y="215"/>
                  </a:lnTo>
                  <a:lnTo>
                    <a:pt x="909" y="211"/>
                  </a:lnTo>
                  <a:lnTo>
                    <a:pt x="913" y="207"/>
                  </a:lnTo>
                  <a:lnTo>
                    <a:pt x="909" y="207"/>
                  </a:lnTo>
                  <a:lnTo>
                    <a:pt x="905" y="207"/>
                  </a:lnTo>
                  <a:lnTo>
                    <a:pt x="905" y="203"/>
                  </a:lnTo>
                  <a:lnTo>
                    <a:pt x="901" y="207"/>
                  </a:lnTo>
                  <a:lnTo>
                    <a:pt x="897" y="207"/>
                  </a:lnTo>
                  <a:lnTo>
                    <a:pt x="893" y="207"/>
                  </a:lnTo>
                  <a:lnTo>
                    <a:pt x="893" y="203"/>
                  </a:lnTo>
                  <a:lnTo>
                    <a:pt x="897" y="203"/>
                  </a:lnTo>
                  <a:lnTo>
                    <a:pt x="897" y="199"/>
                  </a:lnTo>
                  <a:lnTo>
                    <a:pt x="893" y="199"/>
                  </a:lnTo>
                  <a:lnTo>
                    <a:pt x="893" y="203"/>
                  </a:lnTo>
                  <a:lnTo>
                    <a:pt x="889" y="203"/>
                  </a:lnTo>
                  <a:lnTo>
                    <a:pt x="885" y="203"/>
                  </a:lnTo>
                  <a:lnTo>
                    <a:pt x="885" y="199"/>
                  </a:lnTo>
                  <a:lnTo>
                    <a:pt x="881" y="195"/>
                  </a:lnTo>
                  <a:lnTo>
                    <a:pt x="881" y="199"/>
                  </a:lnTo>
                  <a:lnTo>
                    <a:pt x="885" y="199"/>
                  </a:lnTo>
                  <a:lnTo>
                    <a:pt x="885" y="203"/>
                  </a:lnTo>
                  <a:lnTo>
                    <a:pt x="889" y="203"/>
                  </a:lnTo>
                  <a:lnTo>
                    <a:pt x="889" y="207"/>
                  </a:lnTo>
                  <a:lnTo>
                    <a:pt x="885" y="207"/>
                  </a:lnTo>
                  <a:lnTo>
                    <a:pt x="881" y="211"/>
                  </a:lnTo>
                  <a:lnTo>
                    <a:pt x="881" y="207"/>
                  </a:lnTo>
                  <a:lnTo>
                    <a:pt x="877" y="207"/>
                  </a:lnTo>
                  <a:lnTo>
                    <a:pt x="877" y="203"/>
                  </a:lnTo>
                  <a:lnTo>
                    <a:pt x="873" y="203"/>
                  </a:lnTo>
                  <a:lnTo>
                    <a:pt x="873" y="199"/>
                  </a:lnTo>
                  <a:lnTo>
                    <a:pt x="869" y="199"/>
                  </a:lnTo>
                  <a:lnTo>
                    <a:pt x="873" y="203"/>
                  </a:lnTo>
                  <a:lnTo>
                    <a:pt x="873" y="207"/>
                  </a:lnTo>
                  <a:lnTo>
                    <a:pt x="869" y="207"/>
                  </a:lnTo>
                  <a:lnTo>
                    <a:pt x="865" y="207"/>
                  </a:lnTo>
                  <a:lnTo>
                    <a:pt x="861" y="207"/>
                  </a:lnTo>
                  <a:lnTo>
                    <a:pt x="861" y="203"/>
                  </a:lnTo>
                  <a:lnTo>
                    <a:pt x="857" y="203"/>
                  </a:lnTo>
                  <a:lnTo>
                    <a:pt x="857" y="207"/>
                  </a:lnTo>
                  <a:lnTo>
                    <a:pt x="861" y="207"/>
                  </a:lnTo>
                  <a:lnTo>
                    <a:pt x="857" y="207"/>
                  </a:lnTo>
                  <a:lnTo>
                    <a:pt x="853" y="207"/>
                  </a:lnTo>
                  <a:lnTo>
                    <a:pt x="849" y="207"/>
                  </a:lnTo>
                  <a:lnTo>
                    <a:pt x="849" y="203"/>
                  </a:lnTo>
                  <a:lnTo>
                    <a:pt x="845" y="203"/>
                  </a:lnTo>
                  <a:lnTo>
                    <a:pt x="845" y="207"/>
                  </a:lnTo>
                  <a:lnTo>
                    <a:pt x="849" y="207"/>
                  </a:lnTo>
                  <a:lnTo>
                    <a:pt x="857" y="211"/>
                  </a:lnTo>
                  <a:lnTo>
                    <a:pt x="853" y="211"/>
                  </a:lnTo>
                  <a:lnTo>
                    <a:pt x="849" y="211"/>
                  </a:lnTo>
                  <a:lnTo>
                    <a:pt x="845" y="211"/>
                  </a:lnTo>
                  <a:lnTo>
                    <a:pt x="841" y="211"/>
                  </a:lnTo>
                  <a:lnTo>
                    <a:pt x="837" y="211"/>
                  </a:lnTo>
                  <a:lnTo>
                    <a:pt x="833" y="211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07"/>
                  </a:lnTo>
                  <a:lnTo>
                    <a:pt x="829" y="207"/>
                  </a:lnTo>
                  <a:lnTo>
                    <a:pt x="825" y="203"/>
                  </a:lnTo>
                  <a:lnTo>
                    <a:pt x="821" y="203"/>
                  </a:lnTo>
                  <a:lnTo>
                    <a:pt x="825" y="203"/>
                  </a:lnTo>
                  <a:lnTo>
                    <a:pt x="825" y="207"/>
                  </a:lnTo>
                  <a:lnTo>
                    <a:pt x="821" y="207"/>
                  </a:lnTo>
                  <a:lnTo>
                    <a:pt x="821" y="211"/>
                  </a:lnTo>
                  <a:lnTo>
                    <a:pt x="817" y="211"/>
                  </a:lnTo>
                  <a:lnTo>
                    <a:pt x="813" y="207"/>
                  </a:lnTo>
                  <a:lnTo>
                    <a:pt x="809" y="207"/>
                  </a:lnTo>
                  <a:lnTo>
                    <a:pt x="809" y="203"/>
                  </a:lnTo>
                  <a:lnTo>
                    <a:pt x="809" y="207"/>
                  </a:lnTo>
                  <a:lnTo>
                    <a:pt x="809" y="211"/>
                  </a:lnTo>
                  <a:lnTo>
                    <a:pt x="805" y="211"/>
                  </a:lnTo>
                  <a:lnTo>
                    <a:pt x="805" y="207"/>
                  </a:lnTo>
                  <a:lnTo>
                    <a:pt x="805" y="211"/>
                  </a:lnTo>
                  <a:lnTo>
                    <a:pt x="801" y="211"/>
                  </a:lnTo>
                  <a:lnTo>
                    <a:pt x="797" y="211"/>
                  </a:lnTo>
                  <a:lnTo>
                    <a:pt x="794" y="207"/>
                  </a:lnTo>
                  <a:lnTo>
                    <a:pt x="797" y="207"/>
                  </a:lnTo>
                  <a:lnTo>
                    <a:pt x="794" y="203"/>
                  </a:lnTo>
                  <a:lnTo>
                    <a:pt x="794" y="199"/>
                  </a:lnTo>
                  <a:lnTo>
                    <a:pt x="794" y="195"/>
                  </a:lnTo>
                  <a:lnTo>
                    <a:pt x="790" y="199"/>
                  </a:lnTo>
                  <a:lnTo>
                    <a:pt x="794" y="199"/>
                  </a:lnTo>
                  <a:lnTo>
                    <a:pt x="794" y="203"/>
                  </a:lnTo>
                  <a:lnTo>
                    <a:pt x="794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03"/>
                  </a:lnTo>
                  <a:lnTo>
                    <a:pt x="790" y="203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82" y="207"/>
                  </a:lnTo>
                  <a:lnTo>
                    <a:pt x="778" y="203"/>
                  </a:lnTo>
                  <a:lnTo>
                    <a:pt x="782" y="199"/>
                  </a:lnTo>
                  <a:lnTo>
                    <a:pt x="778" y="199"/>
                  </a:lnTo>
                  <a:lnTo>
                    <a:pt x="778" y="195"/>
                  </a:lnTo>
                  <a:lnTo>
                    <a:pt x="782" y="195"/>
                  </a:lnTo>
                  <a:lnTo>
                    <a:pt x="786" y="195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87"/>
                  </a:lnTo>
                  <a:lnTo>
                    <a:pt x="797" y="187"/>
                  </a:lnTo>
                  <a:lnTo>
                    <a:pt x="801" y="187"/>
                  </a:lnTo>
                  <a:lnTo>
                    <a:pt x="805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17" y="187"/>
                  </a:lnTo>
                  <a:lnTo>
                    <a:pt x="821" y="187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3" y="179"/>
                  </a:lnTo>
                  <a:lnTo>
                    <a:pt x="817" y="179"/>
                  </a:lnTo>
                  <a:lnTo>
                    <a:pt x="813" y="179"/>
                  </a:lnTo>
                  <a:lnTo>
                    <a:pt x="809" y="179"/>
                  </a:lnTo>
                  <a:lnTo>
                    <a:pt x="805" y="179"/>
                  </a:lnTo>
                  <a:lnTo>
                    <a:pt x="805" y="175"/>
                  </a:lnTo>
                  <a:lnTo>
                    <a:pt x="801" y="171"/>
                  </a:lnTo>
                  <a:lnTo>
                    <a:pt x="797" y="171"/>
                  </a:lnTo>
                  <a:lnTo>
                    <a:pt x="797" y="168"/>
                  </a:lnTo>
                  <a:lnTo>
                    <a:pt x="801" y="168"/>
                  </a:lnTo>
                  <a:lnTo>
                    <a:pt x="805" y="168"/>
                  </a:lnTo>
                  <a:lnTo>
                    <a:pt x="805" y="164"/>
                  </a:lnTo>
                  <a:lnTo>
                    <a:pt x="813" y="164"/>
                  </a:lnTo>
                  <a:lnTo>
                    <a:pt x="817" y="164"/>
                  </a:lnTo>
                  <a:lnTo>
                    <a:pt x="821" y="164"/>
                  </a:lnTo>
                  <a:lnTo>
                    <a:pt x="825" y="168"/>
                  </a:lnTo>
                  <a:lnTo>
                    <a:pt x="829" y="168"/>
                  </a:lnTo>
                  <a:lnTo>
                    <a:pt x="833" y="171"/>
                  </a:lnTo>
                  <a:lnTo>
                    <a:pt x="837" y="175"/>
                  </a:lnTo>
                  <a:lnTo>
                    <a:pt x="837" y="179"/>
                  </a:lnTo>
                  <a:lnTo>
                    <a:pt x="833" y="179"/>
                  </a:lnTo>
                  <a:lnTo>
                    <a:pt x="837" y="179"/>
                  </a:lnTo>
                  <a:lnTo>
                    <a:pt x="837" y="175"/>
                  </a:lnTo>
                  <a:lnTo>
                    <a:pt x="841" y="179"/>
                  </a:lnTo>
                  <a:lnTo>
                    <a:pt x="845" y="179"/>
                  </a:lnTo>
                  <a:lnTo>
                    <a:pt x="849" y="179"/>
                  </a:lnTo>
                  <a:lnTo>
                    <a:pt x="849" y="183"/>
                  </a:lnTo>
                  <a:lnTo>
                    <a:pt x="853" y="183"/>
                  </a:lnTo>
                  <a:lnTo>
                    <a:pt x="853" y="179"/>
                  </a:lnTo>
                  <a:lnTo>
                    <a:pt x="857" y="179"/>
                  </a:lnTo>
                  <a:lnTo>
                    <a:pt x="861" y="179"/>
                  </a:lnTo>
                  <a:lnTo>
                    <a:pt x="865" y="179"/>
                  </a:lnTo>
                  <a:lnTo>
                    <a:pt x="869" y="179"/>
                  </a:lnTo>
                  <a:lnTo>
                    <a:pt x="865" y="179"/>
                  </a:lnTo>
                  <a:lnTo>
                    <a:pt x="865" y="175"/>
                  </a:lnTo>
                  <a:lnTo>
                    <a:pt x="869" y="175"/>
                  </a:lnTo>
                  <a:lnTo>
                    <a:pt x="873" y="175"/>
                  </a:lnTo>
                  <a:lnTo>
                    <a:pt x="877" y="171"/>
                  </a:lnTo>
                  <a:lnTo>
                    <a:pt x="881" y="168"/>
                  </a:lnTo>
                  <a:lnTo>
                    <a:pt x="885" y="164"/>
                  </a:lnTo>
                  <a:lnTo>
                    <a:pt x="885" y="160"/>
                  </a:lnTo>
                  <a:lnTo>
                    <a:pt x="889" y="160"/>
                  </a:lnTo>
                  <a:lnTo>
                    <a:pt x="885" y="160"/>
                  </a:lnTo>
                  <a:lnTo>
                    <a:pt x="881" y="160"/>
                  </a:lnTo>
                  <a:lnTo>
                    <a:pt x="881" y="164"/>
                  </a:lnTo>
                  <a:lnTo>
                    <a:pt x="877" y="164"/>
                  </a:lnTo>
                  <a:lnTo>
                    <a:pt x="877" y="168"/>
                  </a:lnTo>
                  <a:lnTo>
                    <a:pt x="873" y="168"/>
                  </a:lnTo>
                  <a:lnTo>
                    <a:pt x="873" y="171"/>
                  </a:lnTo>
                  <a:lnTo>
                    <a:pt x="869" y="171"/>
                  </a:lnTo>
                  <a:lnTo>
                    <a:pt x="869" y="175"/>
                  </a:lnTo>
                  <a:lnTo>
                    <a:pt x="865" y="175"/>
                  </a:lnTo>
                  <a:lnTo>
                    <a:pt x="861" y="175"/>
                  </a:lnTo>
                  <a:lnTo>
                    <a:pt x="857" y="175"/>
                  </a:lnTo>
                  <a:lnTo>
                    <a:pt x="853" y="175"/>
                  </a:lnTo>
                  <a:lnTo>
                    <a:pt x="849" y="175"/>
                  </a:lnTo>
                  <a:lnTo>
                    <a:pt x="849" y="171"/>
                  </a:lnTo>
                  <a:lnTo>
                    <a:pt x="853" y="171"/>
                  </a:lnTo>
                  <a:lnTo>
                    <a:pt x="857" y="171"/>
                  </a:lnTo>
                  <a:lnTo>
                    <a:pt x="853" y="168"/>
                  </a:lnTo>
                  <a:lnTo>
                    <a:pt x="853" y="171"/>
                  </a:lnTo>
                  <a:lnTo>
                    <a:pt x="849" y="171"/>
                  </a:lnTo>
                  <a:lnTo>
                    <a:pt x="845" y="171"/>
                  </a:lnTo>
                  <a:lnTo>
                    <a:pt x="841" y="171"/>
                  </a:lnTo>
                  <a:lnTo>
                    <a:pt x="841" y="168"/>
                  </a:lnTo>
                  <a:lnTo>
                    <a:pt x="845" y="168"/>
                  </a:lnTo>
                  <a:lnTo>
                    <a:pt x="841" y="168"/>
                  </a:lnTo>
                  <a:lnTo>
                    <a:pt x="841" y="164"/>
                  </a:lnTo>
                  <a:lnTo>
                    <a:pt x="845" y="164"/>
                  </a:lnTo>
                  <a:lnTo>
                    <a:pt x="849" y="164"/>
                  </a:lnTo>
                  <a:lnTo>
                    <a:pt x="853" y="164"/>
                  </a:lnTo>
                  <a:lnTo>
                    <a:pt x="857" y="164"/>
                  </a:lnTo>
                  <a:lnTo>
                    <a:pt x="853" y="164"/>
                  </a:lnTo>
                  <a:lnTo>
                    <a:pt x="849" y="164"/>
                  </a:lnTo>
                  <a:lnTo>
                    <a:pt x="845" y="164"/>
                  </a:lnTo>
                  <a:lnTo>
                    <a:pt x="841" y="164"/>
                  </a:lnTo>
                  <a:lnTo>
                    <a:pt x="837" y="164"/>
                  </a:lnTo>
                  <a:lnTo>
                    <a:pt x="841" y="160"/>
                  </a:lnTo>
                  <a:lnTo>
                    <a:pt x="845" y="160"/>
                  </a:lnTo>
                  <a:lnTo>
                    <a:pt x="849" y="160"/>
                  </a:lnTo>
                  <a:lnTo>
                    <a:pt x="853" y="160"/>
                  </a:lnTo>
                  <a:lnTo>
                    <a:pt x="857" y="160"/>
                  </a:lnTo>
                  <a:lnTo>
                    <a:pt x="853" y="160"/>
                  </a:lnTo>
                  <a:lnTo>
                    <a:pt x="849" y="160"/>
                  </a:lnTo>
                  <a:lnTo>
                    <a:pt x="845" y="160"/>
                  </a:lnTo>
                  <a:lnTo>
                    <a:pt x="845" y="156"/>
                  </a:lnTo>
                  <a:lnTo>
                    <a:pt x="849" y="156"/>
                  </a:lnTo>
                  <a:lnTo>
                    <a:pt x="853" y="156"/>
                  </a:lnTo>
                  <a:lnTo>
                    <a:pt x="857" y="156"/>
                  </a:lnTo>
                  <a:lnTo>
                    <a:pt x="861" y="156"/>
                  </a:lnTo>
                  <a:lnTo>
                    <a:pt x="857" y="156"/>
                  </a:lnTo>
                  <a:lnTo>
                    <a:pt x="853" y="156"/>
                  </a:lnTo>
                  <a:lnTo>
                    <a:pt x="849" y="156"/>
                  </a:lnTo>
                  <a:lnTo>
                    <a:pt x="849" y="152"/>
                  </a:lnTo>
                  <a:lnTo>
                    <a:pt x="853" y="152"/>
                  </a:lnTo>
                  <a:lnTo>
                    <a:pt x="849" y="152"/>
                  </a:lnTo>
                  <a:lnTo>
                    <a:pt x="849" y="148"/>
                  </a:lnTo>
                  <a:lnTo>
                    <a:pt x="849" y="144"/>
                  </a:lnTo>
                  <a:lnTo>
                    <a:pt x="853" y="144"/>
                  </a:lnTo>
                  <a:lnTo>
                    <a:pt x="849" y="148"/>
                  </a:lnTo>
                  <a:lnTo>
                    <a:pt x="849" y="152"/>
                  </a:lnTo>
                  <a:lnTo>
                    <a:pt x="845" y="152"/>
                  </a:lnTo>
                  <a:lnTo>
                    <a:pt x="845" y="156"/>
                  </a:lnTo>
                  <a:lnTo>
                    <a:pt x="841" y="160"/>
                  </a:lnTo>
                  <a:lnTo>
                    <a:pt x="837" y="160"/>
                  </a:lnTo>
                  <a:lnTo>
                    <a:pt x="833" y="160"/>
                  </a:lnTo>
                  <a:lnTo>
                    <a:pt x="829" y="160"/>
                  </a:lnTo>
                  <a:lnTo>
                    <a:pt x="829" y="156"/>
                  </a:lnTo>
                  <a:lnTo>
                    <a:pt x="833" y="156"/>
                  </a:lnTo>
                  <a:lnTo>
                    <a:pt x="833" y="152"/>
                  </a:lnTo>
                  <a:lnTo>
                    <a:pt x="829" y="152"/>
                  </a:lnTo>
                  <a:lnTo>
                    <a:pt x="829" y="156"/>
                  </a:lnTo>
                  <a:lnTo>
                    <a:pt x="825" y="156"/>
                  </a:lnTo>
                  <a:lnTo>
                    <a:pt x="821" y="156"/>
                  </a:lnTo>
                  <a:lnTo>
                    <a:pt x="821" y="160"/>
                  </a:lnTo>
                  <a:lnTo>
                    <a:pt x="817" y="160"/>
                  </a:lnTo>
                  <a:lnTo>
                    <a:pt x="813" y="160"/>
                  </a:lnTo>
                  <a:lnTo>
                    <a:pt x="809" y="160"/>
                  </a:lnTo>
                  <a:lnTo>
                    <a:pt x="809" y="156"/>
                  </a:lnTo>
                  <a:lnTo>
                    <a:pt x="813" y="156"/>
                  </a:lnTo>
                  <a:lnTo>
                    <a:pt x="809" y="156"/>
                  </a:lnTo>
                  <a:lnTo>
                    <a:pt x="809" y="152"/>
                  </a:lnTo>
                  <a:lnTo>
                    <a:pt x="809" y="148"/>
                  </a:lnTo>
                  <a:lnTo>
                    <a:pt x="813" y="148"/>
                  </a:lnTo>
                  <a:lnTo>
                    <a:pt x="813" y="144"/>
                  </a:lnTo>
                  <a:lnTo>
                    <a:pt x="817" y="144"/>
                  </a:lnTo>
                  <a:lnTo>
                    <a:pt x="813" y="144"/>
                  </a:lnTo>
                  <a:lnTo>
                    <a:pt x="817" y="140"/>
                  </a:lnTo>
                  <a:lnTo>
                    <a:pt x="821" y="136"/>
                  </a:lnTo>
                  <a:lnTo>
                    <a:pt x="825" y="136"/>
                  </a:lnTo>
                  <a:lnTo>
                    <a:pt x="829" y="136"/>
                  </a:lnTo>
                  <a:lnTo>
                    <a:pt x="833" y="136"/>
                  </a:lnTo>
                  <a:lnTo>
                    <a:pt x="837" y="136"/>
                  </a:lnTo>
                  <a:lnTo>
                    <a:pt x="841" y="136"/>
                  </a:lnTo>
                  <a:lnTo>
                    <a:pt x="841" y="132"/>
                  </a:lnTo>
                  <a:lnTo>
                    <a:pt x="845" y="132"/>
                  </a:lnTo>
                  <a:lnTo>
                    <a:pt x="849" y="136"/>
                  </a:lnTo>
                  <a:lnTo>
                    <a:pt x="853" y="136"/>
                  </a:lnTo>
                  <a:lnTo>
                    <a:pt x="857" y="136"/>
                  </a:lnTo>
                  <a:lnTo>
                    <a:pt x="861" y="136"/>
                  </a:lnTo>
                  <a:lnTo>
                    <a:pt x="865" y="136"/>
                  </a:lnTo>
                  <a:lnTo>
                    <a:pt x="869" y="136"/>
                  </a:lnTo>
                  <a:lnTo>
                    <a:pt x="873" y="136"/>
                  </a:lnTo>
                  <a:lnTo>
                    <a:pt x="873" y="140"/>
                  </a:lnTo>
                  <a:lnTo>
                    <a:pt x="877" y="140"/>
                  </a:lnTo>
                  <a:lnTo>
                    <a:pt x="881" y="140"/>
                  </a:lnTo>
                  <a:lnTo>
                    <a:pt x="885" y="144"/>
                  </a:lnTo>
                  <a:lnTo>
                    <a:pt x="889" y="144"/>
                  </a:lnTo>
                  <a:lnTo>
                    <a:pt x="885" y="144"/>
                  </a:lnTo>
                  <a:lnTo>
                    <a:pt x="885" y="140"/>
                  </a:lnTo>
                  <a:lnTo>
                    <a:pt x="889" y="140"/>
                  </a:lnTo>
                  <a:lnTo>
                    <a:pt x="885" y="140"/>
                  </a:lnTo>
                  <a:lnTo>
                    <a:pt x="881" y="140"/>
                  </a:lnTo>
                  <a:lnTo>
                    <a:pt x="877" y="140"/>
                  </a:lnTo>
                  <a:lnTo>
                    <a:pt x="877" y="136"/>
                  </a:lnTo>
                  <a:lnTo>
                    <a:pt x="873" y="136"/>
                  </a:lnTo>
                  <a:lnTo>
                    <a:pt x="877" y="136"/>
                  </a:lnTo>
                  <a:lnTo>
                    <a:pt x="881" y="136"/>
                  </a:lnTo>
                  <a:lnTo>
                    <a:pt x="885" y="136"/>
                  </a:lnTo>
                  <a:lnTo>
                    <a:pt x="889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7" y="132"/>
                  </a:lnTo>
                  <a:lnTo>
                    <a:pt x="901" y="132"/>
                  </a:lnTo>
                  <a:lnTo>
                    <a:pt x="901" y="128"/>
                  </a:lnTo>
                  <a:lnTo>
                    <a:pt x="897" y="128"/>
                  </a:lnTo>
                  <a:lnTo>
                    <a:pt x="893" y="132"/>
                  </a:lnTo>
                  <a:lnTo>
                    <a:pt x="889" y="132"/>
                  </a:lnTo>
                  <a:lnTo>
                    <a:pt x="889" y="136"/>
                  </a:lnTo>
                  <a:lnTo>
                    <a:pt x="885" y="136"/>
                  </a:lnTo>
                  <a:lnTo>
                    <a:pt x="881" y="136"/>
                  </a:lnTo>
                  <a:lnTo>
                    <a:pt x="881" y="132"/>
                  </a:lnTo>
                  <a:lnTo>
                    <a:pt x="877" y="132"/>
                  </a:lnTo>
                  <a:lnTo>
                    <a:pt x="873" y="132"/>
                  </a:lnTo>
                  <a:lnTo>
                    <a:pt x="869" y="132"/>
                  </a:lnTo>
                  <a:lnTo>
                    <a:pt x="865" y="132"/>
                  </a:lnTo>
                  <a:lnTo>
                    <a:pt x="861" y="132"/>
                  </a:lnTo>
                  <a:lnTo>
                    <a:pt x="857" y="132"/>
                  </a:lnTo>
                  <a:lnTo>
                    <a:pt x="853" y="132"/>
                  </a:lnTo>
                  <a:lnTo>
                    <a:pt x="849" y="132"/>
                  </a:lnTo>
                  <a:lnTo>
                    <a:pt x="849" y="128"/>
                  </a:lnTo>
                  <a:lnTo>
                    <a:pt x="853" y="128"/>
                  </a:lnTo>
                  <a:lnTo>
                    <a:pt x="861" y="128"/>
                  </a:lnTo>
                  <a:lnTo>
                    <a:pt x="865" y="128"/>
                  </a:lnTo>
                  <a:lnTo>
                    <a:pt x="865" y="132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69" y="128"/>
                  </a:lnTo>
                  <a:lnTo>
                    <a:pt x="865" y="128"/>
                  </a:lnTo>
                  <a:lnTo>
                    <a:pt x="861" y="128"/>
                  </a:lnTo>
                  <a:lnTo>
                    <a:pt x="861" y="124"/>
                  </a:lnTo>
                  <a:lnTo>
                    <a:pt x="857" y="124"/>
                  </a:lnTo>
                  <a:lnTo>
                    <a:pt x="857" y="120"/>
                  </a:lnTo>
                  <a:lnTo>
                    <a:pt x="853" y="120"/>
                  </a:lnTo>
                  <a:lnTo>
                    <a:pt x="853" y="116"/>
                  </a:lnTo>
                  <a:lnTo>
                    <a:pt x="849" y="116"/>
                  </a:lnTo>
                  <a:lnTo>
                    <a:pt x="845" y="112"/>
                  </a:lnTo>
                  <a:lnTo>
                    <a:pt x="841" y="112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5" y="104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3" y="104"/>
                  </a:lnTo>
                  <a:lnTo>
                    <a:pt x="837" y="104"/>
                  </a:lnTo>
                  <a:lnTo>
                    <a:pt x="841" y="104"/>
                  </a:lnTo>
                  <a:lnTo>
                    <a:pt x="837" y="100"/>
                  </a:lnTo>
                  <a:lnTo>
                    <a:pt x="829" y="100"/>
                  </a:lnTo>
                  <a:lnTo>
                    <a:pt x="825" y="100"/>
                  </a:lnTo>
                  <a:lnTo>
                    <a:pt x="821" y="100"/>
                  </a:lnTo>
                  <a:lnTo>
                    <a:pt x="821" y="96"/>
                  </a:lnTo>
                  <a:lnTo>
                    <a:pt x="825" y="92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53" y="92"/>
                  </a:lnTo>
                  <a:lnTo>
                    <a:pt x="857" y="92"/>
                  </a:lnTo>
                  <a:lnTo>
                    <a:pt x="861" y="92"/>
                  </a:lnTo>
                  <a:lnTo>
                    <a:pt x="865" y="92"/>
                  </a:lnTo>
                  <a:lnTo>
                    <a:pt x="869" y="92"/>
                  </a:lnTo>
                  <a:lnTo>
                    <a:pt x="869" y="96"/>
                  </a:lnTo>
                  <a:lnTo>
                    <a:pt x="873" y="96"/>
                  </a:lnTo>
                  <a:lnTo>
                    <a:pt x="877" y="96"/>
                  </a:lnTo>
                  <a:lnTo>
                    <a:pt x="877" y="100"/>
                  </a:lnTo>
                  <a:lnTo>
                    <a:pt x="881" y="100"/>
                  </a:lnTo>
                  <a:lnTo>
                    <a:pt x="885" y="100"/>
                  </a:lnTo>
                  <a:lnTo>
                    <a:pt x="889" y="104"/>
                  </a:lnTo>
                  <a:lnTo>
                    <a:pt x="893" y="104"/>
                  </a:lnTo>
                  <a:lnTo>
                    <a:pt x="893" y="108"/>
                  </a:lnTo>
                  <a:lnTo>
                    <a:pt x="897" y="108"/>
                  </a:lnTo>
                  <a:lnTo>
                    <a:pt x="897" y="112"/>
                  </a:lnTo>
                  <a:lnTo>
                    <a:pt x="901" y="112"/>
                  </a:lnTo>
                  <a:lnTo>
                    <a:pt x="905" y="112"/>
                  </a:lnTo>
                  <a:lnTo>
                    <a:pt x="909" y="112"/>
                  </a:lnTo>
                  <a:lnTo>
                    <a:pt x="913" y="112"/>
                  </a:lnTo>
                  <a:lnTo>
                    <a:pt x="917" y="112"/>
                  </a:lnTo>
                  <a:lnTo>
                    <a:pt x="921" y="112"/>
                  </a:lnTo>
                  <a:lnTo>
                    <a:pt x="925" y="112"/>
                  </a:lnTo>
                  <a:lnTo>
                    <a:pt x="925" y="108"/>
                  </a:lnTo>
                  <a:lnTo>
                    <a:pt x="921" y="108"/>
                  </a:lnTo>
                  <a:lnTo>
                    <a:pt x="917" y="108"/>
                  </a:lnTo>
                  <a:lnTo>
                    <a:pt x="917" y="112"/>
                  </a:lnTo>
                  <a:lnTo>
                    <a:pt x="913" y="112"/>
                  </a:lnTo>
                  <a:lnTo>
                    <a:pt x="909" y="112"/>
                  </a:lnTo>
                  <a:lnTo>
                    <a:pt x="905" y="108"/>
                  </a:lnTo>
                  <a:lnTo>
                    <a:pt x="901" y="108"/>
                  </a:lnTo>
                  <a:lnTo>
                    <a:pt x="897" y="104"/>
                  </a:lnTo>
                  <a:lnTo>
                    <a:pt x="901" y="104"/>
                  </a:lnTo>
                  <a:lnTo>
                    <a:pt x="901" y="100"/>
                  </a:lnTo>
                  <a:lnTo>
                    <a:pt x="897" y="100"/>
                  </a:lnTo>
                  <a:lnTo>
                    <a:pt x="893" y="100"/>
                  </a:lnTo>
                  <a:lnTo>
                    <a:pt x="889" y="100"/>
                  </a:lnTo>
                  <a:lnTo>
                    <a:pt x="885" y="100"/>
                  </a:lnTo>
                  <a:lnTo>
                    <a:pt x="881" y="96"/>
                  </a:lnTo>
                  <a:lnTo>
                    <a:pt x="877" y="92"/>
                  </a:lnTo>
                  <a:lnTo>
                    <a:pt x="873" y="92"/>
                  </a:lnTo>
                  <a:lnTo>
                    <a:pt x="873" y="88"/>
                  </a:lnTo>
                  <a:lnTo>
                    <a:pt x="877" y="88"/>
                  </a:lnTo>
                  <a:lnTo>
                    <a:pt x="881" y="88"/>
                  </a:lnTo>
                  <a:lnTo>
                    <a:pt x="885" y="88"/>
                  </a:lnTo>
                  <a:lnTo>
                    <a:pt x="889" y="88"/>
                  </a:lnTo>
                  <a:lnTo>
                    <a:pt x="893" y="88"/>
                  </a:lnTo>
                  <a:lnTo>
                    <a:pt x="897" y="88"/>
                  </a:lnTo>
                  <a:lnTo>
                    <a:pt x="901" y="88"/>
                  </a:lnTo>
                  <a:lnTo>
                    <a:pt x="905" y="88"/>
                  </a:lnTo>
                  <a:lnTo>
                    <a:pt x="909" y="88"/>
                  </a:lnTo>
                  <a:lnTo>
                    <a:pt x="909" y="84"/>
                  </a:lnTo>
                  <a:lnTo>
                    <a:pt x="913" y="84"/>
                  </a:lnTo>
                  <a:lnTo>
                    <a:pt x="917" y="84"/>
                  </a:lnTo>
                  <a:lnTo>
                    <a:pt x="921" y="84"/>
                  </a:lnTo>
                  <a:lnTo>
                    <a:pt x="925" y="84"/>
                  </a:lnTo>
                  <a:lnTo>
                    <a:pt x="929" y="84"/>
                  </a:lnTo>
                  <a:lnTo>
                    <a:pt x="933" y="84"/>
                  </a:lnTo>
                  <a:lnTo>
                    <a:pt x="937" y="84"/>
                  </a:lnTo>
                  <a:lnTo>
                    <a:pt x="941" y="84"/>
                  </a:lnTo>
                  <a:lnTo>
                    <a:pt x="945" y="84"/>
                  </a:lnTo>
                  <a:lnTo>
                    <a:pt x="949" y="84"/>
                  </a:lnTo>
                  <a:lnTo>
                    <a:pt x="953" y="84"/>
                  </a:lnTo>
                  <a:lnTo>
                    <a:pt x="953" y="80"/>
                  </a:lnTo>
                  <a:lnTo>
                    <a:pt x="949" y="80"/>
                  </a:lnTo>
                  <a:lnTo>
                    <a:pt x="941" y="80"/>
                  </a:lnTo>
                  <a:lnTo>
                    <a:pt x="937" y="80"/>
                  </a:lnTo>
                  <a:lnTo>
                    <a:pt x="933" y="80"/>
                  </a:lnTo>
                  <a:lnTo>
                    <a:pt x="929" y="80"/>
                  </a:lnTo>
                  <a:lnTo>
                    <a:pt x="925" y="80"/>
                  </a:lnTo>
                  <a:lnTo>
                    <a:pt x="929" y="80"/>
                  </a:lnTo>
                  <a:lnTo>
                    <a:pt x="933" y="80"/>
                  </a:lnTo>
                  <a:lnTo>
                    <a:pt x="937" y="76"/>
                  </a:lnTo>
                  <a:lnTo>
                    <a:pt x="941" y="76"/>
                  </a:lnTo>
                  <a:lnTo>
                    <a:pt x="945" y="76"/>
                  </a:lnTo>
                  <a:lnTo>
                    <a:pt x="949" y="76"/>
                  </a:lnTo>
                  <a:lnTo>
                    <a:pt x="953" y="76"/>
                  </a:lnTo>
                  <a:lnTo>
                    <a:pt x="957" y="76"/>
                  </a:lnTo>
                  <a:lnTo>
                    <a:pt x="965" y="72"/>
                  </a:lnTo>
                  <a:lnTo>
                    <a:pt x="969" y="72"/>
                  </a:lnTo>
                  <a:lnTo>
                    <a:pt x="973" y="72"/>
                  </a:lnTo>
                  <a:lnTo>
                    <a:pt x="977" y="72"/>
                  </a:lnTo>
                  <a:lnTo>
                    <a:pt x="973" y="72"/>
                  </a:lnTo>
                  <a:lnTo>
                    <a:pt x="969" y="72"/>
                  </a:lnTo>
                  <a:lnTo>
                    <a:pt x="965" y="72"/>
                  </a:lnTo>
                  <a:lnTo>
                    <a:pt x="961" y="72"/>
                  </a:lnTo>
                  <a:lnTo>
                    <a:pt x="957" y="72"/>
                  </a:lnTo>
                  <a:lnTo>
                    <a:pt x="953" y="72"/>
                  </a:lnTo>
                  <a:lnTo>
                    <a:pt x="945" y="72"/>
                  </a:lnTo>
                  <a:lnTo>
                    <a:pt x="941" y="72"/>
                  </a:lnTo>
                  <a:lnTo>
                    <a:pt x="937" y="72"/>
                  </a:lnTo>
                  <a:lnTo>
                    <a:pt x="937" y="68"/>
                  </a:lnTo>
                  <a:lnTo>
                    <a:pt x="941" y="68"/>
                  </a:lnTo>
                  <a:lnTo>
                    <a:pt x="945" y="68"/>
                  </a:lnTo>
                  <a:lnTo>
                    <a:pt x="945" y="64"/>
                  </a:lnTo>
                  <a:lnTo>
                    <a:pt x="949" y="64"/>
                  </a:lnTo>
                  <a:lnTo>
                    <a:pt x="953" y="60"/>
                  </a:lnTo>
                  <a:lnTo>
                    <a:pt x="957" y="60"/>
                  </a:lnTo>
                  <a:lnTo>
                    <a:pt x="961" y="60"/>
                  </a:lnTo>
                  <a:lnTo>
                    <a:pt x="965" y="56"/>
                  </a:lnTo>
                  <a:lnTo>
                    <a:pt x="969" y="56"/>
                  </a:lnTo>
                  <a:lnTo>
                    <a:pt x="973" y="56"/>
                  </a:lnTo>
                  <a:lnTo>
                    <a:pt x="969" y="56"/>
                  </a:lnTo>
                  <a:lnTo>
                    <a:pt x="965" y="56"/>
                  </a:lnTo>
                  <a:lnTo>
                    <a:pt x="961" y="56"/>
                  </a:lnTo>
                  <a:lnTo>
                    <a:pt x="957" y="56"/>
                  </a:lnTo>
                  <a:lnTo>
                    <a:pt x="953" y="60"/>
                  </a:lnTo>
                  <a:lnTo>
                    <a:pt x="949" y="60"/>
                  </a:lnTo>
                  <a:lnTo>
                    <a:pt x="945" y="60"/>
                  </a:lnTo>
                  <a:lnTo>
                    <a:pt x="945" y="64"/>
                  </a:lnTo>
                  <a:lnTo>
                    <a:pt x="941" y="64"/>
                  </a:lnTo>
                  <a:lnTo>
                    <a:pt x="937" y="64"/>
                  </a:lnTo>
                  <a:lnTo>
                    <a:pt x="933" y="64"/>
                  </a:lnTo>
                  <a:lnTo>
                    <a:pt x="929" y="64"/>
                  </a:lnTo>
                  <a:lnTo>
                    <a:pt x="933" y="64"/>
                  </a:lnTo>
                  <a:lnTo>
                    <a:pt x="937" y="64"/>
                  </a:lnTo>
                  <a:lnTo>
                    <a:pt x="937" y="68"/>
                  </a:lnTo>
                  <a:lnTo>
                    <a:pt x="933" y="68"/>
                  </a:lnTo>
                  <a:lnTo>
                    <a:pt x="937" y="68"/>
                  </a:lnTo>
                  <a:lnTo>
                    <a:pt x="933" y="72"/>
                  </a:lnTo>
                  <a:lnTo>
                    <a:pt x="929" y="76"/>
                  </a:lnTo>
                  <a:lnTo>
                    <a:pt x="925" y="76"/>
                  </a:lnTo>
                  <a:lnTo>
                    <a:pt x="921" y="76"/>
                  </a:lnTo>
                  <a:lnTo>
                    <a:pt x="917" y="76"/>
                  </a:lnTo>
                  <a:lnTo>
                    <a:pt x="913" y="76"/>
                  </a:lnTo>
                  <a:lnTo>
                    <a:pt x="913" y="80"/>
                  </a:lnTo>
                  <a:lnTo>
                    <a:pt x="909" y="80"/>
                  </a:lnTo>
                  <a:lnTo>
                    <a:pt x="901" y="80"/>
                  </a:lnTo>
                  <a:lnTo>
                    <a:pt x="897" y="80"/>
                  </a:lnTo>
                  <a:lnTo>
                    <a:pt x="893" y="80"/>
                  </a:lnTo>
                  <a:lnTo>
                    <a:pt x="885" y="84"/>
                  </a:lnTo>
                  <a:lnTo>
                    <a:pt x="881" y="84"/>
                  </a:lnTo>
                  <a:lnTo>
                    <a:pt x="877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95" name="Freeform 59">
              <a:extLst>
                <a:ext uri="{FF2B5EF4-FFF2-40B4-BE49-F238E27FC236}">
                  <a16:creationId xmlns:a16="http://schemas.microsoft.com/office/drawing/2014/main" xmlns="" id="{8F00A0A4-F0B5-4C2D-96BF-B3398171E905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gray">
            <a:xfrm>
              <a:off x="2446595" y="4290443"/>
              <a:ext cx="77119" cy="88984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28"/>
                </a:cxn>
                <a:cxn ang="0">
                  <a:pos x="44" y="40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56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40" y="52"/>
                </a:cxn>
                <a:cxn ang="0">
                  <a:pos x="40" y="48"/>
                </a:cxn>
                <a:cxn ang="0">
                  <a:pos x="40" y="44"/>
                </a:cxn>
                <a:cxn ang="0">
                  <a:pos x="36" y="48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48"/>
                </a:cxn>
                <a:cxn ang="0">
                  <a:pos x="36" y="40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</a:cxnLst>
              <a:rect l="0" t="0" r="r" b="b"/>
              <a:pathLst>
                <a:path w="52" h="60">
                  <a:moveTo>
                    <a:pt x="12" y="28"/>
                  </a:move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96" name="Freeform 60">
              <a:extLst>
                <a:ext uri="{FF2B5EF4-FFF2-40B4-BE49-F238E27FC236}">
                  <a16:creationId xmlns:a16="http://schemas.microsoft.com/office/drawing/2014/main" xmlns="" id="{1491AD07-50BB-4921-8074-ACE5B4B7B730}"/>
                </a:ext>
              </a:extLst>
            </p:cNvPr>
            <p:cNvSpPr>
              <a:spLocks noEditPoints="1"/>
            </p:cNvSpPr>
            <p:nvPr>
              <p:custDataLst>
                <p:tags r:id="rId60"/>
              </p:custDataLst>
            </p:nvPr>
          </p:nvSpPr>
          <p:spPr bwMode="gray">
            <a:xfrm>
              <a:off x="2470324" y="3959720"/>
              <a:ext cx="243222" cy="93433"/>
            </a:xfrm>
            <a:custGeom>
              <a:avLst/>
              <a:gdLst/>
              <a:ahLst/>
              <a:cxnLst>
                <a:cxn ang="0">
                  <a:pos x="88" y="28"/>
                </a:cxn>
                <a:cxn ang="0">
                  <a:pos x="80" y="28"/>
                </a:cxn>
                <a:cxn ang="0">
                  <a:pos x="72" y="24"/>
                </a:cxn>
                <a:cxn ang="0">
                  <a:pos x="64" y="20"/>
                </a:cxn>
                <a:cxn ang="0">
                  <a:pos x="52" y="20"/>
                </a:cxn>
                <a:cxn ang="0">
                  <a:pos x="44" y="20"/>
                </a:cxn>
                <a:cxn ang="0">
                  <a:pos x="40" y="12"/>
                </a:cxn>
                <a:cxn ang="0">
                  <a:pos x="48" y="8"/>
                </a:cxn>
                <a:cxn ang="0">
                  <a:pos x="36" y="8"/>
                </a:cxn>
                <a:cxn ang="0">
                  <a:pos x="28" y="12"/>
                </a:cxn>
                <a:cxn ang="0">
                  <a:pos x="24" y="20"/>
                </a:cxn>
                <a:cxn ang="0">
                  <a:pos x="16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4" y="0"/>
                </a:cxn>
                <a:cxn ang="0">
                  <a:pos x="72" y="4"/>
                </a:cxn>
                <a:cxn ang="0">
                  <a:pos x="80" y="8"/>
                </a:cxn>
                <a:cxn ang="0">
                  <a:pos x="84" y="16"/>
                </a:cxn>
                <a:cxn ang="0">
                  <a:pos x="96" y="16"/>
                </a:cxn>
                <a:cxn ang="0">
                  <a:pos x="104" y="24"/>
                </a:cxn>
                <a:cxn ang="0">
                  <a:pos x="112" y="28"/>
                </a:cxn>
                <a:cxn ang="0">
                  <a:pos x="112" y="24"/>
                </a:cxn>
                <a:cxn ang="0">
                  <a:pos x="116" y="28"/>
                </a:cxn>
                <a:cxn ang="0">
                  <a:pos x="116" y="28"/>
                </a:cxn>
                <a:cxn ang="0">
                  <a:pos x="120" y="36"/>
                </a:cxn>
                <a:cxn ang="0">
                  <a:pos x="128" y="36"/>
                </a:cxn>
                <a:cxn ang="0">
                  <a:pos x="136" y="40"/>
                </a:cxn>
                <a:cxn ang="0">
                  <a:pos x="136" y="44"/>
                </a:cxn>
                <a:cxn ang="0">
                  <a:pos x="144" y="48"/>
                </a:cxn>
                <a:cxn ang="0">
                  <a:pos x="148" y="48"/>
                </a:cxn>
                <a:cxn ang="0">
                  <a:pos x="156" y="51"/>
                </a:cxn>
                <a:cxn ang="0">
                  <a:pos x="164" y="55"/>
                </a:cxn>
                <a:cxn ang="0">
                  <a:pos x="152" y="59"/>
                </a:cxn>
                <a:cxn ang="0">
                  <a:pos x="140" y="63"/>
                </a:cxn>
                <a:cxn ang="0">
                  <a:pos x="132" y="59"/>
                </a:cxn>
                <a:cxn ang="0">
                  <a:pos x="120" y="59"/>
                </a:cxn>
                <a:cxn ang="0">
                  <a:pos x="120" y="63"/>
                </a:cxn>
                <a:cxn ang="0">
                  <a:pos x="112" y="63"/>
                </a:cxn>
                <a:cxn ang="0">
                  <a:pos x="112" y="59"/>
                </a:cxn>
                <a:cxn ang="0">
                  <a:pos x="116" y="51"/>
                </a:cxn>
                <a:cxn ang="0">
                  <a:pos x="112" y="48"/>
                </a:cxn>
                <a:cxn ang="0">
                  <a:pos x="104" y="44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80" y="8"/>
                </a:cxn>
                <a:cxn ang="0">
                  <a:pos x="96" y="16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16"/>
                </a:cxn>
                <a:cxn ang="0">
                  <a:pos x="104" y="16"/>
                </a:cxn>
                <a:cxn ang="0">
                  <a:pos x="108" y="24"/>
                </a:cxn>
                <a:cxn ang="0">
                  <a:pos x="108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32"/>
                </a:cxn>
              </a:cxnLst>
              <a:rect l="0" t="0" r="r" b="b"/>
              <a:pathLst>
                <a:path w="164" h="63">
                  <a:moveTo>
                    <a:pt x="96" y="32"/>
                  </a:move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4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32" y="36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36" y="44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60" y="55"/>
                  </a:lnTo>
                  <a:lnTo>
                    <a:pt x="160" y="51"/>
                  </a:lnTo>
                  <a:lnTo>
                    <a:pt x="164" y="55"/>
                  </a:lnTo>
                  <a:lnTo>
                    <a:pt x="160" y="59"/>
                  </a:lnTo>
                  <a:lnTo>
                    <a:pt x="156" y="59"/>
                  </a:lnTo>
                  <a:lnTo>
                    <a:pt x="152" y="59"/>
                  </a:lnTo>
                  <a:lnTo>
                    <a:pt x="148" y="59"/>
                  </a:lnTo>
                  <a:lnTo>
                    <a:pt x="144" y="63"/>
                  </a:lnTo>
                  <a:lnTo>
                    <a:pt x="140" y="63"/>
                  </a:lnTo>
                  <a:lnTo>
                    <a:pt x="140" y="59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28" y="59"/>
                  </a:lnTo>
                  <a:lnTo>
                    <a:pt x="124" y="59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16" y="59"/>
                  </a:lnTo>
                  <a:lnTo>
                    <a:pt x="116" y="63"/>
                  </a:lnTo>
                  <a:lnTo>
                    <a:pt x="112" y="63"/>
                  </a:lnTo>
                  <a:lnTo>
                    <a:pt x="108" y="63"/>
                  </a:lnTo>
                  <a:lnTo>
                    <a:pt x="108" y="59"/>
                  </a:lnTo>
                  <a:lnTo>
                    <a:pt x="112" y="59"/>
                  </a:lnTo>
                  <a:lnTo>
                    <a:pt x="112" y="55"/>
                  </a:lnTo>
                  <a:lnTo>
                    <a:pt x="116" y="55"/>
                  </a:lnTo>
                  <a:lnTo>
                    <a:pt x="116" y="51"/>
                  </a:lnTo>
                  <a:lnTo>
                    <a:pt x="120" y="51"/>
                  </a:lnTo>
                  <a:lnTo>
                    <a:pt x="116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0" y="40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close/>
                  <a:moveTo>
                    <a:pt x="84" y="12"/>
                  </a:moveTo>
                  <a:lnTo>
                    <a:pt x="84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12"/>
                  </a:lnTo>
                  <a:close/>
                  <a:moveTo>
                    <a:pt x="96" y="16"/>
                  </a:moveTo>
                  <a:lnTo>
                    <a:pt x="100" y="12"/>
                  </a:lnTo>
                  <a:lnTo>
                    <a:pt x="96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96" y="16"/>
                  </a:lnTo>
                  <a:close/>
                  <a:moveTo>
                    <a:pt x="104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16"/>
                  </a:lnTo>
                  <a:close/>
                  <a:moveTo>
                    <a:pt x="108" y="20"/>
                  </a:move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close/>
                  <a:moveTo>
                    <a:pt x="108" y="24"/>
                  </a:moveTo>
                  <a:lnTo>
                    <a:pt x="104" y="20"/>
                  </a:lnTo>
                  <a:lnTo>
                    <a:pt x="108" y="20"/>
                  </a:lnTo>
                  <a:lnTo>
                    <a:pt x="108" y="24"/>
                  </a:lnTo>
                  <a:close/>
                  <a:moveTo>
                    <a:pt x="28" y="32"/>
                  </a:move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2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97" name="Freeform 61">
              <a:extLst>
                <a:ext uri="{FF2B5EF4-FFF2-40B4-BE49-F238E27FC236}">
                  <a16:creationId xmlns:a16="http://schemas.microsoft.com/office/drawing/2014/main" xmlns="" id="{42320543-EB4E-4930-9817-DA3AC4C3A6C4}"/>
                </a:ext>
              </a:extLst>
            </p:cNvPr>
            <p:cNvSpPr>
              <a:spLocks noEditPoints="1"/>
            </p:cNvSpPr>
            <p:nvPr>
              <p:custDataLst>
                <p:tags r:id="rId61"/>
              </p:custDataLst>
            </p:nvPr>
          </p:nvSpPr>
          <p:spPr bwMode="gray">
            <a:xfrm>
              <a:off x="2761005" y="4047221"/>
              <a:ext cx="83052" cy="65255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6"/>
                </a:cxn>
                <a:cxn ang="0">
                  <a:pos x="12" y="40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20"/>
                </a:cxn>
                <a:cxn ang="0">
                  <a:pos x="48" y="20"/>
                </a:cxn>
                <a:cxn ang="0">
                  <a:pos x="52" y="24"/>
                </a:cxn>
                <a:cxn ang="0">
                  <a:pos x="56" y="28"/>
                </a:cxn>
                <a:cxn ang="0">
                  <a:pos x="52" y="32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52" y="36"/>
                </a:cxn>
              </a:cxnLst>
              <a:rect l="0" t="0" r="r" b="b"/>
              <a:pathLst>
                <a:path w="56" h="44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8" y="28"/>
                  </a:lnTo>
                  <a:close/>
                  <a:moveTo>
                    <a:pt x="52" y="36"/>
                  </a:move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98" name="Freeform 62">
              <a:extLst>
                <a:ext uri="{FF2B5EF4-FFF2-40B4-BE49-F238E27FC236}">
                  <a16:creationId xmlns:a16="http://schemas.microsoft.com/office/drawing/2014/main" xmlns="" id="{3735BBF8-1C64-4EE8-8B87-33EDFBB8E9D4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gray">
            <a:xfrm>
              <a:off x="2353162" y="4201460"/>
              <a:ext cx="51907" cy="35594"/>
            </a:xfrm>
            <a:custGeom>
              <a:avLst/>
              <a:gdLst/>
              <a:ahLst/>
              <a:cxnLst>
                <a:cxn ang="0">
                  <a:pos x="35" y="16"/>
                </a:cxn>
                <a:cxn ang="0">
                  <a:pos x="35" y="16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1" y="12"/>
                </a:cxn>
                <a:cxn ang="0">
                  <a:pos x="35" y="12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lnTo>
                    <a:pt x="35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99" name="Freeform 63">
              <a:extLst>
                <a:ext uri="{FF2B5EF4-FFF2-40B4-BE49-F238E27FC236}">
                  <a16:creationId xmlns:a16="http://schemas.microsoft.com/office/drawing/2014/main" xmlns="" id="{034EA18E-15B9-4FE5-9D7D-91E61D749CFB}"/>
                </a:ext>
              </a:extLst>
            </p:cNvPr>
            <p:cNvSpPr>
              <a:spLocks noEditPoints="1"/>
            </p:cNvSpPr>
            <p:nvPr>
              <p:custDataLst>
                <p:tags r:id="rId63"/>
              </p:custDataLst>
            </p:nvPr>
          </p:nvSpPr>
          <p:spPr bwMode="gray">
            <a:xfrm>
              <a:off x="2737276" y="1816693"/>
              <a:ext cx="1365901" cy="993653"/>
            </a:xfrm>
            <a:custGeom>
              <a:avLst/>
              <a:gdLst/>
              <a:ahLst/>
              <a:cxnLst>
                <a:cxn ang="0">
                  <a:pos x="506" y="16"/>
                </a:cxn>
                <a:cxn ang="0">
                  <a:pos x="303" y="52"/>
                </a:cxn>
                <a:cxn ang="0">
                  <a:pos x="833" y="144"/>
                </a:cxn>
                <a:cxn ang="0">
                  <a:pos x="36" y="195"/>
                </a:cxn>
                <a:cxn ang="0">
                  <a:pos x="802" y="235"/>
                </a:cxn>
                <a:cxn ang="0">
                  <a:pos x="251" y="307"/>
                </a:cxn>
                <a:cxn ang="0">
                  <a:pos x="259" y="315"/>
                </a:cxn>
                <a:cxn ang="0">
                  <a:pos x="750" y="415"/>
                </a:cxn>
                <a:cxn ang="0">
                  <a:pos x="463" y="599"/>
                </a:cxn>
                <a:cxn ang="0">
                  <a:pos x="451" y="662"/>
                </a:cxn>
                <a:cxn ang="0">
                  <a:pos x="339" y="419"/>
                </a:cxn>
                <a:cxn ang="0">
                  <a:pos x="335" y="391"/>
                </a:cxn>
                <a:cxn ang="0">
                  <a:pos x="295" y="347"/>
                </a:cxn>
                <a:cxn ang="0">
                  <a:pos x="271" y="339"/>
                </a:cxn>
                <a:cxn ang="0">
                  <a:pos x="239" y="275"/>
                </a:cxn>
                <a:cxn ang="0">
                  <a:pos x="123" y="231"/>
                </a:cxn>
                <a:cxn ang="0">
                  <a:pos x="36" y="207"/>
                </a:cxn>
                <a:cxn ang="0">
                  <a:pos x="68" y="191"/>
                </a:cxn>
                <a:cxn ang="0">
                  <a:pos x="56" y="152"/>
                </a:cxn>
                <a:cxn ang="0">
                  <a:pos x="123" y="84"/>
                </a:cxn>
                <a:cxn ang="0">
                  <a:pos x="227" y="64"/>
                </a:cxn>
                <a:cxn ang="0">
                  <a:pos x="331" y="56"/>
                </a:cxn>
                <a:cxn ang="0">
                  <a:pos x="455" y="44"/>
                </a:cxn>
                <a:cxn ang="0">
                  <a:pos x="439" y="24"/>
                </a:cxn>
                <a:cxn ang="0">
                  <a:pos x="474" y="16"/>
                </a:cxn>
                <a:cxn ang="0">
                  <a:pos x="578" y="0"/>
                </a:cxn>
                <a:cxn ang="0">
                  <a:pos x="626" y="16"/>
                </a:cxn>
                <a:cxn ang="0">
                  <a:pos x="710" y="16"/>
                </a:cxn>
                <a:cxn ang="0">
                  <a:pos x="654" y="48"/>
                </a:cxn>
                <a:cxn ang="0">
                  <a:pos x="694" y="72"/>
                </a:cxn>
                <a:cxn ang="0">
                  <a:pos x="798" y="72"/>
                </a:cxn>
                <a:cxn ang="0">
                  <a:pos x="849" y="92"/>
                </a:cxn>
                <a:cxn ang="0">
                  <a:pos x="798" y="124"/>
                </a:cxn>
                <a:cxn ang="0">
                  <a:pos x="778" y="176"/>
                </a:cxn>
                <a:cxn ang="0">
                  <a:pos x="802" y="207"/>
                </a:cxn>
                <a:cxn ang="0">
                  <a:pos x="774" y="239"/>
                </a:cxn>
                <a:cxn ang="0">
                  <a:pos x="794" y="263"/>
                </a:cxn>
                <a:cxn ang="0">
                  <a:pos x="754" y="315"/>
                </a:cxn>
                <a:cxn ang="0">
                  <a:pos x="698" y="319"/>
                </a:cxn>
                <a:cxn ang="0">
                  <a:pos x="754" y="359"/>
                </a:cxn>
                <a:cxn ang="0">
                  <a:pos x="734" y="375"/>
                </a:cxn>
                <a:cxn ang="0">
                  <a:pos x="674" y="379"/>
                </a:cxn>
                <a:cxn ang="0">
                  <a:pos x="758" y="407"/>
                </a:cxn>
                <a:cxn ang="0">
                  <a:pos x="638" y="455"/>
                </a:cxn>
                <a:cxn ang="0">
                  <a:pos x="566" y="507"/>
                </a:cxn>
                <a:cxn ang="0">
                  <a:pos x="490" y="535"/>
                </a:cxn>
                <a:cxn ang="0">
                  <a:pos x="467" y="591"/>
                </a:cxn>
                <a:cxn ang="0">
                  <a:pos x="459" y="642"/>
                </a:cxn>
                <a:cxn ang="0">
                  <a:pos x="423" y="646"/>
                </a:cxn>
                <a:cxn ang="0">
                  <a:pos x="383" y="638"/>
                </a:cxn>
                <a:cxn ang="0">
                  <a:pos x="347" y="591"/>
                </a:cxn>
                <a:cxn ang="0">
                  <a:pos x="323" y="559"/>
                </a:cxn>
                <a:cxn ang="0">
                  <a:pos x="319" y="543"/>
                </a:cxn>
                <a:cxn ang="0">
                  <a:pos x="299" y="511"/>
                </a:cxn>
                <a:cxn ang="0">
                  <a:pos x="303" y="495"/>
                </a:cxn>
                <a:cxn ang="0">
                  <a:pos x="319" y="467"/>
                </a:cxn>
                <a:cxn ang="0">
                  <a:pos x="299" y="467"/>
                </a:cxn>
                <a:cxn ang="0">
                  <a:pos x="295" y="451"/>
                </a:cxn>
                <a:cxn ang="0">
                  <a:pos x="822" y="223"/>
                </a:cxn>
                <a:cxn ang="0">
                  <a:pos x="754" y="331"/>
                </a:cxn>
                <a:cxn ang="0">
                  <a:pos x="706" y="383"/>
                </a:cxn>
                <a:cxn ang="0">
                  <a:pos x="299" y="403"/>
                </a:cxn>
                <a:cxn ang="0">
                  <a:pos x="295" y="459"/>
                </a:cxn>
              </a:cxnLst>
              <a:rect l="0" t="0" r="r" b="b"/>
              <a:pathLst>
                <a:path w="921" h="670">
                  <a:moveTo>
                    <a:pt x="506" y="8"/>
                  </a:moveTo>
                  <a:lnTo>
                    <a:pt x="510" y="8"/>
                  </a:lnTo>
                  <a:lnTo>
                    <a:pt x="514" y="8"/>
                  </a:lnTo>
                  <a:lnTo>
                    <a:pt x="514" y="12"/>
                  </a:lnTo>
                  <a:lnTo>
                    <a:pt x="510" y="12"/>
                  </a:lnTo>
                  <a:lnTo>
                    <a:pt x="506" y="8"/>
                  </a:lnTo>
                  <a:close/>
                  <a:moveTo>
                    <a:pt x="514" y="16"/>
                  </a:moveTo>
                  <a:lnTo>
                    <a:pt x="510" y="16"/>
                  </a:lnTo>
                  <a:lnTo>
                    <a:pt x="506" y="16"/>
                  </a:lnTo>
                  <a:lnTo>
                    <a:pt x="502" y="16"/>
                  </a:lnTo>
                  <a:lnTo>
                    <a:pt x="502" y="12"/>
                  </a:lnTo>
                  <a:lnTo>
                    <a:pt x="498" y="12"/>
                  </a:lnTo>
                  <a:lnTo>
                    <a:pt x="494" y="12"/>
                  </a:lnTo>
                  <a:lnTo>
                    <a:pt x="490" y="12"/>
                  </a:lnTo>
                  <a:lnTo>
                    <a:pt x="490" y="8"/>
                  </a:lnTo>
                  <a:lnTo>
                    <a:pt x="494" y="8"/>
                  </a:lnTo>
                  <a:lnTo>
                    <a:pt x="498" y="12"/>
                  </a:lnTo>
                  <a:lnTo>
                    <a:pt x="502" y="12"/>
                  </a:lnTo>
                  <a:lnTo>
                    <a:pt x="506" y="12"/>
                  </a:lnTo>
                  <a:lnTo>
                    <a:pt x="510" y="12"/>
                  </a:lnTo>
                  <a:lnTo>
                    <a:pt x="510" y="16"/>
                  </a:lnTo>
                  <a:lnTo>
                    <a:pt x="514" y="16"/>
                  </a:lnTo>
                  <a:lnTo>
                    <a:pt x="518" y="16"/>
                  </a:lnTo>
                  <a:lnTo>
                    <a:pt x="514" y="16"/>
                  </a:lnTo>
                  <a:close/>
                  <a:moveTo>
                    <a:pt x="478" y="12"/>
                  </a:moveTo>
                  <a:lnTo>
                    <a:pt x="474" y="12"/>
                  </a:lnTo>
                  <a:lnTo>
                    <a:pt x="478" y="8"/>
                  </a:lnTo>
                  <a:lnTo>
                    <a:pt x="482" y="12"/>
                  </a:lnTo>
                  <a:lnTo>
                    <a:pt x="478" y="12"/>
                  </a:lnTo>
                  <a:close/>
                  <a:moveTo>
                    <a:pt x="463" y="12"/>
                  </a:moveTo>
                  <a:lnTo>
                    <a:pt x="467" y="12"/>
                  </a:lnTo>
                  <a:lnTo>
                    <a:pt x="471" y="12"/>
                  </a:lnTo>
                  <a:lnTo>
                    <a:pt x="467" y="12"/>
                  </a:lnTo>
                  <a:lnTo>
                    <a:pt x="463" y="12"/>
                  </a:lnTo>
                  <a:close/>
                  <a:moveTo>
                    <a:pt x="474" y="12"/>
                  </a:moveTo>
                  <a:lnTo>
                    <a:pt x="478" y="12"/>
                  </a:lnTo>
                  <a:lnTo>
                    <a:pt x="482" y="12"/>
                  </a:lnTo>
                  <a:lnTo>
                    <a:pt x="478" y="12"/>
                  </a:lnTo>
                  <a:lnTo>
                    <a:pt x="474" y="12"/>
                  </a:lnTo>
                  <a:close/>
                  <a:moveTo>
                    <a:pt x="522" y="16"/>
                  </a:move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26" y="16"/>
                  </a:lnTo>
                  <a:lnTo>
                    <a:pt x="522" y="16"/>
                  </a:lnTo>
                  <a:close/>
                  <a:moveTo>
                    <a:pt x="502" y="20"/>
                  </a:moveTo>
                  <a:lnTo>
                    <a:pt x="498" y="20"/>
                  </a:lnTo>
                  <a:lnTo>
                    <a:pt x="494" y="20"/>
                  </a:lnTo>
                  <a:lnTo>
                    <a:pt x="490" y="20"/>
                  </a:lnTo>
                  <a:lnTo>
                    <a:pt x="486" y="20"/>
                  </a:lnTo>
                  <a:lnTo>
                    <a:pt x="482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6" y="16"/>
                  </a:lnTo>
                  <a:lnTo>
                    <a:pt x="490" y="16"/>
                  </a:lnTo>
                  <a:lnTo>
                    <a:pt x="494" y="20"/>
                  </a:lnTo>
                  <a:lnTo>
                    <a:pt x="498" y="20"/>
                  </a:lnTo>
                  <a:lnTo>
                    <a:pt x="502" y="20"/>
                  </a:lnTo>
                  <a:close/>
                  <a:moveTo>
                    <a:pt x="506" y="20"/>
                  </a:moveTo>
                  <a:lnTo>
                    <a:pt x="502" y="20"/>
                  </a:lnTo>
                  <a:lnTo>
                    <a:pt x="498" y="20"/>
                  </a:lnTo>
                  <a:lnTo>
                    <a:pt x="498" y="16"/>
                  </a:lnTo>
                  <a:lnTo>
                    <a:pt x="494" y="16"/>
                  </a:lnTo>
                  <a:lnTo>
                    <a:pt x="490" y="16"/>
                  </a:lnTo>
                  <a:lnTo>
                    <a:pt x="494" y="16"/>
                  </a:lnTo>
                  <a:lnTo>
                    <a:pt x="498" y="16"/>
                  </a:lnTo>
                  <a:lnTo>
                    <a:pt x="502" y="16"/>
                  </a:lnTo>
                  <a:lnTo>
                    <a:pt x="506" y="16"/>
                  </a:lnTo>
                  <a:lnTo>
                    <a:pt x="510" y="16"/>
                  </a:lnTo>
                  <a:lnTo>
                    <a:pt x="510" y="20"/>
                  </a:lnTo>
                  <a:lnTo>
                    <a:pt x="506" y="20"/>
                  </a:lnTo>
                  <a:close/>
                  <a:moveTo>
                    <a:pt x="395" y="24"/>
                  </a:moveTo>
                  <a:lnTo>
                    <a:pt x="391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4"/>
                  </a:lnTo>
                  <a:close/>
                  <a:moveTo>
                    <a:pt x="375" y="28"/>
                  </a:moveTo>
                  <a:lnTo>
                    <a:pt x="371" y="28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9" y="24"/>
                  </a:lnTo>
                  <a:lnTo>
                    <a:pt x="383" y="24"/>
                  </a:lnTo>
                  <a:lnTo>
                    <a:pt x="387" y="24"/>
                  </a:lnTo>
                  <a:lnTo>
                    <a:pt x="387" y="28"/>
                  </a:lnTo>
                  <a:lnTo>
                    <a:pt x="383" y="28"/>
                  </a:lnTo>
                  <a:lnTo>
                    <a:pt x="379" y="28"/>
                  </a:lnTo>
                  <a:lnTo>
                    <a:pt x="375" y="28"/>
                  </a:lnTo>
                  <a:close/>
                  <a:moveTo>
                    <a:pt x="423" y="52"/>
                  </a:moveTo>
                  <a:lnTo>
                    <a:pt x="419" y="48"/>
                  </a:lnTo>
                  <a:lnTo>
                    <a:pt x="415" y="48"/>
                  </a:lnTo>
                  <a:lnTo>
                    <a:pt x="415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03" y="44"/>
                  </a:lnTo>
                  <a:lnTo>
                    <a:pt x="399" y="44"/>
                  </a:lnTo>
                  <a:lnTo>
                    <a:pt x="395" y="40"/>
                  </a:lnTo>
                  <a:lnTo>
                    <a:pt x="391" y="40"/>
                  </a:lnTo>
                  <a:lnTo>
                    <a:pt x="391" y="36"/>
                  </a:lnTo>
                  <a:lnTo>
                    <a:pt x="387" y="36"/>
                  </a:lnTo>
                  <a:lnTo>
                    <a:pt x="387" y="32"/>
                  </a:lnTo>
                  <a:lnTo>
                    <a:pt x="383" y="32"/>
                  </a:lnTo>
                  <a:lnTo>
                    <a:pt x="387" y="32"/>
                  </a:lnTo>
                  <a:lnTo>
                    <a:pt x="391" y="32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9" y="36"/>
                  </a:lnTo>
                  <a:lnTo>
                    <a:pt x="423" y="36"/>
                  </a:lnTo>
                  <a:lnTo>
                    <a:pt x="427" y="36"/>
                  </a:lnTo>
                  <a:lnTo>
                    <a:pt x="427" y="40"/>
                  </a:lnTo>
                  <a:lnTo>
                    <a:pt x="431" y="40"/>
                  </a:lnTo>
                  <a:lnTo>
                    <a:pt x="431" y="44"/>
                  </a:lnTo>
                  <a:lnTo>
                    <a:pt x="427" y="44"/>
                  </a:lnTo>
                  <a:lnTo>
                    <a:pt x="423" y="44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27" y="52"/>
                  </a:lnTo>
                  <a:lnTo>
                    <a:pt x="423" y="52"/>
                  </a:lnTo>
                  <a:close/>
                  <a:moveTo>
                    <a:pt x="375" y="40"/>
                  </a:moveTo>
                  <a:lnTo>
                    <a:pt x="371" y="36"/>
                  </a:lnTo>
                  <a:lnTo>
                    <a:pt x="367" y="36"/>
                  </a:lnTo>
                  <a:lnTo>
                    <a:pt x="371" y="36"/>
                  </a:lnTo>
                  <a:lnTo>
                    <a:pt x="375" y="36"/>
                  </a:lnTo>
                  <a:lnTo>
                    <a:pt x="379" y="36"/>
                  </a:lnTo>
                  <a:lnTo>
                    <a:pt x="375" y="40"/>
                  </a:lnTo>
                  <a:close/>
                  <a:moveTo>
                    <a:pt x="331" y="52"/>
                  </a:moveTo>
                  <a:lnTo>
                    <a:pt x="327" y="52"/>
                  </a:lnTo>
                  <a:lnTo>
                    <a:pt x="323" y="52"/>
                  </a:lnTo>
                  <a:lnTo>
                    <a:pt x="319" y="52"/>
                  </a:lnTo>
                  <a:lnTo>
                    <a:pt x="315" y="52"/>
                  </a:lnTo>
                  <a:lnTo>
                    <a:pt x="311" y="52"/>
                  </a:lnTo>
                  <a:lnTo>
                    <a:pt x="307" y="52"/>
                  </a:lnTo>
                  <a:lnTo>
                    <a:pt x="303" y="52"/>
                  </a:lnTo>
                  <a:lnTo>
                    <a:pt x="303" y="48"/>
                  </a:lnTo>
                  <a:lnTo>
                    <a:pt x="299" y="48"/>
                  </a:lnTo>
                  <a:lnTo>
                    <a:pt x="299" y="44"/>
                  </a:lnTo>
                  <a:lnTo>
                    <a:pt x="303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11" y="48"/>
                  </a:lnTo>
                  <a:lnTo>
                    <a:pt x="315" y="48"/>
                  </a:lnTo>
                  <a:lnTo>
                    <a:pt x="319" y="48"/>
                  </a:lnTo>
                  <a:lnTo>
                    <a:pt x="327" y="52"/>
                  </a:lnTo>
                  <a:lnTo>
                    <a:pt x="331" y="52"/>
                  </a:lnTo>
                  <a:close/>
                  <a:moveTo>
                    <a:pt x="315" y="44"/>
                  </a:moveTo>
                  <a:lnTo>
                    <a:pt x="319" y="44"/>
                  </a:lnTo>
                  <a:lnTo>
                    <a:pt x="319" y="48"/>
                  </a:lnTo>
                  <a:lnTo>
                    <a:pt x="315" y="48"/>
                  </a:lnTo>
                  <a:lnTo>
                    <a:pt x="315" y="44"/>
                  </a:lnTo>
                  <a:close/>
                  <a:moveTo>
                    <a:pt x="818" y="52"/>
                  </a:moveTo>
                  <a:lnTo>
                    <a:pt x="814" y="48"/>
                  </a:lnTo>
                  <a:lnTo>
                    <a:pt x="810" y="48"/>
                  </a:lnTo>
                  <a:lnTo>
                    <a:pt x="810" y="44"/>
                  </a:lnTo>
                  <a:lnTo>
                    <a:pt x="814" y="44"/>
                  </a:lnTo>
                  <a:lnTo>
                    <a:pt x="814" y="48"/>
                  </a:lnTo>
                  <a:lnTo>
                    <a:pt x="818" y="52"/>
                  </a:lnTo>
                  <a:lnTo>
                    <a:pt x="822" y="52"/>
                  </a:lnTo>
                  <a:lnTo>
                    <a:pt x="818" y="52"/>
                  </a:lnTo>
                  <a:close/>
                  <a:moveTo>
                    <a:pt x="798" y="56"/>
                  </a:moveTo>
                  <a:lnTo>
                    <a:pt x="794" y="52"/>
                  </a:lnTo>
                  <a:lnTo>
                    <a:pt x="790" y="52"/>
                  </a:lnTo>
                  <a:lnTo>
                    <a:pt x="790" y="48"/>
                  </a:lnTo>
                  <a:lnTo>
                    <a:pt x="794" y="48"/>
                  </a:lnTo>
                  <a:lnTo>
                    <a:pt x="798" y="48"/>
                  </a:lnTo>
                  <a:lnTo>
                    <a:pt x="798" y="52"/>
                  </a:lnTo>
                  <a:lnTo>
                    <a:pt x="802" y="52"/>
                  </a:lnTo>
                  <a:lnTo>
                    <a:pt x="806" y="52"/>
                  </a:lnTo>
                  <a:lnTo>
                    <a:pt x="806" y="56"/>
                  </a:lnTo>
                  <a:lnTo>
                    <a:pt x="802" y="56"/>
                  </a:lnTo>
                  <a:lnTo>
                    <a:pt x="798" y="56"/>
                  </a:lnTo>
                  <a:close/>
                  <a:moveTo>
                    <a:pt x="822" y="64"/>
                  </a:moveTo>
                  <a:lnTo>
                    <a:pt x="818" y="64"/>
                  </a:lnTo>
                  <a:lnTo>
                    <a:pt x="814" y="60"/>
                  </a:lnTo>
                  <a:lnTo>
                    <a:pt x="818" y="60"/>
                  </a:lnTo>
                  <a:lnTo>
                    <a:pt x="822" y="60"/>
                  </a:lnTo>
                  <a:lnTo>
                    <a:pt x="825" y="60"/>
                  </a:lnTo>
                  <a:lnTo>
                    <a:pt x="825" y="64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2" y="64"/>
                  </a:lnTo>
                  <a:close/>
                  <a:moveTo>
                    <a:pt x="790" y="64"/>
                  </a:moveTo>
                  <a:lnTo>
                    <a:pt x="786" y="60"/>
                  </a:lnTo>
                  <a:lnTo>
                    <a:pt x="790" y="60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794" y="64"/>
                  </a:lnTo>
                  <a:lnTo>
                    <a:pt x="790" y="64"/>
                  </a:lnTo>
                  <a:close/>
                  <a:moveTo>
                    <a:pt x="92" y="96"/>
                  </a:moveTo>
                  <a:lnTo>
                    <a:pt x="96" y="96"/>
                  </a:lnTo>
                  <a:lnTo>
                    <a:pt x="100" y="96"/>
                  </a:lnTo>
                  <a:lnTo>
                    <a:pt x="96" y="96"/>
                  </a:lnTo>
                  <a:lnTo>
                    <a:pt x="92" y="96"/>
                  </a:lnTo>
                  <a:close/>
                  <a:moveTo>
                    <a:pt x="814" y="140"/>
                  </a:moveTo>
                  <a:lnTo>
                    <a:pt x="814" y="144"/>
                  </a:lnTo>
                  <a:lnTo>
                    <a:pt x="810" y="144"/>
                  </a:lnTo>
                  <a:lnTo>
                    <a:pt x="810" y="140"/>
                  </a:lnTo>
                  <a:lnTo>
                    <a:pt x="814" y="140"/>
                  </a:lnTo>
                  <a:close/>
                  <a:moveTo>
                    <a:pt x="837" y="140"/>
                  </a:moveTo>
                  <a:lnTo>
                    <a:pt x="837" y="144"/>
                  </a:lnTo>
                  <a:lnTo>
                    <a:pt x="833" y="144"/>
                  </a:lnTo>
                  <a:lnTo>
                    <a:pt x="833" y="148"/>
                  </a:lnTo>
                  <a:lnTo>
                    <a:pt x="829" y="148"/>
                  </a:lnTo>
                  <a:lnTo>
                    <a:pt x="829" y="144"/>
                  </a:lnTo>
                  <a:lnTo>
                    <a:pt x="833" y="140"/>
                  </a:lnTo>
                  <a:lnTo>
                    <a:pt x="837" y="140"/>
                  </a:lnTo>
                  <a:close/>
                  <a:moveTo>
                    <a:pt x="829" y="156"/>
                  </a:moveTo>
                  <a:lnTo>
                    <a:pt x="825" y="152"/>
                  </a:lnTo>
                  <a:lnTo>
                    <a:pt x="829" y="152"/>
                  </a:lnTo>
                  <a:lnTo>
                    <a:pt x="829" y="156"/>
                  </a:lnTo>
                  <a:close/>
                  <a:moveTo>
                    <a:pt x="825" y="156"/>
                  </a:moveTo>
                  <a:lnTo>
                    <a:pt x="825" y="160"/>
                  </a:lnTo>
                  <a:lnTo>
                    <a:pt x="822" y="160"/>
                  </a:lnTo>
                  <a:lnTo>
                    <a:pt x="822" y="156"/>
                  </a:lnTo>
                  <a:lnTo>
                    <a:pt x="825" y="156"/>
                  </a:lnTo>
                  <a:close/>
                  <a:moveTo>
                    <a:pt x="814" y="164"/>
                  </a:moveTo>
                  <a:lnTo>
                    <a:pt x="818" y="168"/>
                  </a:lnTo>
                  <a:lnTo>
                    <a:pt x="814" y="168"/>
                  </a:lnTo>
                  <a:lnTo>
                    <a:pt x="810" y="168"/>
                  </a:lnTo>
                  <a:lnTo>
                    <a:pt x="810" y="164"/>
                  </a:lnTo>
                  <a:lnTo>
                    <a:pt x="814" y="164"/>
                  </a:lnTo>
                  <a:close/>
                  <a:moveTo>
                    <a:pt x="810" y="168"/>
                  </a:moveTo>
                  <a:lnTo>
                    <a:pt x="806" y="168"/>
                  </a:lnTo>
                  <a:lnTo>
                    <a:pt x="806" y="164"/>
                  </a:lnTo>
                  <a:lnTo>
                    <a:pt x="810" y="164"/>
                  </a:lnTo>
                  <a:lnTo>
                    <a:pt x="810" y="168"/>
                  </a:lnTo>
                  <a:close/>
                  <a:moveTo>
                    <a:pt x="814" y="172"/>
                  </a:moveTo>
                  <a:lnTo>
                    <a:pt x="814" y="168"/>
                  </a:lnTo>
                  <a:lnTo>
                    <a:pt x="818" y="168"/>
                  </a:lnTo>
                  <a:lnTo>
                    <a:pt x="814" y="172"/>
                  </a:lnTo>
                  <a:close/>
                  <a:moveTo>
                    <a:pt x="798" y="172"/>
                  </a:moveTo>
                  <a:lnTo>
                    <a:pt x="794" y="172"/>
                  </a:lnTo>
                  <a:lnTo>
                    <a:pt x="790" y="172"/>
                  </a:lnTo>
                  <a:lnTo>
                    <a:pt x="794" y="172"/>
                  </a:lnTo>
                  <a:lnTo>
                    <a:pt x="798" y="172"/>
                  </a:lnTo>
                  <a:close/>
                  <a:moveTo>
                    <a:pt x="818" y="172"/>
                  </a:moveTo>
                  <a:lnTo>
                    <a:pt x="818" y="176"/>
                  </a:lnTo>
                  <a:lnTo>
                    <a:pt x="814" y="176"/>
                  </a:lnTo>
                  <a:lnTo>
                    <a:pt x="814" y="172"/>
                  </a:lnTo>
                  <a:lnTo>
                    <a:pt x="818" y="172"/>
                  </a:lnTo>
                  <a:lnTo>
                    <a:pt x="822" y="172"/>
                  </a:lnTo>
                  <a:lnTo>
                    <a:pt x="818" y="172"/>
                  </a:lnTo>
                  <a:close/>
                  <a:moveTo>
                    <a:pt x="786" y="176"/>
                  </a:moveTo>
                  <a:lnTo>
                    <a:pt x="786" y="180"/>
                  </a:lnTo>
                  <a:lnTo>
                    <a:pt x="782" y="180"/>
                  </a:lnTo>
                  <a:lnTo>
                    <a:pt x="782" y="176"/>
                  </a:lnTo>
                  <a:lnTo>
                    <a:pt x="786" y="176"/>
                  </a:lnTo>
                  <a:close/>
                  <a:moveTo>
                    <a:pt x="802" y="187"/>
                  </a:moveTo>
                  <a:lnTo>
                    <a:pt x="802" y="191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802" y="187"/>
                  </a:lnTo>
                  <a:close/>
                  <a:moveTo>
                    <a:pt x="806" y="191"/>
                  </a:moveTo>
                  <a:lnTo>
                    <a:pt x="802" y="191"/>
                  </a:lnTo>
                  <a:lnTo>
                    <a:pt x="806" y="191"/>
                  </a:lnTo>
                  <a:close/>
                  <a:moveTo>
                    <a:pt x="104" y="191"/>
                  </a:moveTo>
                  <a:lnTo>
                    <a:pt x="100" y="191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104" y="191"/>
                  </a:lnTo>
                  <a:close/>
                  <a:moveTo>
                    <a:pt x="28" y="195"/>
                  </a:moveTo>
                  <a:lnTo>
                    <a:pt x="28" y="191"/>
                  </a:lnTo>
                  <a:lnTo>
                    <a:pt x="32" y="191"/>
                  </a:lnTo>
                  <a:lnTo>
                    <a:pt x="36" y="191"/>
                  </a:lnTo>
                  <a:lnTo>
                    <a:pt x="36" y="195"/>
                  </a:lnTo>
                  <a:lnTo>
                    <a:pt x="40" y="195"/>
                  </a:lnTo>
                  <a:lnTo>
                    <a:pt x="44" y="195"/>
                  </a:lnTo>
                  <a:lnTo>
                    <a:pt x="40" y="195"/>
                  </a:lnTo>
                  <a:lnTo>
                    <a:pt x="36" y="195"/>
                  </a:lnTo>
                  <a:lnTo>
                    <a:pt x="32" y="195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8" y="195"/>
                  </a:lnTo>
                  <a:close/>
                  <a:moveTo>
                    <a:pt x="12" y="195"/>
                  </a:moveTo>
                  <a:lnTo>
                    <a:pt x="16" y="195"/>
                  </a:lnTo>
                  <a:lnTo>
                    <a:pt x="20" y="195"/>
                  </a:lnTo>
                  <a:lnTo>
                    <a:pt x="24" y="195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12" y="195"/>
                  </a:lnTo>
                  <a:close/>
                  <a:moveTo>
                    <a:pt x="806" y="211"/>
                  </a:moveTo>
                  <a:lnTo>
                    <a:pt x="810" y="211"/>
                  </a:lnTo>
                  <a:lnTo>
                    <a:pt x="806" y="215"/>
                  </a:lnTo>
                  <a:lnTo>
                    <a:pt x="806" y="211"/>
                  </a:lnTo>
                  <a:close/>
                  <a:moveTo>
                    <a:pt x="806" y="215"/>
                  </a:moveTo>
                  <a:lnTo>
                    <a:pt x="810" y="215"/>
                  </a:lnTo>
                  <a:lnTo>
                    <a:pt x="806" y="215"/>
                  </a:lnTo>
                  <a:close/>
                  <a:moveTo>
                    <a:pt x="786" y="219"/>
                  </a:moveTo>
                  <a:lnTo>
                    <a:pt x="782" y="219"/>
                  </a:lnTo>
                  <a:lnTo>
                    <a:pt x="778" y="219"/>
                  </a:lnTo>
                  <a:lnTo>
                    <a:pt x="782" y="219"/>
                  </a:lnTo>
                  <a:lnTo>
                    <a:pt x="786" y="219"/>
                  </a:lnTo>
                  <a:close/>
                  <a:moveTo>
                    <a:pt x="52" y="219"/>
                  </a:moveTo>
                  <a:lnTo>
                    <a:pt x="48" y="219"/>
                  </a:lnTo>
                  <a:lnTo>
                    <a:pt x="44" y="219"/>
                  </a:lnTo>
                  <a:lnTo>
                    <a:pt x="48" y="219"/>
                  </a:lnTo>
                  <a:lnTo>
                    <a:pt x="52" y="219"/>
                  </a:lnTo>
                  <a:close/>
                  <a:moveTo>
                    <a:pt x="790" y="223"/>
                  </a:moveTo>
                  <a:lnTo>
                    <a:pt x="790" y="227"/>
                  </a:lnTo>
                  <a:lnTo>
                    <a:pt x="790" y="223"/>
                  </a:lnTo>
                  <a:lnTo>
                    <a:pt x="786" y="223"/>
                  </a:lnTo>
                  <a:lnTo>
                    <a:pt x="790" y="223"/>
                  </a:lnTo>
                  <a:lnTo>
                    <a:pt x="790" y="219"/>
                  </a:lnTo>
                  <a:lnTo>
                    <a:pt x="790" y="223"/>
                  </a:lnTo>
                  <a:close/>
                  <a:moveTo>
                    <a:pt x="44" y="223"/>
                  </a:moveTo>
                  <a:lnTo>
                    <a:pt x="48" y="223"/>
                  </a:lnTo>
                  <a:lnTo>
                    <a:pt x="44" y="223"/>
                  </a:lnTo>
                  <a:close/>
                  <a:moveTo>
                    <a:pt x="798" y="223"/>
                  </a:moveTo>
                  <a:lnTo>
                    <a:pt x="802" y="223"/>
                  </a:lnTo>
                  <a:lnTo>
                    <a:pt x="802" y="227"/>
                  </a:lnTo>
                  <a:lnTo>
                    <a:pt x="798" y="227"/>
                  </a:lnTo>
                  <a:lnTo>
                    <a:pt x="798" y="223"/>
                  </a:lnTo>
                  <a:lnTo>
                    <a:pt x="794" y="227"/>
                  </a:lnTo>
                  <a:lnTo>
                    <a:pt x="794" y="223"/>
                  </a:lnTo>
                  <a:lnTo>
                    <a:pt x="798" y="223"/>
                  </a:lnTo>
                  <a:close/>
                  <a:moveTo>
                    <a:pt x="786" y="227"/>
                  </a:move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4" y="227"/>
                  </a:lnTo>
                  <a:lnTo>
                    <a:pt x="790" y="227"/>
                  </a:lnTo>
                  <a:lnTo>
                    <a:pt x="786" y="227"/>
                  </a:lnTo>
                  <a:close/>
                  <a:moveTo>
                    <a:pt x="798" y="227"/>
                  </a:moveTo>
                  <a:lnTo>
                    <a:pt x="794" y="227"/>
                  </a:lnTo>
                  <a:lnTo>
                    <a:pt x="798" y="227"/>
                  </a:lnTo>
                  <a:lnTo>
                    <a:pt x="802" y="227"/>
                  </a:lnTo>
                  <a:lnTo>
                    <a:pt x="798" y="227"/>
                  </a:lnTo>
                  <a:close/>
                  <a:moveTo>
                    <a:pt x="119" y="235"/>
                  </a:moveTo>
                  <a:lnTo>
                    <a:pt x="123" y="235"/>
                  </a:lnTo>
                  <a:lnTo>
                    <a:pt x="119" y="235"/>
                  </a:lnTo>
                  <a:lnTo>
                    <a:pt x="116" y="235"/>
                  </a:lnTo>
                  <a:lnTo>
                    <a:pt x="119" y="235"/>
                  </a:lnTo>
                  <a:close/>
                  <a:moveTo>
                    <a:pt x="802" y="239"/>
                  </a:moveTo>
                  <a:lnTo>
                    <a:pt x="798" y="239"/>
                  </a:lnTo>
                  <a:lnTo>
                    <a:pt x="802" y="235"/>
                  </a:lnTo>
                  <a:lnTo>
                    <a:pt x="802" y="239"/>
                  </a:lnTo>
                  <a:close/>
                  <a:moveTo>
                    <a:pt x="798" y="263"/>
                  </a:moveTo>
                  <a:lnTo>
                    <a:pt x="802" y="267"/>
                  </a:lnTo>
                  <a:lnTo>
                    <a:pt x="798" y="267"/>
                  </a:lnTo>
                  <a:lnTo>
                    <a:pt x="802" y="267"/>
                  </a:lnTo>
                  <a:lnTo>
                    <a:pt x="806" y="271"/>
                  </a:lnTo>
                  <a:lnTo>
                    <a:pt x="802" y="275"/>
                  </a:lnTo>
                  <a:lnTo>
                    <a:pt x="798" y="275"/>
                  </a:lnTo>
                  <a:lnTo>
                    <a:pt x="794" y="275"/>
                  </a:lnTo>
                  <a:lnTo>
                    <a:pt x="794" y="271"/>
                  </a:lnTo>
                  <a:lnTo>
                    <a:pt x="794" y="267"/>
                  </a:lnTo>
                  <a:lnTo>
                    <a:pt x="794" y="263"/>
                  </a:lnTo>
                  <a:lnTo>
                    <a:pt x="798" y="263"/>
                  </a:lnTo>
                  <a:close/>
                  <a:moveTo>
                    <a:pt x="825" y="275"/>
                  </a:moveTo>
                  <a:lnTo>
                    <a:pt x="822" y="275"/>
                  </a:lnTo>
                  <a:lnTo>
                    <a:pt x="825" y="275"/>
                  </a:lnTo>
                  <a:lnTo>
                    <a:pt x="829" y="275"/>
                  </a:lnTo>
                  <a:lnTo>
                    <a:pt x="825" y="275"/>
                  </a:lnTo>
                  <a:close/>
                  <a:moveTo>
                    <a:pt x="822" y="279"/>
                  </a:moveTo>
                  <a:lnTo>
                    <a:pt x="818" y="279"/>
                  </a:lnTo>
                  <a:lnTo>
                    <a:pt x="814" y="279"/>
                  </a:lnTo>
                  <a:lnTo>
                    <a:pt x="818" y="275"/>
                  </a:lnTo>
                  <a:lnTo>
                    <a:pt x="822" y="275"/>
                  </a:lnTo>
                  <a:lnTo>
                    <a:pt x="822" y="279"/>
                  </a:lnTo>
                  <a:close/>
                  <a:moveTo>
                    <a:pt x="243" y="279"/>
                  </a:moveTo>
                  <a:lnTo>
                    <a:pt x="239" y="279"/>
                  </a:lnTo>
                  <a:lnTo>
                    <a:pt x="243" y="279"/>
                  </a:lnTo>
                  <a:close/>
                  <a:moveTo>
                    <a:pt x="235" y="279"/>
                  </a:moveTo>
                  <a:lnTo>
                    <a:pt x="239" y="279"/>
                  </a:lnTo>
                  <a:lnTo>
                    <a:pt x="243" y="279"/>
                  </a:lnTo>
                  <a:lnTo>
                    <a:pt x="247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3" y="279"/>
                  </a:lnTo>
                  <a:lnTo>
                    <a:pt x="239" y="283"/>
                  </a:lnTo>
                  <a:lnTo>
                    <a:pt x="235" y="279"/>
                  </a:lnTo>
                  <a:close/>
                  <a:moveTo>
                    <a:pt x="786" y="283"/>
                  </a:moveTo>
                  <a:lnTo>
                    <a:pt x="790" y="283"/>
                  </a:lnTo>
                  <a:lnTo>
                    <a:pt x="794" y="283"/>
                  </a:lnTo>
                  <a:lnTo>
                    <a:pt x="794" y="287"/>
                  </a:lnTo>
                  <a:lnTo>
                    <a:pt x="798" y="287"/>
                  </a:lnTo>
                  <a:lnTo>
                    <a:pt x="802" y="287"/>
                  </a:lnTo>
                  <a:lnTo>
                    <a:pt x="802" y="291"/>
                  </a:lnTo>
                  <a:lnTo>
                    <a:pt x="798" y="291"/>
                  </a:lnTo>
                  <a:lnTo>
                    <a:pt x="794" y="291"/>
                  </a:lnTo>
                  <a:lnTo>
                    <a:pt x="790" y="291"/>
                  </a:lnTo>
                  <a:lnTo>
                    <a:pt x="786" y="291"/>
                  </a:lnTo>
                  <a:lnTo>
                    <a:pt x="782" y="291"/>
                  </a:lnTo>
                  <a:lnTo>
                    <a:pt x="778" y="291"/>
                  </a:lnTo>
                  <a:lnTo>
                    <a:pt x="774" y="291"/>
                  </a:lnTo>
                  <a:lnTo>
                    <a:pt x="774" y="287"/>
                  </a:lnTo>
                  <a:lnTo>
                    <a:pt x="774" y="283"/>
                  </a:lnTo>
                  <a:lnTo>
                    <a:pt x="778" y="283"/>
                  </a:lnTo>
                  <a:lnTo>
                    <a:pt x="782" y="283"/>
                  </a:lnTo>
                  <a:lnTo>
                    <a:pt x="786" y="283"/>
                  </a:lnTo>
                  <a:close/>
                  <a:moveTo>
                    <a:pt x="251" y="299"/>
                  </a:moveTo>
                  <a:lnTo>
                    <a:pt x="247" y="299"/>
                  </a:lnTo>
                  <a:lnTo>
                    <a:pt x="251" y="299"/>
                  </a:lnTo>
                  <a:lnTo>
                    <a:pt x="255" y="299"/>
                  </a:lnTo>
                  <a:lnTo>
                    <a:pt x="259" y="299"/>
                  </a:lnTo>
                  <a:lnTo>
                    <a:pt x="255" y="299"/>
                  </a:lnTo>
                  <a:lnTo>
                    <a:pt x="251" y="299"/>
                  </a:lnTo>
                  <a:close/>
                  <a:moveTo>
                    <a:pt x="251" y="303"/>
                  </a:move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51" y="303"/>
                  </a:lnTo>
                  <a:close/>
                  <a:moveTo>
                    <a:pt x="251" y="307"/>
                  </a:moveTo>
                  <a:lnTo>
                    <a:pt x="247" y="307"/>
                  </a:lnTo>
                  <a:lnTo>
                    <a:pt x="251" y="307"/>
                  </a:lnTo>
                  <a:lnTo>
                    <a:pt x="251" y="303"/>
                  </a:lnTo>
                  <a:lnTo>
                    <a:pt x="255" y="303"/>
                  </a:lnTo>
                  <a:lnTo>
                    <a:pt x="255" y="307"/>
                  </a:lnTo>
                  <a:lnTo>
                    <a:pt x="251" y="307"/>
                  </a:lnTo>
                  <a:close/>
                  <a:moveTo>
                    <a:pt x="259" y="307"/>
                  </a:moveTo>
                  <a:lnTo>
                    <a:pt x="263" y="307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55" y="307"/>
                  </a:lnTo>
                  <a:lnTo>
                    <a:pt x="259" y="307"/>
                  </a:lnTo>
                  <a:close/>
                  <a:moveTo>
                    <a:pt x="259" y="311"/>
                  </a:move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734" y="311"/>
                  </a:moveTo>
                  <a:lnTo>
                    <a:pt x="738" y="311"/>
                  </a:lnTo>
                  <a:lnTo>
                    <a:pt x="742" y="315"/>
                  </a:lnTo>
                  <a:lnTo>
                    <a:pt x="746" y="315"/>
                  </a:lnTo>
                  <a:lnTo>
                    <a:pt x="750" y="315"/>
                  </a:lnTo>
                  <a:lnTo>
                    <a:pt x="754" y="315"/>
                  </a:lnTo>
                  <a:lnTo>
                    <a:pt x="754" y="319"/>
                  </a:lnTo>
                  <a:lnTo>
                    <a:pt x="746" y="319"/>
                  </a:lnTo>
                  <a:lnTo>
                    <a:pt x="746" y="315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30" y="315"/>
                  </a:lnTo>
                  <a:lnTo>
                    <a:pt x="734" y="315"/>
                  </a:lnTo>
                  <a:lnTo>
                    <a:pt x="738" y="315"/>
                  </a:lnTo>
                  <a:lnTo>
                    <a:pt x="742" y="315"/>
                  </a:lnTo>
                  <a:lnTo>
                    <a:pt x="742" y="319"/>
                  </a:lnTo>
                  <a:lnTo>
                    <a:pt x="746" y="319"/>
                  </a:lnTo>
                  <a:lnTo>
                    <a:pt x="750" y="319"/>
                  </a:lnTo>
                  <a:lnTo>
                    <a:pt x="754" y="319"/>
                  </a:lnTo>
                  <a:lnTo>
                    <a:pt x="758" y="319"/>
                  </a:lnTo>
                  <a:lnTo>
                    <a:pt x="754" y="319"/>
                  </a:lnTo>
                  <a:lnTo>
                    <a:pt x="750" y="319"/>
                  </a:lnTo>
                  <a:lnTo>
                    <a:pt x="750" y="323"/>
                  </a:lnTo>
                  <a:lnTo>
                    <a:pt x="746" y="323"/>
                  </a:lnTo>
                  <a:lnTo>
                    <a:pt x="742" y="323"/>
                  </a:lnTo>
                  <a:lnTo>
                    <a:pt x="738" y="323"/>
                  </a:lnTo>
                  <a:lnTo>
                    <a:pt x="734" y="323"/>
                  </a:lnTo>
                  <a:lnTo>
                    <a:pt x="730" y="323"/>
                  </a:lnTo>
                  <a:lnTo>
                    <a:pt x="726" y="319"/>
                  </a:lnTo>
                  <a:lnTo>
                    <a:pt x="722" y="319"/>
                  </a:lnTo>
                  <a:lnTo>
                    <a:pt x="718" y="319"/>
                  </a:lnTo>
                  <a:lnTo>
                    <a:pt x="714" y="319"/>
                  </a:lnTo>
                  <a:lnTo>
                    <a:pt x="718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6" y="311"/>
                  </a:lnTo>
                  <a:lnTo>
                    <a:pt x="730" y="311"/>
                  </a:lnTo>
                  <a:lnTo>
                    <a:pt x="734" y="311"/>
                  </a:lnTo>
                  <a:close/>
                  <a:moveTo>
                    <a:pt x="263" y="315"/>
                  </a:moveTo>
                  <a:lnTo>
                    <a:pt x="267" y="311"/>
                  </a:lnTo>
                  <a:lnTo>
                    <a:pt x="267" y="315"/>
                  </a:lnTo>
                  <a:lnTo>
                    <a:pt x="263" y="315"/>
                  </a:lnTo>
                  <a:close/>
                  <a:moveTo>
                    <a:pt x="259" y="311"/>
                  </a:moveTo>
                  <a:lnTo>
                    <a:pt x="259" y="315"/>
                  </a:lnTo>
                  <a:lnTo>
                    <a:pt x="255" y="315"/>
                  </a:ln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263" y="315"/>
                  </a:moveTo>
                  <a:lnTo>
                    <a:pt x="259" y="315"/>
                  </a:lnTo>
                  <a:lnTo>
                    <a:pt x="263" y="315"/>
                  </a:lnTo>
                  <a:close/>
                  <a:moveTo>
                    <a:pt x="259" y="315"/>
                  </a:moveTo>
                  <a:lnTo>
                    <a:pt x="259" y="319"/>
                  </a:lnTo>
                  <a:lnTo>
                    <a:pt x="255" y="319"/>
                  </a:lnTo>
                  <a:lnTo>
                    <a:pt x="255" y="315"/>
                  </a:lnTo>
                  <a:lnTo>
                    <a:pt x="259" y="315"/>
                  </a:lnTo>
                  <a:close/>
                  <a:moveTo>
                    <a:pt x="267" y="327"/>
                  </a:moveTo>
                  <a:lnTo>
                    <a:pt x="267" y="323"/>
                  </a:lnTo>
                  <a:lnTo>
                    <a:pt x="263" y="323"/>
                  </a:lnTo>
                  <a:lnTo>
                    <a:pt x="267" y="323"/>
                  </a:lnTo>
                  <a:lnTo>
                    <a:pt x="271" y="323"/>
                  </a:lnTo>
                  <a:lnTo>
                    <a:pt x="271" y="327"/>
                  </a:lnTo>
                  <a:lnTo>
                    <a:pt x="267" y="327"/>
                  </a:lnTo>
                  <a:close/>
                  <a:moveTo>
                    <a:pt x="730" y="327"/>
                  </a:moveTo>
                  <a:lnTo>
                    <a:pt x="730" y="331"/>
                  </a:lnTo>
                  <a:lnTo>
                    <a:pt x="726" y="331"/>
                  </a:lnTo>
                  <a:lnTo>
                    <a:pt x="722" y="327"/>
                  </a:lnTo>
                  <a:lnTo>
                    <a:pt x="726" y="327"/>
                  </a:lnTo>
                  <a:lnTo>
                    <a:pt x="730" y="327"/>
                  </a:lnTo>
                  <a:close/>
                  <a:moveTo>
                    <a:pt x="263" y="327"/>
                  </a:moveTo>
                  <a:lnTo>
                    <a:pt x="267" y="327"/>
                  </a:lnTo>
                  <a:lnTo>
                    <a:pt x="263" y="327"/>
                  </a:lnTo>
                  <a:close/>
                  <a:moveTo>
                    <a:pt x="271" y="327"/>
                  </a:moveTo>
                  <a:lnTo>
                    <a:pt x="271" y="331"/>
                  </a:lnTo>
                  <a:lnTo>
                    <a:pt x="267" y="331"/>
                  </a:lnTo>
                  <a:lnTo>
                    <a:pt x="267" y="335"/>
                  </a:lnTo>
                  <a:lnTo>
                    <a:pt x="263" y="335"/>
                  </a:lnTo>
                  <a:lnTo>
                    <a:pt x="259" y="335"/>
                  </a:lnTo>
                  <a:lnTo>
                    <a:pt x="263" y="331"/>
                  </a:lnTo>
                  <a:lnTo>
                    <a:pt x="267" y="331"/>
                  </a:lnTo>
                  <a:lnTo>
                    <a:pt x="267" y="327"/>
                  </a:lnTo>
                  <a:lnTo>
                    <a:pt x="271" y="327"/>
                  </a:lnTo>
                  <a:close/>
                  <a:moveTo>
                    <a:pt x="263" y="331"/>
                  </a:moveTo>
                  <a:lnTo>
                    <a:pt x="259" y="331"/>
                  </a:lnTo>
                  <a:lnTo>
                    <a:pt x="255" y="335"/>
                  </a:lnTo>
                  <a:lnTo>
                    <a:pt x="255" y="331"/>
                  </a:lnTo>
                  <a:lnTo>
                    <a:pt x="259" y="331"/>
                  </a:lnTo>
                  <a:lnTo>
                    <a:pt x="263" y="331"/>
                  </a:lnTo>
                  <a:close/>
                  <a:moveTo>
                    <a:pt x="271" y="331"/>
                  </a:moveTo>
                  <a:lnTo>
                    <a:pt x="275" y="331"/>
                  </a:lnTo>
                  <a:lnTo>
                    <a:pt x="271" y="331"/>
                  </a:lnTo>
                  <a:close/>
                  <a:moveTo>
                    <a:pt x="271" y="331"/>
                  </a:moveTo>
                  <a:lnTo>
                    <a:pt x="271" y="335"/>
                  </a:lnTo>
                  <a:lnTo>
                    <a:pt x="267" y="335"/>
                  </a:lnTo>
                  <a:lnTo>
                    <a:pt x="267" y="331"/>
                  </a:lnTo>
                  <a:lnTo>
                    <a:pt x="271" y="331"/>
                  </a:lnTo>
                  <a:close/>
                  <a:moveTo>
                    <a:pt x="271" y="335"/>
                  </a:moveTo>
                  <a:lnTo>
                    <a:pt x="267" y="335"/>
                  </a:lnTo>
                  <a:lnTo>
                    <a:pt x="271" y="335"/>
                  </a:lnTo>
                  <a:close/>
                  <a:moveTo>
                    <a:pt x="271" y="339"/>
                  </a:moveTo>
                  <a:lnTo>
                    <a:pt x="271" y="343"/>
                  </a:lnTo>
                  <a:lnTo>
                    <a:pt x="267" y="343"/>
                  </a:lnTo>
                  <a:lnTo>
                    <a:pt x="267" y="347"/>
                  </a:lnTo>
                  <a:lnTo>
                    <a:pt x="263" y="347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71" y="343"/>
                  </a:lnTo>
                  <a:lnTo>
                    <a:pt x="271" y="339"/>
                  </a:lnTo>
                  <a:close/>
                  <a:moveTo>
                    <a:pt x="718" y="375"/>
                  </a:moveTo>
                  <a:lnTo>
                    <a:pt x="722" y="379"/>
                  </a:lnTo>
                  <a:lnTo>
                    <a:pt x="718" y="375"/>
                  </a:lnTo>
                  <a:close/>
                  <a:moveTo>
                    <a:pt x="331" y="395"/>
                  </a:moveTo>
                  <a:lnTo>
                    <a:pt x="327" y="395"/>
                  </a:lnTo>
                  <a:lnTo>
                    <a:pt x="327" y="391"/>
                  </a:lnTo>
                  <a:lnTo>
                    <a:pt x="323" y="391"/>
                  </a:lnTo>
                  <a:lnTo>
                    <a:pt x="327" y="391"/>
                  </a:lnTo>
                  <a:lnTo>
                    <a:pt x="331" y="395"/>
                  </a:lnTo>
                  <a:close/>
                  <a:moveTo>
                    <a:pt x="754" y="415"/>
                  </a:moveTo>
                  <a:lnTo>
                    <a:pt x="750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54" y="415"/>
                  </a:lnTo>
                  <a:close/>
                  <a:moveTo>
                    <a:pt x="319" y="443"/>
                  </a:moveTo>
                  <a:lnTo>
                    <a:pt x="315" y="447"/>
                  </a:lnTo>
                  <a:lnTo>
                    <a:pt x="311" y="447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15" y="443"/>
                  </a:lnTo>
                  <a:lnTo>
                    <a:pt x="315" y="447"/>
                  </a:lnTo>
                  <a:lnTo>
                    <a:pt x="319" y="443"/>
                  </a:lnTo>
                  <a:close/>
                  <a:moveTo>
                    <a:pt x="303" y="447"/>
                  </a:moveTo>
                  <a:lnTo>
                    <a:pt x="303" y="451"/>
                  </a:lnTo>
                  <a:lnTo>
                    <a:pt x="299" y="451"/>
                  </a:lnTo>
                  <a:lnTo>
                    <a:pt x="303" y="447"/>
                  </a:lnTo>
                  <a:close/>
                  <a:moveTo>
                    <a:pt x="626" y="455"/>
                  </a:moveTo>
                  <a:lnTo>
                    <a:pt x="622" y="455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26" y="455"/>
                  </a:lnTo>
                  <a:close/>
                  <a:moveTo>
                    <a:pt x="303" y="491"/>
                  </a:moveTo>
                  <a:lnTo>
                    <a:pt x="299" y="491"/>
                  </a:lnTo>
                  <a:lnTo>
                    <a:pt x="295" y="491"/>
                  </a:lnTo>
                  <a:lnTo>
                    <a:pt x="299" y="491"/>
                  </a:lnTo>
                  <a:lnTo>
                    <a:pt x="303" y="491"/>
                  </a:lnTo>
                  <a:close/>
                  <a:moveTo>
                    <a:pt x="546" y="519"/>
                  </a:moveTo>
                  <a:lnTo>
                    <a:pt x="546" y="515"/>
                  </a:lnTo>
                  <a:lnTo>
                    <a:pt x="546" y="519"/>
                  </a:lnTo>
                  <a:close/>
                  <a:moveTo>
                    <a:pt x="546" y="523"/>
                  </a:moveTo>
                  <a:lnTo>
                    <a:pt x="542" y="523"/>
                  </a:lnTo>
                  <a:lnTo>
                    <a:pt x="542" y="519"/>
                  </a:lnTo>
                  <a:lnTo>
                    <a:pt x="546" y="523"/>
                  </a:lnTo>
                  <a:close/>
                  <a:moveTo>
                    <a:pt x="299" y="523"/>
                  </a:moveTo>
                  <a:lnTo>
                    <a:pt x="303" y="523"/>
                  </a:lnTo>
                  <a:lnTo>
                    <a:pt x="303" y="527"/>
                  </a:lnTo>
                  <a:lnTo>
                    <a:pt x="299" y="523"/>
                  </a:lnTo>
                  <a:close/>
                  <a:moveTo>
                    <a:pt x="482" y="559"/>
                  </a:moveTo>
                  <a:lnTo>
                    <a:pt x="486" y="559"/>
                  </a:lnTo>
                  <a:lnTo>
                    <a:pt x="490" y="559"/>
                  </a:lnTo>
                  <a:lnTo>
                    <a:pt x="486" y="559"/>
                  </a:lnTo>
                  <a:lnTo>
                    <a:pt x="482" y="559"/>
                  </a:lnTo>
                  <a:close/>
                  <a:moveTo>
                    <a:pt x="482" y="587"/>
                  </a:moveTo>
                  <a:lnTo>
                    <a:pt x="482" y="583"/>
                  </a:lnTo>
                  <a:lnTo>
                    <a:pt x="478" y="583"/>
                  </a:lnTo>
                  <a:lnTo>
                    <a:pt x="474" y="583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78" y="583"/>
                  </a:lnTo>
                  <a:lnTo>
                    <a:pt x="482" y="583"/>
                  </a:lnTo>
                  <a:lnTo>
                    <a:pt x="482" y="587"/>
                  </a:lnTo>
                  <a:close/>
                  <a:moveTo>
                    <a:pt x="482" y="587"/>
                  </a:moveTo>
                  <a:lnTo>
                    <a:pt x="478" y="587"/>
                  </a:lnTo>
                  <a:lnTo>
                    <a:pt x="482" y="587"/>
                  </a:lnTo>
                  <a:close/>
                  <a:moveTo>
                    <a:pt x="335" y="587"/>
                  </a:moveTo>
                  <a:lnTo>
                    <a:pt x="339" y="587"/>
                  </a:lnTo>
                  <a:lnTo>
                    <a:pt x="335" y="587"/>
                  </a:lnTo>
                  <a:close/>
                  <a:moveTo>
                    <a:pt x="478" y="587"/>
                  </a:moveTo>
                  <a:lnTo>
                    <a:pt x="474" y="587"/>
                  </a:lnTo>
                  <a:lnTo>
                    <a:pt x="478" y="587"/>
                  </a:lnTo>
                  <a:lnTo>
                    <a:pt x="478" y="591"/>
                  </a:lnTo>
                  <a:lnTo>
                    <a:pt x="478" y="587"/>
                  </a:lnTo>
                  <a:close/>
                  <a:moveTo>
                    <a:pt x="474" y="595"/>
                  </a:moveTo>
                  <a:lnTo>
                    <a:pt x="474" y="591"/>
                  </a:lnTo>
                  <a:lnTo>
                    <a:pt x="478" y="591"/>
                  </a:lnTo>
                  <a:lnTo>
                    <a:pt x="474" y="595"/>
                  </a:lnTo>
                  <a:close/>
                  <a:moveTo>
                    <a:pt x="463" y="599"/>
                  </a:moveTo>
                  <a:lnTo>
                    <a:pt x="463" y="595"/>
                  </a:lnTo>
                  <a:lnTo>
                    <a:pt x="467" y="595"/>
                  </a:lnTo>
                  <a:lnTo>
                    <a:pt x="471" y="595"/>
                  </a:lnTo>
                  <a:lnTo>
                    <a:pt x="471" y="599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7" y="599"/>
                  </a:lnTo>
                  <a:lnTo>
                    <a:pt x="471" y="599"/>
                  </a:lnTo>
                  <a:lnTo>
                    <a:pt x="467" y="599"/>
                  </a:lnTo>
                  <a:lnTo>
                    <a:pt x="463" y="599"/>
                  </a:lnTo>
                  <a:close/>
                  <a:moveTo>
                    <a:pt x="467" y="603"/>
                  </a:moveTo>
                  <a:lnTo>
                    <a:pt x="463" y="603"/>
                  </a:lnTo>
                  <a:lnTo>
                    <a:pt x="467" y="599"/>
                  </a:lnTo>
                  <a:lnTo>
                    <a:pt x="467" y="603"/>
                  </a:lnTo>
                  <a:close/>
                  <a:moveTo>
                    <a:pt x="355" y="619"/>
                  </a:moveTo>
                  <a:lnTo>
                    <a:pt x="355" y="615"/>
                  </a:lnTo>
                  <a:lnTo>
                    <a:pt x="355" y="619"/>
                  </a:lnTo>
                  <a:close/>
                  <a:moveTo>
                    <a:pt x="467" y="622"/>
                  </a:moveTo>
                  <a:lnTo>
                    <a:pt x="467" y="619"/>
                  </a:lnTo>
                  <a:lnTo>
                    <a:pt x="467" y="622"/>
                  </a:lnTo>
                  <a:close/>
                  <a:moveTo>
                    <a:pt x="371" y="630"/>
                  </a:moveTo>
                  <a:lnTo>
                    <a:pt x="367" y="630"/>
                  </a:lnTo>
                  <a:lnTo>
                    <a:pt x="371" y="630"/>
                  </a:lnTo>
                  <a:close/>
                  <a:moveTo>
                    <a:pt x="375" y="638"/>
                  </a:moveTo>
                  <a:lnTo>
                    <a:pt x="379" y="638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close/>
                  <a:moveTo>
                    <a:pt x="407" y="642"/>
                  </a:moveTo>
                  <a:lnTo>
                    <a:pt x="403" y="642"/>
                  </a:lnTo>
                  <a:lnTo>
                    <a:pt x="403" y="646"/>
                  </a:lnTo>
                  <a:lnTo>
                    <a:pt x="399" y="646"/>
                  </a:lnTo>
                  <a:lnTo>
                    <a:pt x="395" y="646"/>
                  </a:lnTo>
                  <a:lnTo>
                    <a:pt x="399" y="646"/>
                  </a:lnTo>
                  <a:lnTo>
                    <a:pt x="399" y="642"/>
                  </a:lnTo>
                  <a:lnTo>
                    <a:pt x="403" y="642"/>
                  </a:lnTo>
                  <a:lnTo>
                    <a:pt x="407" y="642"/>
                  </a:lnTo>
                  <a:close/>
                  <a:moveTo>
                    <a:pt x="455" y="642"/>
                  </a:moveTo>
                  <a:lnTo>
                    <a:pt x="459" y="642"/>
                  </a:lnTo>
                  <a:lnTo>
                    <a:pt x="455" y="642"/>
                  </a:lnTo>
                  <a:close/>
                  <a:moveTo>
                    <a:pt x="383" y="646"/>
                  </a:moveTo>
                  <a:lnTo>
                    <a:pt x="379" y="646"/>
                  </a:lnTo>
                  <a:lnTo>
                    <a:pt x="375" y="646"/>
                  </a:lnTo>
                  <a:lnTo>
                    <a:pt x="379" y="642"/>
                  </a:lnTo>
                  <a:lnTo>
                    <a:pt x="383" y="642"/>
                  </a:lnTo>
                  <a:lnTo>
                    <a:pt x="383" y="646"/>
                  </a:lnTo>
                  <a:close/>
                  <a:moveTo>
                    <a:pt x="411" y="646"/>
                  </a:moveTo>
                  <a:lnTo>
                    <a:pt x="407" y="646"/>
                  </a:lnTo>
                  <a:lnTo>
                    <a:pt x="407" y="650"/>
                  </a:lnTo>
                  <a:lnTo>
                    <a:pt x="407" y="646"/>
                  </a:lnTo>
                  <a:lnTo>
                    <a:pt x="411" y="646"/>
                  </a:lnTo>
                  <a:close/>
                  <a:moveTo>
                    <a:pt x="411" y="646"/>
                  </a:moveTo>
                  <a:lnTo>
                    <a:pt x="411" y="650"/>
                  </a:lnTo>
                  <a:lnTo>
                    <a:pt x="407" y="650"/>
                  </a:lnTo>
                  <a:lnTo>
                    <a:pt x="411" y="646"/>
                  </a:lnTo>
                  <a:close/>
                  <a:moveTo>
                    <a:pt x="423" y="654"/>
                  </a:moveTo>
                  <a:lnTo>
                    <a:pt x="423" y="658"/>
                  </a:lnTo>
                  <a:lnTo>
                    <a:pt x="419" y="658"/>
                  </a:lnTo>
                  <a:lnTo>
                    <a:pt x="419" y="654"/>
                  </a:lnTo>
                  <a:lnTo>
                    <a:pt x="423" y="654"/>
                  </a:lnTo>
                  <a:close/>
                  <a:moveTo>
                    <a:pt x="447" y="666"/>
                  </a:moveTo>
                  <a:lnTo>
                    <a:pt x="443" y="666"/>
                  </a:lnTo>
                  <a:lnTo>
                    <a:pt x="439" y="662"/>
                  </a:lnTo>
                  <a:lnTo>
                    <a:pt x="439" y="658"/>
                  </a:lnTo>
                  <a:lnTo>
                    <a:pt x="443" y="662"/>
                  </a:lnTo>
                  <a:lnTo>
                    <a:pt x="447" y="662"/>
                  </a:lnTo>
                  <a:lnTo>
                    <a:pt x="451" y="662"/>
                  </a:lnTo>
                  <a:lnTo>
                    <a:pt x="451" y="666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7" y="666"/>
                  </a:lnTo>
                  <a:close/>
                  <a:moveTo>
                    <a:pt x="435" y="658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5" y="662"/>
                  </a:lnTo>
                  <a:lnTo>
                    <a:pt x="435" y="658"/>
                  </a:lnTo>
                  <a:close/>
                  <a:moveTo>
                    <a:pt x="435" y="662"/>
                  </a:moveTo>
                  <a:lnTo>
                    <a:pt x="435" y="666"/>
                  </a:lnTo>
                  <a:lnTo>
                    <a:pt x="431" y="666"/>
                  </a:lnTo>
                  <a:lnTo>
                    <a:pt x="431" y="662"/>
                  </a:lnTo>
                  <a:lnTo>
                    <a:pt x="435" y="662"/>
                  </a:lnTo>
                  <a:close/>
                  <a:moveTo>
                    <a:pt x="447" y="666"/>
                  </a:moveTo>
                  <a:lnTo>
                    <a:pt x="447" y="662"/>
                  </a:lnTo>
                  <a:lnTo>
                    <a:pt x="451" y="662"/>
                  </a:lnTo>
                  <a:lnTo>
                    <a:pt x="447" y="666"/>
                  </a:lnTo>
                  <a:close/>
                  <a:moveTo>
                    <a:pt x="435" y="666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9" y="666"/>
                  </a:lnTo>
                  <a:lnTo>
                    <a:pt x="435" y="666"/>
                  </a:lnTo>
                  <a:close/>
                  <a:moveTo>
                    <a:pt x="439" y="670"/>
                  </a:moveTo>
                  <a:lnTo>
                    <a:pt x="439" y="666"/>
                  </a:lnTo>
                  <a:lnTo>
                    <a:pt x="443" y="666"/>
                  </a:lnTo>
                  <a:lnTo>
                    <a:pt x="443" y="670"/>
                  </a:lnTo>
                  <a:lnTo>
                    <a:pt x="439" y="670"/>
                  </a:lnTo>
                  <a:close/>
                  <a:moveTo>
                    <a:pt x="335" y="443"/>
                  </a:moveTo>
                  <a:lnTo>
                    <a:pt x="335" y="439"/>
                  </a:lnTo>
                  <a:lnTo>
                    <a:pt x="339" y="439"/>
                  </a:lnTo>
                  <a:lnTo>
                    <a:pt x="335" y="439"/>
                  </a:lnTo>
                  <a:lnTo>
                    <a:pt x="331" y="439"/>
                  </a:lnTo>
                  <a:lnTo>
                    <a:pt x="331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31" y="439"/>
                  </a:lnTo>
                  <a:lnTo>
                    <a:pt x="335" y="435"/>
                  </a:lnTo>
                  <a:lnTo>
                    <a:pt x="331" y="435"/>
                  </a:lnTo>
                  <a:lnTo>
                    <a:pt x="331" y="431"/>
                  </a:lnTo>
                  <a:lnTo>
                    <a:pt x="335" y="431"/>
                  </a:lnTo>
                  <a:lnTo>
                    <a:pt x="335" y="435"/>
                  </a:lnTo>
                  <a:lnTo>
                    <a:pt x="335" y="431"/>
                  </a:lnTo>
                  <a:lnTo>
                    <a:pt x="339" y="431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43" y="431"/>
                  </a:lnTo>
                  <a:lnTo>
                    <a:pt x="343" y="435"/>
                  </a:lnTo>
                  <a:lnTo>
                    <a:pt x="347" y="435"/>
                  </a:lnTo>
                  <a:lnTo>
                    <a:pt x="347" y="431"/>
                  </a:lnTo>
                  <a:lnTo>
                    <a:pt x="343" y="431"/>
                  </a:lnTo>
                  <a:lnTo>
                    <a:pt x="339" y="431"/>
                  </a:lnTo>
                  <a:lnTo>
                    <a:pt x="343" y="431"/>
                  </a:lnTo>
                  <a:lnTo>
                    <a:pt x="347" y="431"/>
                  </a:lnTo>
                  <a:lnTo>
                    <a:pt x="347" y="427"/>
                  </a:lnTo>
                  <a:lnTo>
                    <a:pt x="343" y="427"/>
                  </a:lnTo>
                  <a:lnTo>
                    <a:pt x="339" y="427"/>
                  </a:lnTo>
                  <a:lnTo>
                    <a:pt x="343" y="427"/>
                  </a:lnTo>
                  <a:lnTo>
                    <a:pt x="343" y="423"/>
                  </a:lnTo>
                  <a:lnTo>
                    <a:pt x="339" y="423"/>
                  </a:lnTo>
                  <a:lnTo>
                    <a:pt x="339" y="427"/>
                  </a:lnTo>
                  <a:lnTo>
                    <a:pt x="335" y="431"/>
                  </a:lnTo>
                  <a:lnTo>
                    <a:pt x="331" y="431"/>
                  </a:lnTo>
                  <a:lnTo>
                    <a:pt x="331" y="427"/>
                  </a:lnTo>
                  <a:lnTo>
                    <a:pt x="335" y="427"/>
                  </a:lnTo>
                  <a:lnTo>
                    <a:pt x="335" y="423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39" y="419"/>
                  </a:lnTo>
                  <a:lnTo>
                    <a:pt x="335" y="419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43" y="415"/>
                  </a:lnTo>
                  <a:lnTo>
                    <a:pt x="339" y="415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1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3" y="411"/>
                  </a:lnTo>
                  <a:lnTo>
                    <a:pt x="339" y="411"/>
                  </a:lnTo>
                  <a:lnTo>
                    <a:pt x="339" y="407"/>
                  </a:lnTo>
                  <a:lnTo>
                    <a:pt x="343" y="407"/>
                  </a:lnTo>
                  <a:lnTo>
                    <a:pt x="339" y="407"/>
                  </a:lnTo>
                  <a:lnTo>
                    <a:pt x="335" y="407"/>
                  </a:lnTo>
                  <a:lnTo>
                    <a:pt x="331" y="407"/>
                  </a:lnTo>
                  <a:lnTo>
                    <a:pt x="327" y="407"/>
                  </a:lnTo>
                  <a:lnTo>
                    <a:pt x="331" y="407"/>
                  </a:lnTo>
                  <a:lnTo>
                    <a:pt x="335" y="407"/>
                  </a:lnTo>
                  <a:lnTo>
                    <a:pt x="331" y="403"/>
                  </a:lnTo>
                  <a:lnTo>
                    <a:pt x="327" y="403"/>
                  </a:lnTo>
                  <a:lnTo>
                    <a:pt x="327" y="407"/>
                  </a:lnTo>
                  <a:lnTo>
                    <a:pt x="323" y="407"/>
                  </a:lnTo>
                  <a:lnTo>
                    <a:pt x="319" y="407"/>
                  </a:lnTo>
                  <a:lnTo>
                    <a:pt x="315" y="407"/>
                  </a:lnTo>
                  <a:lnTo>
                    <a:pt x="311" y="407"/>
                  </a:lnTo>
                  <a:lnTo>
                    <a:pt x="311" y="403"/>
                  </a:lnTo>
                  <a:lnTo>
                    <a:pt x="307" y="403"/>
                  </a:lnTo>
                  <a:lnTo>
                    <a:pt x="307" y="399"/>
                  </a:lnTo>
                  <a:lnTo>
                    <a:pt x="303" y="399"/>
                  </a:lnTo>
                  <a:lnTo>
                    <a:pt x="299" y="399"/>
                  </a:lnTo>
                  <a:lnTo>
                    <a:pt x="295" y="395"/>
                  </a:lnTo>
                  <a:lnTo>
                    <a:pt x="291" y="395"/>
                  </a:lnTo>
                  <a:lnTo>
                    <a:pt x="287" y="395"/>
                  </a:lnTo>
                  <a:lnTo>
                    <a:pt x="283" y="395"/>
                  </a:lnTo>
                  <a:lnTo>
                    <a:pt x="283" y="391"/>
                  </a:lnTo>
                  <a:lnTo>
                    <a:pt x="279" y="387"/>
                  </a:lnTo>
                  <a:lnTo>
                    <a:pt x="283" y="387"/>
                  </a:lnTo>
                  <a:lnTo>
                    <a:pt x="283" y="383"/>
                  </a:lnTo>
                  <a:lnTo>
                    <a:pt x="287" y="383"/>
                  </a:lnTo>
                  <a:lnTo>
                    <a:pt x="291" y="383"/>
                  </a:lnTo>
                  <a:lnTo>
                    <a:pt x="295" y="387"/>
                  </a:lnTo>
                  <a:lnTo>
                    <a:pt x="299" y="387"/>
                  </a:lnTo>
                  <a:lnTo>
                    <a:pt x="303" y="387"/>
                  </a:lnTo>
                  <a:lnTo>
                    <a:pt x="307" y="387"/>
                  </a:lnTo>
                  <a:lnTo>
                    <a:pt x="311" y="387"/>
                  </a:lnTo>
                  <a:lnTo>
                    <a:pt x="315" y="391"/>
                  </a:lnTo>
                  <a:lnTo>
                    <a:pt x="319" y="391"/>
                  </a:lnTo>
                  <a:lnTo>
                    <a:pt x="323" y="395"/>
                  </a:lnTo>
                  <a:lnTo>
                    <a:pt x="327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5" y="399"/>
                  </a:lnTo>
                  <a:lnTo>
                    <a:pt x="339" y="399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39" y="395"/>
                  </a:lnTo>
                  <a:lnTo>
                    <a:pt x="335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1" y="391"/>
                  </a:lnTo>
                  <a:lnTo>
                    <a:pt x="327" y="391"/>
                  </a:lnTo>
                  <a:lnTo>
                    <a:pt x="331" y="391"/>
                  </a:lnTo>
                  <a:lnTo>
                    <a:pt x="335" y="391"/>
                  </a:lnTo>
                  <a:lnTo>
                    <a:pt x="335" y="387"/>
                  </a:lnTo>
                  <a:lnTo>
                    <a:pt x="335" y="391"/>
                  </a:lnTo>
                  <a:lnTo>
                    <a:pt x="339" y="391"/>
                  </a:lnTo>
                  <a:lnTo>
                    <a:pt x="335" y="387"/>
                  </a:lnTo>
                  <a:lnTo>
                    <a:pt x="331" y="387"/>
                  </a:lnTo>
                  <a:lnTo>
                    <a:pt x="327" y="387"/>
                  </a:lnTo>
                  <a:lnTo>
                    <a:pt x="327" y="383"/>
                  </a:lnTo>
                  <a:lnTo>
                    <a:pt x="331" y="383"/>
                  </a:lnTo>
                  <a:lnTo>
                    <a:pt x="335" y="387"/>
                  </a:lnTo>
                  <a:lnTo>
                    <a:pt x="339" y="387"/>
                  </a:lnTo>
                  <a:lnTo>
                    <a:pt x="335" y="387"/>
                  </a:lnTo>
                  <a:lnTo>
                    <a:pt x="335" y="383"/>
                  </a:lnTo>
                  <a:lnTo>
                    <a:pt x="331" y="383"/>
                  </a:lnTo>
                  <a:lnTo>
                    <a:pt x="327" y="383"/>
                  </a:lnTo>
                  <a:lnTo>
                    <a:pt x="323" y="383"/>
                  </a:lnTo>
                  <a:lnTo>
                    <a:pt x="323" y="379"/>
                  </a:lnTo>
                  <a:lnTo>
                    <a:pt x="319" y="379"/>
                  </a:lnTo>
                  <a:lnTo>
                    <a:pt x="323" y="379"/>
                  </a:lnTo>
                  <a:lnTo>
                    <a:pt x="327" y="379"/>
                  </a:lnTo>
                  <a:lnTo>
                    <a:pt x="331" y="379"/>
                  </a:lnTo>
                  <a:lnTo>
                    <a:pt x="335" y="379"/>
                  </a:lnTo>
                  <a:lnTo>
                    <a:pt x="331" y="379"/>
                  </a:lnTo>
                  <a:lnTo>
                    <a:pt x="327" y="379"/>
                  </a:lnTo>
                  <a:lnTo>
                    <a:pt x="327" y="375"/>
                  </a:lnTo>
                  <a:lnTo>
                    <a:pt x="331" y="375"/>
                  </a:lnTo>
                  <a:lnTo>
                    <a:pt x="327" y="375"/>
                  </a:lnTo>
                  <a:lnTo>
                    <a:pt x="323" y="375"/>
                  </a:lnTo>
                  <a:lnTo>
                    <a:pt x="319" y="375"/>
                  </a:lnTo>
                  <a:lnTo>
                    <a:pt x="315" y="375"/>
                  </a:lnTo>
                  <a:lnTo>
                    <a:pt x="319" y="375"/>
                  </a:lnTo>
                  <a:lnTo>
                    <a:pt x="319" y="371"/>
                  </a:lnTo>
                  <a:lnTo>
                    <a:pt x="323" y="371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75"/>
                  </a:lnTo>
                  <a:lnTo>
                    <a:pt x="311" y="375"/>
                  </a:lnTo>
                  <a:lnTo>
                    <a:pt x="311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9" y="367"/>
                  </a:lnTo>
                  <a:lnTo>
                    <a:pt x="323" y="367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07" y="367"/>
                  </a:lnTo>
                  <a:lnTo>
                    <a:pt x="303" y="367"/>
                  </a:lnTo>
                  <a:lnTo>
                    <a:pt x="307" y="367"/>
                  </a:lnTo>
                  <a:lnTo>
                    <a:pt x="307" y="363"/>
                  </a:lnTo>
                  <a:lnTo>
                    <a:pt x="311" y="363"/>
                  </a:lnTo>
                  <a:lnTo>
                    <a:pt x="315" y="363"/>
                  </a:lnTo>
                  <a:lnTo>
                    <a:pt x="319" y="363"/>
                  </a:lnTo>
                  <a:lnTo>
                    <a:pt x="323" y="363"/>
                  </a:lnTo>
                  <a:lnTo>
                    <a:pt x="323" y="359"/>
                  </a:lnTo>
                  <a:lnTo>
                    <a:pt x="319" y="359"/>
                  </a:lnTo>
                  <a:lnTo>
                    <a:pt x="319" y="363"/>
                  </a:lnTo>
                  <a:lnTo>
                    <a:pt x="315" y="363"/>
                  </a:lnTo>
                  <a:lnTo>
                    <a:pt x="311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3" y="359"/>
                  </a:lnTo>
                  <a:lnTo>
                    <a:pt x="299" y="359"/>
                  </a:lnTo>
                  <a:lnTo>
                    <a:pt x="303" y="359"/>
                  </a:lnTo>
                  <a:lnTo>
                    <a:pt x="303" y="355"/>
                  </a:lnTo>
                  <a:lnTo>
                    <a:pt x="307" y="351"/>
                  </a:lnTo>
                  <a:lnTo>
                    <a:pt x="303" y="355"/>
                  </a:lnTo>
                  <a:lnTo>
                    <a:pt x="299" y="355"/>
                  </a:lnTo>
                  <a:lnTo>
                    <a:pt x="295" y="355"/>
                  </a:lnTo>
                  <a:lnTo>
                    <a:pt x="295" y="351"/>
                  </a:lnTo>
                  <a:lnTo>
                    <a:pt x="295" y="347"/>
                  </a:lnTo>
                  <a:lnTo>
                    <a:pt x="291" y="347"/>
                  </a:lnTo>
                  <a:lnTo>
                    <a:pt x="291" y="343"/>
                  </a:lnTo>
                  <a:lnTo>
                    <a:pt x="295" y="343"/>
                  </a:lnTo>
                  <a:lnTo>
                    <a:pt x="291" y="343"/>
                  </a:lnTo>
                  <a:lnTo>
                    <a:pt x="287" y="343"/>
                  </a:lnTo>
                  <a:lnTo>
                    <a:pt x="291" y="347"/>
                  </a:lnTo>
                  <a:lnTo>
                    <a:pt x="291" y="351"/>
                  </a:lnTo>
                  <a:lnTo>
                    <a:pt x="295" y="351"/>
                  </a:lnTo>
                  <a:lnTo>
                    <a:pt x="295" y="355"/>
                  </a:lnTo>
                  <a:lnTo>
                    <a:pt x="295" y="359"/>
                  </a:lnTo>
                  <a:lnTo>
                    <a:pt x="291" y="359"/>
                  </a:lnTo>
                  <a:lnTo>
                    <a:pt x="287" y="359"/>
                  </a:lnTo>
                  <a:lnTo>
                    <a:pt x="291" y="359"/>
                  </a:lnTo>
                  <a:lnTo>
                    <a:pt x="291" y="363"/>
                  </a:lnTo>
                  <a:lnTo>
                    <a:pt x="287" y="363"/>
                  </a:lnTo>
                  <a:lnTo>
                    <a:pt x="287" y="359"/>
                  </a:lnTo>
                  <a:lnTo>
                    <a:pt x="287" y="363"/>
                  </a:lnTo>
                  <a:lnTo>
                    <a:pt x="291" y="363"/>
                  </a:lnTo>
                  <a:lnTo>
                    <a:pt x="291" y="367"/>
                  </a:lnTo>
                  <a:lnTo>
                    <a:pt x="287" y="367"/>
                  </a:lnTo>
                  <a:lnTo>
                    <a:pt x="283" y="367"/>
                  </a:lnTo>
                  <a:lnTo>
                    <a:pt x="283" y="371"/>
                  </a:lnTo>
                  <a:lnTo>
                    <a:pt x="279" y="371"/>
                  </a:lnTo>
                  <a:lnTo>
                    <a:pt x="275" y="371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63" y="367"/>
                  </a:lnTo>
                  <a:lnTo>
                    <a:pt x="263" y="363"/>
                  </a:lnTo>
                  <a:lnTo>
                    <a:pt x="259" y="359"/>
                  </a:lnTo>
                  <a:lnTo>
                    <a:pt x="263" y="359"/>
                  </a:lnTo>
                  <a:lnTo>
                    <a:pt x="267" y="359"/>
                  </a:lnTo>
                  <a:lnTo>
                    <a:pt x="267" y="355"/>
                  </a:lnTo>
                  <a:lnTo>
                    <a:pt x="271" y="355"/>
                  </a:lnTo>
                  <a:lnTo>
                    <a:pt x="275" y="355"/>
                  </a:lnTo>
                  <a:lnTo>
                    <a:pt x="279" y="351"/>
                  </a:lnTo>
                  <a:lnTo>
                    <a:pt x="279" y="347"/>
                  </a:lnTo>
                  <a:lnTo>
                    <a:pt x="283" y="347"/>
                  </a:lnTo>
                  <a:lnTo>
                    <a:pt x="279" y="347"/>
                  </a:lnTo>
                  <a:lnTo>
                    <a:pt x="279" y="351"/>
                  </a:lnTo>
                  <a:lnTo>
                    <a:pt x="275" y="351"/>
                  </a:lnTo>
                  <a:lnTo>
                    <a:pt x="275" y="355"/>
                  </a:lnTo>
                  <a:lnTo>
                    <a:pt x="271" y="355"/>
                  </a:lnTo>
                  <a:lnTo>
                    <a:pt x="267" y="355"/>
                  </a:lnTo>
                  <a:lnTo>
                    <a:pt x="267" y="351"/>
                  </a:lnTo>
                  <a:lnTo>
                    <a:pt x="263" y="351"/>
                  </a:lnTo>
                  <a:lnTo>
                    <a:pt x="267" y="351"/>
                  </a:lnTo>
                  <a:lnTo>
                    <a:pt x="267" y="347"/>
                  </a:lnTo>
                  <a:lnTo>
                    <a:pt x="275" y="343"/>
                  </a:lnTo>
                  <a:lnTo>
                    <a:pt x="271" y="343"/>
                  </a:lnTo>
                  <a:lnTo>
                    <a:pt x="275" y="343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67" y="343"/>
                  </a:lnTo>
                  <a:lnTo>
                    <a:pt x="267" y="339"/>
                  </a:lnTo>
                  <a:lnTo>
                    <a:pt x="263" y="339"/>
                  </a:lnTo>
                  <a:lnTo>
                    <a:pt x="263" y="335"/>
                  </a:lnTo>
                  <a:lnTo>
                    <a:pt x="267" y="335"/>
                  </a:lnTo>
                  <a:lnTo>
                    <a:pt x="267" y="339"/>
                  </a:lnTo>
                  <a:lnTo>
                    <a:pt x="271" y="339"/>
                  </a:lnTo>
                  <a:lnTo>
                    <a:pt x="279" y="339"/>
                  </a:lnTo>
                  <a:lnTo>
                    <a:pt x="283" y="339"/>
                  </a:lnTo>
                  <a:lnTo>
                    <a:pt x="279" y="339"/>
                  </a:lnTo>
                  <a:lnTo>
                    <a:pt x="275" y="339"/>
                  </a:lnTo>
                  <a:lnTo>
                    <a:pt x="275" y="335"/>
                  </a:lnTo>
                  <a:lnTo>
                    <a:pt x="271" y="339"/>
                  </a:lnTo>
                  <a:lnTo>
                    <a:pt x="271" y="335"/>
                  </a:lnTo>
                  <a:lnTo>
                    <a:pt x="275" y="335"/>
                  </a:lnTo>
                  <a:lnTo>
                    <a:pt x="279" y="335"/>
                  </a:lnTo>
                  <a:lnTo>
                    <a:pt x="275" y="335"/>
                  </a:lnTo>
                  <a:lnTo>
                    <a:pt x="275" y="331"/>
                  </a:lnTo>
                  <a:lnTo>
                    <a:pt x="279" y="331"/>
                  </a:lnTo>
                  <a:lnTo>
                    <a:pt x="275" y="331"/>
                  </a:lnTo>
                  <a:lnTo>
                    <a:pt x="275" y="327"/>
                  </a:lnTo>
                  <a:lnTo>
                    <a:pt x="279" y="327"/>
                  </a:lnTo>
                  <a:lnTo>
                    <a:pt x="275" y="327"/>
                  </a:lnTo>
                  <a:lnTo>
                    <a:pt x="275" y="323"/>
                  </a:lnTo>
                  <a:lnTo>
                    <a:pt x="271" y="323"/>
                  </a:lnTo>
                  <a:lnTo>
                    <a:pt x="267" y="323"/>
                  </a:lnTo>
                  <a:lnTo>
                    <a:pt x="263" y="323"/>
                  </a:lnTo>
                  <a:lnTo>
                    <a:pt x="263" y="319"/>
                  </a:lnTo>
                  <a:lnTo>
                    <a:pt x="267" y="319"/>
                  </a:lnTo>
                  <a:lnTo>
                    <a:pt x="271" y="319"/>
                  </a:lnTo>
                  <a:lnTo>
                    <a:pt x="267" y="315"/>
                  </a:lnTo>
                  <a:lnTo>
                    <a:pt x="267" y="311"/>
                  </a:lnTo>
                  <a:lnTo>
                    <a:pt x="271" y="311"/>
                  </a:lnTo>
                  <a:lnTo>
                    <a:pt x="271" y="315"/>
                  </a:lnTo>
                  <a:lnTo>
                    <a:pt x="271" y="311"/>
                  </a:lnTo>
                  <a:lnTo>
                    <a:pt x="267" y="311"/>
                  </a:lnTo>
                  <a:lnTo>
                    <a:pt x="263" y="311"/>
                  </a:lnTo>
                  <a:lnTo>
                    <a:pt x="263" y="307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63" y="303"/>
                  </a:lnTo>
                  <a:lnTo>
                    <a:pt x="259" y="303"/>
                  </a:lnTo>
                  <a:lnTo>
                    <a:pt x="259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1" y="295"/>
                  </a:lnTo>
                  <a:lnTo>
                    <a:pt x="251" y="291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1" y="287"/>
                  </a:lnTo>
                  <a:lnTo>
                    <a:pt x="247" y="291"/>
                  </a:lnTo>
                  <a:lnTo>
                    <a:pt x="243" y="291"/>
                  </a:lnTo>
                  <a:lnTo>
                    <a:pt x="239" y="291"/>
                  </a:lnTo>
                  <a:lnTo>
                    <a:pt x="235" y="291"/>
                  </a:lnTo>
                  <a:lnTo>
                    <a:pt x="239" y="291"/>
                  </a:lnTo>
                  <a:lnTo>
                    <a:pt x="243" y="291"/>
                  </a:lnTo>
                  <a:lnTo>
                    <a:pt x="247" y="291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83"/>
                  </a:lnTo>
                  <a:lnTo>
                    <a:pt x="251" y="283"/>
                  </a:lnTo>
                  <a:lnTo>
                    <a:pt x="247" y="283"/>
                  </a:lnTo>
                  <a:lnTo>
                    <a:pt x="243" y="283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7" y="275"/>
                  </a:lnTo>
                  <a:lnTo>
                    <a:pt x="243" y="275"/>
                  </a:lnTo>
                  <a:lnTo>
                    <a:pt x="239" y="275"/>
                  </a:lnTo>
                  <a:lnTo>
                    <a:pt x="239" y="271"/>
                  </a:lnTo>
                  <a:lnTo>
                    <a:pt x="243" y="271"/>
                  </a:lnTo>
                  <a:lnTo>
                    <a:pt x="243" y="267"/>
                  </a:lnTo>
                  <a:lnTo>
                    <a:pt x="239" y="267"/>
                  </a:lnTo>
                  <a:lnTo>
                    <a:pt x="235" y="267"/>
                  </a:lnTo>
                  <a:lnTo>
                    <a:pt x="231" y="267"/>
                  </a:lnTo>
                  <a:lnTo>
                    <a:pt x="227" y="267"/>
                  </a:lnTo>
                  <a:lnTo>
                    <a:pt x="227" y="263"/>
                  </a:lnTo>
                  <a:lnTo>
                    <a:pt x="223" y="263"/>
                  </a:lnTo>
                  <a:lnTo>
                    <a:pt x="227" y="263"/>
                  </a:lnTo>
                  <a:lnTo>
                    <a:pt x="227" y="259"/>
                  </a:lnTo>
                  <a:lnTo>
                    <a:pt x="223" y="259"/>
                  </a:lnTo>
                  <a:lnTo>
                    <a:pt x="223" y="255"/>
                  </a:lnTo>
                  <a:lnTo>
                    <a:pt x="219" y="255"/>
                  </a:lnTo>
                  <a:lnTo>
                    <a:pt x="215" y="255"/>
                  </a:lnTo>
                  <a:lnTo>
                    <a:pt x="219" y="255"/>
                  </a:lnTo>
                  <a:lnTo>
                    <a:pt x="223" y="255"/>
                  </a:lnTo>
                  <a:lnTo>
                    <a:pt x="223" y="251"/>
                  </a:lnTo>
                  <a:lnTo>
                    <a:pt x="219" y="251"/>
                  </a:lnTo>
                  <a:lnTo>
                    <a:pt x="219" y="247"/>
                  </a:lnTo>
                  <a:lnTo>
                    <a:pt x="223" y="247"/>
                  </a:lnTo>
                  <a:lnTo>
                    <a:pt x="219" y="247"/>
                  </a:lnTo>
                  <a:lnTo>
                    <a:pt x="219" y="243"/>
                  </a:lnTo>
                  <a:lnTo>
                    <a:pt x="215" y="243"/>
                  </a:lnTo>
                  <a:lnTo>
                    <a:pt x="215" y="247"/>
                  </a:lnTo>
                  <a:lnTo>
                    <a:pt x="211" y="247"/>
                  </a:lnTo>
                  <a:lnTo>
                    <a:pt x="207" y="243"/>
                  </a:lnTo>
                  <a:lnTo>
                    <a:pt x="211" y="243"/>
                  </a:lnTo>
                  <a:lnTo>
                    <a:pt x="211" y="239"/>
                  </a:lnTo>
                  <a:lnTo>
                    <a:pt x="207" y="239"/>
                  </a:lnTo>
                  <a:lnTo>
                    <a:pt x="203" y="239"/>
                  </a:lnTo>
                  <a:lnTo>
                    <a:pt x="203" y="243"/>
                  </a:lnTo>
                  <a:lnTo>
                    <a:pt x="199" y="243"/>
                  </a:lnTo>
                  <a:lnTo>
                    <a:pt x="199" y="239"/>
                  </a:lnTo>
                  <a:lnTo>
                    <a:pt x="203" y="239"/>
                  </a:lnTo>
                  <a:lnTo>
                    <a:pt x="199" y="239"/>
                  </a:lnTo>
                  <a:lnTo>
                    <a:pt x="195" y="239"/>
                  </a:lnTo>
                  <a:lnTo>
                    <a:pt x="195" y="235"/>
                  </a:lnTo>
                  <a:lnTo>
                    <a:pt x="191" y="235"/>
                  </a:lnTo>
                  <a:lnTo>
                    <a:pt x="187" y="235"/>
                  </a:lnTo>
                  <a:lnTo>
                    <a:pt x="183" y="235"/>
                  </a:lnTo>
                  <a:lnTo>
                    <a:pt x="183" y="231"/>
                  </a:lnTo>
                  <a:lnTo>
                    <a:pt x="175" y="231"/>
                  </a:lnTo>
                  <a:lnTo>
                    <a:pt x="171" y="231"/>
                  </a:lnTo>
                  <a:lnTo>
                    <a:pt x="167" y="231"/>
                  </a:lnTo>
                  <a:lnTo>
                    <a:pt x="163" y="231"/>
                  </a:lnTo>
                  <a:lnTo>
                    <a:pt x="163" y="227"/>
                  </a:lnTo>
                  <a:lnTo>
                    <a:pt x="159" y="227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55" y="227"/>
                  </a:lnTo>
                  <a:lnTo>
                    <a:pt x="155" y="231"/>
                  </a:lnTo>
                  <a:lnTo>
                    <a:pt x="151" y="231"/>
                  </a:lnTo>
                  <a:lnTo>
                    <a:pt x="155" y="227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3" y="227"/>
                  </a:lnTo>
                  <a:lnTo>
                    <a:pt x="139" y="231"/>
                  </a:lnTo>
                  <a:lnTo>
                    <a:pt x="135" y="231"/>
                  </a:lnTo>
                  <a:lnTo>
                    <a:pt x="131" y="231"/>
                  </a:lnTo>
                  <a:lnTo>
                    <a:pt x="131" y="227"/>
                  </a:lnTo>
                  <a:lnTo>
                    <a:pt x="127" y="231"/>
                  </a:lnTo>
                  <a:lnTo>
                    <a:pt x="127" y="227"/>
                  </a:lnTo>
                  <a:lnTo>
                    <a:pt x="127" y="231"/>
                  </a:lnTo>
                  <a:lnTo>
                    <a:pt x="123" y="231"/>
                  </a:lnTo>
                  <a:lnTo>
                    <a:pt x="127" y="231"/>
                  </a:lnTo>
                  <a:lnTo>
                    <a:pt x="127" y="235"/>
                  </a:lnTo>
                  <a:lnTo>
                    <a:pt x="123" y="235"/>
                  </a:lnTo>
                  <a:lnTo>
                    <a:pt x="123" y="231"/>
                  </a:lnTo>
                  <a:lnTo>
                    <a:pt x="119" y="231"/>
                  </a:lnTo>
                  <a:lnTo>
                    <a:pt x="119" y="235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2" y="235"/>
                  </a:lnTo>
                  <a:lnTo>
                    <a:pt x="108" y="235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4" y="227"/>
                  </a:lnTo>
                  <a:lnTo>
                    <a:pt x="100" y="231"/>
                  </a:lnTo>
                  <a:lnTo>
                    <a:pt x="100" y="235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92" y="227"/>
                  </a:lnTo>
                  <a:lnTo>
                    <a:pt x="88" y="231"/>
                  </a:lnTo>
                  <a:lnTo>
                    <a:pt x="92" y="231"/>
                  </a:lnTo>
                  <a:lnTo>
                    <a:pt x="92" y="235"/>
                  </a:lnTo>
                  <a:lnTo>
                    <a:pt x="96" y="235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68" y="235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0" y="231"/>
                  </a:lnTo>
                  <a:lnTo>
                    <a:pt x="60" y="227"/>
                  </a:lnTo>
                  <a:lnTo>
                    <a:pt x="56" y="227"/>
                  </a:lnTo>
                  <a:lnTo>
                    <a:pt x="52" y="227"/>
                  </a:lnTo>
                  <a:lnTo>
                    <a:pt x="52" y="223"/>
                  </a:lnTo>
                  <a:lnTo>
                    <a:pt x="56" y="223"/>
                  </a:lnTo>
                  <a:lnTo>
                    <a:pt x="60" y="223"/>
                  </a:lnTo>
                  <a:lnTo>
                    <a:pt x="64" y="219"/>
                  </a:lnTo>
                  <a:lnTo>
                    <a:pt x="68" y="219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0" y="215"/>
                  </a:lnTo>
                  <a:lnTo>
                    <a:pt x="56" y="215"/>
                  </a:lnTo>
                  <a:lnTo>
                    <a:pt x="52" y="215"/>
                  </a:lnTo>
                  <a:lnTo>
                    <a:pt x="48" y="215"/>
                  </a:lnTo>
                  <a:lnTo>
                    <a:pt x="44" y="215"/>
                  </a:lnTo>
                  <a:lnTo>
                    <a:pt x="44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4" y="211"/>
                  </a:lnTo>
                  <a:lnTo>
                    <a:pt x="40" y="211"/>
                  </a:lnTo>
                  <a:lnTo>
                    <a:pt x="40" y="215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6" y="207"/>
                  </a:lnTo>
                  <a:lnTo>
                    <a:pt x="32" y="211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32" y="203"/>
                  </a:lnTo>
                  <a:lnTo>
                    <a:pt x="36" y="199"/>
                  </a:lnTo>
                  <a:lnTo>
                    <a:pt x="40" y="199"/>
                  </a:lnTo>
                  <a:lnTo>
                    <a:pt x="44" y="199"/>
                  </a:lnTo>
                  <a:lnTo>
                    <a:pt x="48" y="199"/>
                  </a:lnTo>
                  <a:lnTo>
                    <a:pt x="52" y="199"/>
                  </a:lnTo>
                  <a:lnTo>
                    <a:pt x="56" y="199"/>
                  </a:lnTo>
                  <a:lnTo>
                    <a:pt x="60" y="199"/>
                  </a:lnTo>
                  <a:lnTo>
                    <a:pt x="60" y="203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72" y="203"/>
                  </a:lnTo>
                  <a:lnTo>
                    <a:pt x="76" y="203"/>
                  </a:lnTo>
                  <a:lnTo>
                    <a:pt x="76" y="199"/>
                  </a:lnTo>
                  <a:lnTo>
                    <a:pt x="80" y="199"/>
                  </a:lnTo>
                  <a:lnTo>
                    <a:pt x="80" y="203"/>
                  </a:lnTo>
                  <a:lnTo>
                    <a:pt x="84" y="203"/>
                  </a:lnTo>
                  <a:lnTo>
                    <a:pt x="88" y="203"/>
                  </a:lnTo>
                  <a:lnTo>
                    <a:pt x="92" y="203"/>
                  </a:lnTo>
                  <a:lnTo>
                    <a:pt x="96" y="203"/>
                  </a:lnTo>
                  <a:lnTo>
                    <a:pt x="100" y="203"/>
                  </a:lnTo>
                  <a:lnTo>
                    <a:pt x="104" y="203"/>
                  </a:lnTo>
                  <a:lnTo>
                    <a:pt x="104" y="199"/>
                  </a:lnTo>
                  <a:lnTo>
                    <a:pt x="100" y="203"/>
                  </a:lnTo>
                  <a:lnTo>
                    <a:pt x="96" y="203"/>
                  </a:lnTo>
                  <a:lnTo>
                    <a:pt x="92" y="203"/>
                  </a:lnTo>
                  <a:lnTo>
                    <a:pt x="88" y="203"/>
                  </a:lnTo>
                  <a:lnTo>
                    <a:pt x="84" y="203"/>
                  </a:lnTo>
                  <a:lnTo>
                    <a:pt x="84" y="199"/>
                  </a:lnTo>
                  <a:lnTo>
                    <a:pt x="80" y="199"/>
                  </a:lnTo>
                  <a:lnTo>
                    <a:pt x="76" y="199"/>
                  </a:lnTo>
                  <a:lnTo>
                    <a:pt x="72" y="199"/>
                  </a:lnTo>
                  <a:lnTo>
                    <a:pt x="68" y="199"/>
                  </a:lnTo>
                  <a:lnTo>
                    <a:pt x="64" y="199"/>
                  </a:lnTo>
                  <a:lnTo>
                    <a:pt x="60" y="199"/>
                  </a:lnTo>
                  <a:lnTo>
                    <a:pt x="64" y="199"/>
                  </a:lnTo>
                  <a:lnTo>
                    <a:pt x="68" y="195"/>
                  </a:lnTo>
                  <a:lnTo>
                    <a:pt x="72" y="195"/>
                  </a:lnTo>
                  <a:lnTo>
                    <a:pt x="76" y="195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8" y="195"/>
                  </a:lnTo>
                  <a:lnTo>
                    <a:pt x="92" y="195"/>
                  </a:lnTo>
                  <a:lnTo>
                    <a:pt x="96" y="195"/>
                  </a:lnTo>
                  <a:lnTo>
                    <a:pt x="96" y="199"/>
                  </a:lnTo>
                  <a:lnTo>
                    <a:pt x="100" y="199"/>
                  </a:lnTo>
                  <a:lnTo>
                    <a:pt x="104" y="199"/>
                  </a:lnTo>
                  <a:lnTo>
                    <a:pt x="100" y="199"/>
                  </a:lnTo>
                  <a:lnTo>
                    <a:pt x="96" y="195"/>
                  </a:lnTo>
                  <a:lnTo>
                    <a:pt x="100" y="195"/>
                  </a:lnTo>
                  <a:lnTo>
                    <a:pt x="104" y="195"/>
                  </a:lnTo>
                  <a:lnTo>
                    <a:pt x="104" y="191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96" y="187"/>
                  </a:lnTo>
                  <a:lnTo>
                    <a:pt x="92" y="187"/>
                  </a:lnTo>
                  <a:lnTo>
                    <a:pt x="88" y="187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68" y="187"/>
                  </a:lnTo>
                  <a:lnTo>
                    <a:pt x="64" y="187"/>
                  </a:lnTo>
                  <a:lnTo>
                    <a:pt x="64" y="191"/>
                  </a:lnTo>
                  <a:lnTo>
                    <a:pt x="68" y="191"/>
                  </a:lnTo>
                  <a:lnTo>
                    <a:pt x="64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2" y="191"/>
                  </a:lnTo>
                  <a:lnTo>
                    <a:pt x="48" y="191"/>
                  </a:lnTo>
                  <a:lnTo>
                    <a:pt x="44" y="191"/>
                  </a:lnTo>
                  <a:lnTo>
                    <a:pt x="40" y="191"/>
                  </a:lnTo>
                  <a:lnTo>
                    <a:pt x="44" y="187"/>
                  </a:lnTo>
                  <a:lnTo>
                    <a:pt x="48" y="187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7"/>
                  </a:lnTo>
                  <a:lnTo>
                    <a:pt x="48" y="187"/>
                  </a:lnTo>
                  <a:lnTo>
                    <a:pt x="44" y="187"/>
                  </a:lnTo>
                  <a:lnTo>
                    <a:pt x="40" y="187"/>
                  </a:lnTo>
                  <a:lnTo>
                    <a:pt x="36" y="187"/>
                  </a:lnTo>
                  <a:lnTo>
                    <a:pt x="36" y="184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4" y="180"/>
                  </a:lnTo>
                  <a:lnTo>
                    <a:pt x="24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8" y="176"/>
                  </a:lnTo>
                  <a:lnTo>
                    <a:pt x="12" y="176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0" y="172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4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20" y="160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2" y="156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60" y="152"/>
                  </a:lnTo>
                  <a:lnTo>
                    <a:pt x="64" y="152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8"/>
                  </a:lnTo>
                  <a:lnTo>
                    <a:pt x="80" y="144"/>
                  </a:lnTo>
                  <a:lnTo>
                    <a:pt x="84" y="144"/>
                  </a:lnTo>
                  <a:lnTo>
                    <a:pt x="88" y="144"/>
                  </a:lnTo>
                  <a:lnTo>
                    <a:pt x="92" y="144"/>
                  </a:lnTo>
                  <a:lnTo>
                    <a:pt x="96" y="144"/>
                  </a:lnTo>
                  <a:lnTo>
                    <a:pt x="100" y="144"/>
                  </a:lnTo>
                  <a:lnTo>
                    <a:pt x="104" y="144"/>
                  </a:lnTo>
                  <a:lnTo>
                    <a:pt x="108" y="144"/>
                  </a:lnTo>
                  <a:lnTo>
                    <a:pt x="112" y="140"/>
                  </a:lnTo>
                  <a:lnTo>
                    <a:pt x="116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23" y="132"/>
                  </a:lnTo>
                  <a:lnTo>
                    <a:pt x="123" y="128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9" y="120"/>
                  </a:lnTo>
                  <a:lnTo>
                    <a:pt x="119" y="116"/>
                  </a:lnTo>
                  <a:lnTo>
                    <a:pt x="123" y="116"/>
                  </a:lnTo>
                  <a:lnTo>
                    <a:pt x="131" y="116"/>
                  </a:lnTo>
                  <a:lnTo>
                    <a:pt x="131" y="112"/>
                  </a:lnTo>
                  <a:lnTo>
                    <a:pt x="135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2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19" y="116"/>
                  </a:lnTo>
                  <a:lnTo>
                    <a:pt x="119" y="112"/>
                  </a:lnTo>
                  <a:lnTo>
                    <a:pt x="116" y="112"/>
                  </a:lnTo>
                  <a:lnTo>
                    <a:pt x="116" y="116"/>
                  </a:lnTo>
                  <a:lnTo>
                    <a:pt x="112" y="116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8" y="104"/>
                  </a:lnTo>
                  <a:lnTo>
                    <a:pt x="92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6" y="92"/>
                  </a:lnTo>
                  <a:lnTo>
                    <a:pt x="119" y="92"/>
                  </a:lnTo>
                  <a:lnTo>
                    <a:pt x="119" y="88"/>
                  </a:ln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31" y="84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43" y="84"/>
                  </a:lnTo>
                  <a:lnTo>
                    <a:pt x="147" y="88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47" y="88"/>
                  </a:lnTo>
                  <a:lnTo>
                    <a:pt x="147" y="84"/>
                  </a:lnTo>
                  <a:lnTo>
                    <a:pt x="147" y="80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80"/>
                  </a:lnTo>
                  <a:lnTo>
                    <a:pt x="159" y="80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71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5" y="64"/>
                  </a:lnTo>
                  <a:lnTo>
                    <a:pt x="175" y="60"/>
                  </a:lnTo>
                  <a:lnTo>
                    <a:pt x="179" y="60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91" y="56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207" y="56"/>
                  </a:lnTo>
                  <a:lnTo>
                    <a:pt x="211" y="56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27" y="64"/>
                  </a:lnTo>
                  <a:lnTo>
                    <a:pt x="227" y="68"/>
                  </a:lnTo>
                  <a:lnTo>
                    <a:pt x="231" y="68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5" y="68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51" y="76"/>
                  </a:lnTo>
                  <a:lnTo>
                    <a:pt x="251" y="72"/>
                  </a:lnTo>
                  <a:lnTo>
                    <a:pt x="247" y="72"/>
                  </a:lnTo>
                  <a:lnTo>
                    <a:pt x="243" y="72"/>
                  </a:lnTo>
                  <a:lnTo>
                    <a:pt x="239" y="72"/>
                  </a:lnTo>
                  <a:lnTo>
                    <a:pt x="239" y="68"/>
                  </a:lnTo>
                  <a:lnTo>
                    <a:pt x="235" y="68"/>
                  </a:lnTo>
                  <a:lnTo>
                    <a:pt x="231" y="64"/>
                  </a:lnTo>
                  <a:lnTo>
                    <a:pt x="227" y="64"/>
                  </a:lnTo>
                  <a:lnTo>
                    <a:pt x="223" y="64"/>
                  </a:lnTo>
                  <a:lnTo>
                    <a:pt x="223" y="60"/>
                  </a:lnTo>
                  <a:lnTo>
                    <a:pt x="219" y="56"/>
                  </a:lnTo>
                  <a:lnTo>
                    <a:pt x="215" y="56"/>
                  </a:lnTo>
                  <a:lnTo>
                    <a:pt x="211" y="56"/>
                  </a:lnTo>
                  <a:lnTo>
                    <a:pt x="207" y="56"/>
                  </a:lnTo>
                  <a:lnTo>
                    <a:pt x="207" y="52"/>
                  </a:lnTo>
                  <a:lnTo>
                    <a:pt x="203" y="52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8"/>
                  </a:lnTo>
                  <a:lnTo>
                    <a:pt x="235" y="48"/>
                  </a:lnTo>
                  <a:lnTo>
                    <a:pt x="239" y="48"/>
                  </a:lnTo>
                  <a:lnTo>
                    <a:pt x="243" y="48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8"/>
                  </a:lnTo>
                  <a:lnTo>
                    <a:pt x="255" y="48"/>
                  </a:lnTo>
                  <a:lnTo>
                    <a:pt x="255" y="44"/>
                  </a:lnTo>
                  <a:lnTo>
                    <a:pt x="259" y="44"/>
                  </a:lnTo>
                  <a:lnTo>
                    <a:pt x="263" y="44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67" y="44"/>
                  </a:lnTo>
                  <a:lnTo>
                    <a:pt x="263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4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5" y="56"/>
                  </a:lnTo>
                  <a:lnTo>
                    <a:pt x="295" y="60"/>
                  </a:lnTo>
                  <a:lnTo>
                    <a:pt x="291" y="60"/>
                  </a:lnTo>
                  <a:lnTo>
                    <a:pt x="291" y="64"/>
                  </a:lnTo>
                  <a:lnTo>
                    <a:pt x="291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3" y="52"/>
                  </a:lnTo>
                  <a:lnTo>
                    <a:pt x="307" y="52"/>
                  </a:lnTo>
                  <a:lnTo>
                    <a:pt x="311" y="52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7" y="56"/>
                  </a:lnTo>
                  <a:lnTo>
                    <a:pt x="331" y="56"/>
                  </a:lnTo>
                  <a:lnTo>
                    <a:pt x="335" y="60"/>
                  </a:lnTo>
                  <a:lnTo>
                    <a:pt x="339" y="60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1" y="64"/>
                  </a:lnTo>
                  <a:lnTo>
                    <a:pt x="347" y="60"/>
                  </a:lnTo>
                  <a:lnTo>
                    <a:pt x="343" y="60"/>
                  </a:lnTo>
                  <a:lnTo>
                    <a:pt x="339" y="60"/>
                  </a:lnTo>
                  <a:lnTo>
                    <a:pt x="339" y="56"/>
                  </a:lnTo>
                  <a:lnTo>
                    <a:pt x="335" y="56"/>
                  </a:lnTo>
                  <a:lnTo>
                    <a:pt x="331" y="56"/>
                  </a:lnTo>
                  <a:lnTo>
                    <a:pt x="335" y="56"/>
                  </a:lnTo>
                  <a:lnTo>
                    <a:pt x="339" y="56"/>
                  </a:lnTo>
                  <a:lnTo>
                    <a:pt x="343" y="56"/>
                  </a:lnTo>
                  <a:lnTo>
                    <a:pt x="347" y="56"/>
                  </a:lnTo>
                  <a:lnTo>
                    <a:pt x="351" y="56"/>
                  </a:lnTo>
                  <a:lnTo>
                    <a:pt x="355" y="56"/>
                  </a:lnTo>
                  <a:lnTo>
                    <a:pt x="351" y="52"/>
                  </a:lnTo>
                  <a:lnTo>
                    <a:pt x="347" y="52"/>
                  </a:lnTo>
                  <a:lnTo>
                    <a:pt x="343" y="52"/>
                  </a:lnTo>
                  <a:lnTo>
                    <a:pt x="343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lnTo>
                    <a:pt x="335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51" y="36"/>
                  </a:lnTo>
                  <a:lnTo>
                    <a:pt x="355" y="36"/>
                  </a:lnTo>
                  <a:lnTo>
                    <a:pt x="359" y="36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71" y="40"/>
                  </a:lnTo>
                  <a:lnTo>
                    <a:pt x="371" y="44"/>
                  </a:lnTo>
                  <a:lnTo>
                    <a:pt x="375" y="44"/>
                  </a:lnTo>
                  <a:lnTo>
                    <a:pt x="379" y="44"/>
                  </a:lnTo>
                  <a:lnTo>
                    <a:pt x="383" y="44"/>
                  </a:lnTo>
                  <a:lnTo>
                    <a:pt x="387" y="44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8"/>
                  </a:lnTo>
                  <a:lnTo>
                    <a:pt x="399" y="48"/>
                  </a:lnTo>
                  <a:lnTo>
                    <a:pt x="403" y="48"/>
                  </a:lnTo>
                  <a:lnTo>
                    <a:pt x="403" y="52"/>
                  </a:lnTo>
                  <a:lnTo>
                    <a:pt x="407" y="52"/>
                  </a:lnTo>
                  <a:lnTo>
                    <a:pt x="411" y="52"/>
                  </a:lnTo>
                  <a:lnTo>
                    <a:pt x="411" y="56"/>
                  </a:lnTo>
                  <a:lnTo>
                    <a:pt x="407" y="56"/>
                  </a:lnTo>
                  <a:lnTo>
                    <a:pt x="411" y="56"/>
                  </a:lnTo>
                  <a:lnTo>
                    <a:pt x="415" y="56"/>
                  </a:lnTo>
                  <a:lnTo>
                    <a:pt x="419" y="56"/>
                  </a:lnTo>
                  <a:lnTo>
                    <a:pt x="419" y="60"/>
                  </a:lnTo>
                  <a:lnTo>
                    <a:pt x="423" y="60"/>
                  </a:lnTo>
                  <a:lnTo>
                    <a:pt x="427" y="60"/>
                  </a:lnTo>
                  <a:lnTo>
                    <a:pt x="431" y="60"/>
                  </a:lnTo>
                  <a:lnTo>
                    <a:pt x="435" y="60"/>
                  </a:lnTo>
                  <a:lnTo>
                    <a:pt x="435" y="56"/>
                  </a:lnTo>
                  <a:lnTo>
                    <a:pt x="431" y="56"/>
                  </a:lnTo>
                  <a:lnTo>
                    <a:pt x="427" y="56"/>
                  </a:lnTo>
                  <a:lnTo>
                    <a:pt x="431" y="56"/>
                  </a:lnTo>
                  <a:lnTo>
                    <a:pt x="431" y="52"/>
                  </a:lnTo>
                  <a:lnTo>
                    <a:pt x="427" y="52"/>
                  </a:lnTo>
                  <a:lnTo>
                    <a:pt x="423" y="52"/>
                  </a:lnTo>
                  <a:lnTo>
                    <a:pt x="427" y="52"/>
                  </a:lnTo>
                  <a:lnTo>
                    <a:pt x="431" y="52"/>
                  </a:lnTo>
                  <a:lnTo>
                    <a:pt x="431" y="48"/>
                  </a:lnTo>
                  <a:lnTo>
                    <a:pt x="427" y="48"/>
                  </a:lnTo>
                  <a:lnTo>
                    <a:pt x="427" y="44"/>
                  </a:lnTo>
                  <a:lnTo>
                    <a:pt x="431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43" y="44"/>
                  </a:lnTo>
                  <a:lnTo>
                    <a:pt x="447" y="44"/>
                  </a:lnTo>
                  <a:lnTo>
                    <a:pt x="451" y="44"/>
                  </a:lnTo>
                  <a:lnTo>
                    <a:pt x="455" y="44"/>
                  </a:lnTo>
                  <a:lnTo>
                    <a:pt x="459" y="44"/>
                  </a:lnTo>
                  <a:lnTo>
                    <a:pt x="463" y="44"/>
                  </a:lnTo>
                  <a:lnTo>
                    <a:pt x="459" y="44"/>
                  </a:lnTo>
                  <a:lnTo>
                    <a:pt x="455" y="44"/>
                  </a:lnTo>
                  <a:lnTo>
                    <a:pt x="451" y="44"/>
                  </a:lnTo>
                  <a:lnTo>
                    <a:pt x="447" y="44"/>
                  </a:lnTo>
                  <a:lnTo>
                    <a:pt x="443" y="44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35" y="36"/>
                  </a:lnTo>
                  <a:lnTo>
                    <a:pt x="431" y="36"/>
                  </a:lnTo>
                  <a:lnTo>
                    <a:pt x="427" y="36"/>
                  </a:lnTo>
                  <a:lnTo>
                    <a:pt x="427" y="32"/>
                  </a:lnTo>
                  <a:lnTo>
                    <a:pt x="423" y="32"/>
                  </a:lnTo>
                  <a:lnTo>
                    <a:pt x="419" y="32"/>
                  </a:lnTo>
                  <a:lnTo>
                    <a:pt x="415" y="28"/>
                  </a:lnTo>
                  <a:lnTo>
                    <a:pt x="411" y="28"/>
                  </a:lnTo>
                  <a:lnTo>
                    <a:pt x="415" y="28"/>
                  </a:lnTo>
                  <a:lnTo>
                    <a:pt x="419" y="28"/>
                  </a:lnTo>
                  <a:lnTo>
                    <a:pt x="423" y="28"/>
                  </a:lnTo>
                  <a:lnTo>
                    <a:pt x="427" y="28"/>
                  </a:lnTo>
                  <a:lnTo>
                    <a:pt x="431" y="28"/>
                  </a:lnTo>
                  <a:lnTo>
                    <a:pt x="435" y="28"/>
                  </a:lnTo>
                  <a:lnTo>
                    <a:pt x="439" y="28"/>
                  </a:lnTo>
                  <a:lnTo>
                    <a:pt x="443" y="28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28"/>
                  </a:lnTo>
                  <a:lnTo>
                    <a:pt x="467" y="28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1" y="36"/>
                  </a:lnTo>
                  <a:lnTo>
                    <a:pt x="474" y="36"/>
                  </a:lnTo>
                  <a:lnTo>
                    <a:pt x="474" y="32"/>
                  </a:lnTo>
                  <a:lnTo>
                    <a:pt x="471" y="28"/>
                  </a:lnTo>
                  <a:lnTo>
                    <a:pt x="474" y="28"/>
                  </a:lnTo>
                  <a:lnTo>
                    <a:pt x="478" y="28"/>
                  </a:lnTo>
                  <a:lnTo>
                    <a:pt x="478" y="32"/>
                  </a:lnTo>
                  <a:lnTo>
                    <a:pt x="486" y="32"/>
                  </a:lnTo>
                  <a:lnTo>
                    <a:pt x="490" y="32"/>
                  </a:lnTo>
                  <a:lnTo>
                    <a:pt x="490" y="36"/>
                  </a:lnTo>
                  <a:lnTo>
                    <a:pt x="494" y="36"/>
                  </a:lnTo>
                  <a:lnTo>
                    <a:pt x="498" y="36"/>
                  </a:lnTo>
                  <a:lnTo>
                    <a:pt x="498" y="40"/>
                  </a:lnTo>
                  <a:lnTo>
                    <a:pt x="502" y="40"/>
                  </a:lnTo>
                  <a:lnTo>
                    <a:pt x="502" y="36"/>
                  </a:lnTo>
                  <a:lnTo>
                    <a:pt x="498" y="36"/>
                  </a:lnTo>
                  <a:lnTo>
                    <a:pt x="498" y="32"/>
                  </a:lnTo>
                  <a:lnTo>
                    <a:pt x="502" y="32"/>
                  </a:lnTo>
                  <a:lnTo>
                    <a:pt x="498" y="32"/>
                  </a:lnTo>
                  <a:lnTo>
                    <a:pt x="498" y="28"/>
                  </a:lnTo>
                  <a:lnTo>
                    <a:pt x="494" y="28"/>
                  </a:lnTo>
                  <a:lnTo>
                    <a:pt x="490" y="28"/>
                  </a:lnTo>
                  <a:lnTo>
                    <a:pt x="486" y="28"/>
                  </a:lnTo>
                  <a:lnTo>
                    <a:pt x="482" y="28"/>
                  </a:lnTo>
                  <a:lnTo>
                    <a:pt x="478" y="28"/>
                  </a:lnTo>
                  <a:lnTo>
                    <a:pt x="474" y="28"/>
                  </a:lnTo>
                  <a:lnTo>
                    <a:pt x="474" y="24"/>
                  </a:lnTo>
                  <a:lnTo>
                    <a:pt x="467" y="24"/>
                  </a:lnTo>
                  <a:lnTo>
                    <a:pt x="463" y="24"/>
                  </a:lnTo>
                  <a:lnTo>
                    <a:pt x="459" y="24"/>
                  </a:lnTo>
                  <a:lnTo>
                    <a:pt x="455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1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19" y="24"/>
                  </a:lnTo>
                  <a:lnTo>
                    <a:pt x="415" y="24"/>
                  </a:lnTo>
                  <a:lnTo>
                    <a:pt x="411" y="24"/>
                  </a:lnTo>
                  <a:lnTo>
                    <a:pt x="407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0"/>
                  </a:lnTo>
                  <a:lnTo>
                    <a:pt x="403" y="20"/>
                  </a:lnTo>
                  <a:lnTo>
                    <a:pt x="407" y="24"/>
                  </a:lnTo>
                  <a:lnTo>
                    <a:pt x="407" y="20"/>
                  </a:lnTo>
                  <a:lnTo>
                    <a:pt x="403" y="20"/>
                  </a:lnTo>
                  <a:lnTo>
                    <a:pt x="399" y="20"/>
                  </a:lnTo>
                  <a:lnTo>
                    <a:pt x="403" y="20"/>
                  </a:lnTo>
                  <a:lnTo>
                    <a:pt x="407" y="20"/>
                  </a:lnTo>
                  <a:lnTo>
                    <a:pt x="407" y="16"/>
                  </a:lnTo>
                  <a:lnTo>
                    <a:pt x="411" y="16"/>
                  </a:lnTo>
                  <a:lnTo>
                    <a:pt x="411" y="20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23" y="20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1" y="20"/>
                  </a:lnTo>
                  <a:lnTo>
                    <a:pt x="431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5" y="20"/>
                  </a:lnTo>
                  <a:lnTo>
                    <a:pt x="431" y="20"/>
                  </a:lnTo>
                  <a:lnTo>
                    <a:pt x="427" y="20"/>
                  </a:lnTo>
                  <a:lnTo>
                    <a:pt x="423" y="20"/>
                  </a:lnTo>
                  <a:lnTo>
                    <a:pt x="419" y="20"/>
                  </a:lnTo>
                  <a:lnTo>
                    <a:pt x="415" y="16"/>
                  </a:lnTo>
                  <a:lnTo>
                    <a:pt x="419" y="16"/>
                  </a:lnTo>
                  <a:lnTo>
                    <a:pt x="423" y="16"/>
                  </a:lnTo>
                  <a:lnTo>
                    <a:pt x="427" y="16"/>
                  </a:lnTo>
                  <a:lnTo>
                    <a:pt x="431" y="16"/>
                  </a:lnTo>
                  <a:lnTo>
                    <a:pt x="435" y="16"/>
                  </a:lnTo>
                  <a:lnTo>
                    <a:pt x="439" y="16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51" y="16"/>
                  </a:lnTo>
                  <a:lnTo>
                    <a:pt x="455" y="16"/>
                  </a:lnTo>
                  <a:lnTo>
                    <a:pt x="451" y="16"/>
                  </a:lnTo>
                  <a:lnTo>
                    <a:pt x="447" y="16"/>
                  </a:lnTo>
                  <a:lnTo>
                    <a:pt x="443" y="16"/>
                  </a:lnTo>
                  <a:lnTo>
                    <a:pt x="439" y="16"/>
                  </a:lnTo>
                  <a:lnTo>
                    <a:pt x="439" y="12"/>
                  </a:lnTo>
                  <a:lnTo>
                    <a:pt x="443" y="12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3" y="12"/>
                  </a:lnTo>
                  <a:lnTo>
                    <a:pt x="467" y="12"/>
                  </a:lnTo>
                  <a:lnTo>
                    <a:pt x="471" y="12"/>
                  </a:lnTo>
                  <a:lnTo>
                    <a:pt x="474" y="16"/>
                  </a:lnTo>
                  <a:lnTo>
                    <a:pt x="471" y="16"/>
                  </a:lnTo>
                  <a:lnTo>
                    <a:pt x="474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2" y="20"/>
                  </a:lnTo>
                  <a:lnTo>
                    <a:pt x="486" y="20"/>
                  </a:lnTo>
                  <a:lnTo>
                    <a:pt x="490" y="20"/>
                  </a:lnTo>
                  <a:lnTo>
                    <a:pt x="498" y="20"/>
                  </a:lnTo>
                  <a:lnTo>
                    <a:pt x="502" y="20"/>
                  </a:lnTo>
                  <a:lnTo>
                    <a:pt x="506" y="20"/>
                  </a:lnTo>
                  <a:lnTo>
                    <a:pt x="514" y="24"/>
                  </a:lnTo>
                  <a:lnTo>
                    <a:pt x="514" y="28"/>
                  </a:lnTo>
                  <a:lnTo>
                    <a:pt x="518" y="28"/>
                  </a:lnTo>
                  <a:lnTo>
                    <a:pt x="522" y="28"/>
                  </a:lnTo>
                  <a:lnTo>
                    <a:pt x="518" y="28"/>
                  </a:lnTo>
                  <a:lnTo>
                    <a:pt x="518" y="24"/>
                  </a:lnTo>
                  <a:lnTo>
                    <a:pt x="514" y="24"/>
                  </a:lnTo>
                  <a:lnTo>
                    <a:pt x="510" y="20"/>
                  </a:lnTo>
                  <a:lnTo>
                    <a:pt x="514" y="20"/>
                  </a:lnTo>
                  <a:lnTo>
                    <a:pt x="518" y="20"/>
                  </a:lnTo>
                  <a:lnTo>
                    <a:pt x="522" y="20"/>
                  </a:lnTo>
                  <a:lnTo>
                    <a:pt x="526" y="20"/>
                  </a:lnTo>
                  <a:lnTo>
                    <a:pt x="534" y="20"/>
                  </a:lnTo>
                  <a:lnTo>
                    <a:pt x="538" y="20"/>
                  </a:lnTo>
                  <a:lnTo>
                    <a:pt x="542" y="20"/>
                  </a:lnTo>
                  <a:lnTo>
                    <a:pt x="538" y="20"/>
                  </a:lnTo>
                  <a:lnTo>
                    <a:pt x="534" y="20"/>
                  </a:lnTo>
                  <a:lnTo>
                    <a:pt x="526" y="20"/>
                  </a:lnTo>
                  <a:lnTo>
                    <a:pt x="522" y="20"/>
                  </a:lnTo>
                  <a:lnTo>
                    <a:pt x="518" y="20"/>
                  </a:ln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34" y="16"/>
                  </a:lnTo>
                  <a:lnTo>
                    <a:pt x="538" y="16"/>
                  </a:lnTo>
                  <a:lnTo>
                    <a:pt x="542" y="16"/>
                  </a:lnTo>
                  <a:lnTo>
                    <a:pt x="546" y="16"/>
                  </a:lnTo>
                  <a:lnTo>
                    <a:pt x="542" y="16"/>
                  </a:lnTo>
                  <a:lnTo>
                    <a:pt x="538" y="16"/>
                  </a:lnTo>
                  <a:lnTo>
                    <a:pt x="534" y="16"/>
                  </a:lnTo>
                  <a:lnTo>
                    <a:pt x="530" y="12"/>
                  </a:lnTo>
                  <a:lnTo>
                    <a:pt x="526" y="12"/>
                  </a:lnTo>
                  <a:lnTo>
                    <a:pt x="522" y="12"/>
                  </a:lnTo>
                  <a:lnTo>
                    <a:pt x="518" y="12"/>
                  </a:lnTo>
                  <a:lnTo>
                    <a:pt x="518" y="8"/>
                  </a:lnTo>
                  <a:lnTo>
                    <a:pt x="522" y="8"/>
                  </a:lnTo>
                  <a:lnTo>
                    <a:pt x="526" y="8"/>
                  </a:lnTo>
                  <a:lnTo>
                    <a:pt x="530" y="8"/>
                  </a:lnTo>
                  <a:lnTo>
                    <a:pt x="534" y="8"/>
                  </a:lnTo>
                  <a:lnTo>
                    <a:pt x="530" y="8"/>
                  </a:lnTo>
                  <a:lnTo>
                    <a:pt x="530" y="4"/>
                  </a:lnTo>
                  <a:lnTo>
                    <a:pt x="534" y="4"/>
                  </a:lnTo>
                  <a:lnTo>
                    <a:pt x="538" y="4"/>
                  </a:lnTo>
                  <a:lnTo>
                    <a:pt x="542" y="4"/>
                  </a:lnTo>
                  <a:lnTo>
                    <a:pt x="546" y="8"/>
                  </a:lnTo>
                  <a:lnTo>
                    <a:pt x="550" y="8"/>
                  </a:lnTo>
                  <a:lnTo>
                    <a:pt x="554" y="8"/>
                  </a:lnTo>
                  <a:lnTo>
                    <a:pt x="550" y="8"/>
                  </a:lnTo>
                  <a:lnTo>
                    <a:pt x="550" y="4"/>
                  </a:lnTo>
                  <a:lnTo>
                    <a:pt x="546" y="4"/>
                  </a:lnTo>
                  <a:lnTo>
                    <a:pt x="550" y="4"/>
                  </a:lnTo>
                  <a:lnTo>
                    <a:pt x="554" y="4"/>
                  </a:lnTo>
                  <a:lnTo>
                    <a:pt x="558" y="4"/>
                  </a:lnTo>
                  <a:lnTo>
                    <a:pt x="562" y="4"/>
                  </a:lnTo>
                  <a:lnTo>
                    <a:pt x="566" y="4"/>
                  </a:lnTo>
                  <a:lnTo>
                    <a:pt x="570" y="4"/>
                  </a:lnTo>
                  <a:lnTo>
                    <a:pt x="574" y="0"/>
                  </a:lnTo>
                  <a:lnTo>
                    <a:pt x="578" y="0"/>
                  </a:lnTo>
                  <a:lnTo>
                    <a:pt x="582" y="0"/>
                  </a:lnTo>
                  <a:lnTo>
                    <a:pt x="582" y="4"/>
                  </a:lnTo>
                  <a:lnTo>
                    <a:pt x="582" y="0"/>
                  </a:lnTo>
                  <a:lnTo>
                    <a:pt x="586" y="0"/>
                  </a:lnTo>
                  <a:lnTo>
                    <a:pt x="586" y="4"/>
                  </a:lnTo>
                  <a:lnTo>
                    <a:pt x="590" y="4"/>
                  </a:lnTo>
                  <a:lnTo>
                    <a:pt x="594" y="4"/>
                  </a:lnTo>
                  <a:lnTo>
                    <a:pt x="590" y="4"/>
                  </a:lnTo>
                  <a:lnTo>
                    <a:pt x="590" y="0"/>
                  </a:lnTo>
                  <a:lnTo>
                    <a:pt x="594" y="0"/>
                  </a:lnTo>
                  <a:lnTo>
                    <a:pt x="598" y="0"/>
                  </a:lnTo>
                  <a:lnTo>
                    <a:pt x="602" y="0"/>
                  </a:lnTo>
                  <a:lnTo>
                    <a:pt x="606" y="0"/>
                  </a:lnTo>
                  <a:lnTo>
                    <a:pt x="610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38" y="0"/>
                  </a:lnTo>
                  <a:lnTo>
                    <a:pt x="642" y="0"/>
                  </a:lnTo>
                  <a:lnTo>
                    <a:pt x="646" y="0"/>
                  </a:lnTo>
                  <a:lnTo>
                    <a:pt x="654" y="0"/>
                  </a:lnTo>
                  <a:lnTo>
                    <a:pt x="658" y="4"/>
                  </a:lnTo>
                  <a:lnTo>
                    <a:pt x="662" y="4"/>
                  </a:lnTo>
                  <a:lnTo>
                    <a:pt x="666" y="4"/>
                  </a:lnTo>
                  <a:lnTo>
                    <a:pt x="670" y="4"/>
                  </a:lnTo>
                  <a:lnTo>
                    <a:pt x="674" y="4"/>
                  </a:lnTo>
                  <a:lnTo>
                    <a:pt x="670" y="4"/>
                  </a:lnTo>
                  <a:lnTo>
                    <a:pt x="666" y="4"/>
                  </a:lnTo>
                  <a:lnTo>
                    <a:pt x="670" y="8"/>
                  </a:lnTo>
                  <a:lnTo>
                    <a:pt x="674" y="8"/>
                  </a:lnTo>
                  <a:lnTo>
                    <a:pt x="678" y="8"/>
                  </a:lnTo>
                  <a:lnTo>
                    <a:pt x="674" y="4"/>
                  </a:lnTo>
                  <a:lnTo>
                    <a:pt x="678" y="4"/>
                  </a:lnTo>
                  <a:lnTo>
                    <a:pt x="682" y="4"/>
                  </a:lnTo>
                  <a:lnTo>
                    <a:pt x="686" y="4"/>
                  </a:lnTo>
                  <a:lnTo>
                    <a:pt x="690" y="4"/>
                  </a:lnTo>
                  <a:lnTo>
                    <a:pt x="694" y="4"/>
                  </a:lnTo>
                  <a:lnTo>
                    <a:pt x="698" y="8"/>
                  </a:lnTo>
                  <a:lnTo>
                    <a:pt x="706" y="8"/>
                  </a:lnTo>
                  <a:lnTo>
                    <a:pt x="710" y="8"/>
                  </a:lnTo>
                  <a:lnTo>
                    <a:pt x="714" y="8"/>
                  </a:lnTo>
                  <a:lnTo>
                    <a:pt x="718" y="12"/>
                  </a:lnTo>
                  <a:lnTo>
                    <a:pt x="714" y="12"/>
                  </a:lnTo>
                  <a:lnTo>
                    <a:pt x="710" y="12"/>
                  </a:lnTo>
                  <a:lnTo>
                    <a:pt x="706" y="12"/>
                  </a:lnTo>
                  <a:lnTo>
                    <a:pt x="702" y="16"/>
                  </a:lnTo>
                  <a:lnTo>
                    <a:pt x="698" y="16"/>
                  </a:lnTo>
                  <a:lnTo>
                    <a:pt x="694" y="16"/>
                  </a:lnTo>
                  <a:lnTo>
                    <a:pt x="690" y="16"/>
                  </a:lnTo>
                  <a:lnTo>
                    <a:pt x="686" y="16"/>
                  </a:lnTo>
                  <a:lnTo>
                    <a:pt x="682" y="16"/>
                  </a:lnTo>
                  <a:lnTo>
                    <a:pt x="678" y="16"/>
                  </a:lnTo>
                  <a:lnTo>
                    <a:pt x="674" y="16"/>
                  </a:lnTo>
                  <a:lnTo>
                    <a:pt x="670" y="16"/>
                  </a:lnTo>
                  <a:lnTo>
                    <a:pt x="662" y="16"/>
                  </a:lnTo>
                  <a:lnTo>
                    <a:pt x="658" y="16"/>
                  </a:lnTo>
                  <a:lnTo>
                    <a:pt x="654" y="16"/>
                  </a:lnTo>
                  <a:lnTo>
                    <a:pt x="650" y="16"/>
                  </a:lnTo>
                  <a:lnTo>
                    <a:pt x="646" y="16"/>
                  </a:lnTo>
                  <a:lnTo>
                    <a:pt x="642" y="16"/>
                  </a:lnTo>
                  <a:lnTo>
                    <a:pt x="638" y="16"/>
                  </a:lnTo>
                  <a:lnTo>
                    <a:pt x="634" y="16"/>
                  </a:lnTo>
                  <a:lnTo>
                    <a:pt x="630" y="16"/>
                  </a:lnTo>
                  <a:lnTo>
                    <a:pt x="626" y="16"/>
                  </a:lnTo>
                  <a:lnTo>
                    <a:pt x="626" y="20"/>
                  </a:lnTo>
                  <a:lnTo>
                    <a:pt x="622" y="20"/>
                  </a:lnTo>
                  <a:lnTo>
                    <a:pt x="618" y="20"/>
                  </a:lnTo>
                  <a:lnTo>
                    <a:pt x="614" y="16"/>
                  </a:lnTo>
                  <a:lnTo>
                    <a:pt x="610" y="16"/>
                  </a:lnTo>
                  <a:lnTo>
                    <a:pt x="602" y="16"/>
                  </a:lnTo>
                  <a:lnTo>
                    <a:pt x="598" y="16"/>
                  </a:lnTo>
                  <a:lnTo>
                    <a:pt x="602" y="16"/>
                  </a:lnTo>
                  <a:lnTo>
                    <a:pt x="606" y="16"/>
                  </a:lnTo>
                  <a:lnTo>
                    <a:pt x="610" y="16"/>
                  </a:lnTo>
                  <a:lnTo>
                    <a:pt x="614" y="20"/>
                  </a:lnTo>
                  <a:lnTo>
                    <a:pt x="610" y="20"/>
                  </a:lnTo>
                  <a:lnTo>
                    <a:pt x="606" y="20"/>
                  </a:lnTo>
                  <a:lnTo>
                    <a:pt x="602" y="20"/>
                  </a:lnTo>
                  <a:lnTo>
                    <a:pt x="598" y="20"/>
                  </a:lnTo>
                  <a:lnTo>
                    <a:pt x="594" y="20"/>
                  </a:lnTo>
                  <a:lnTo>
                    <a:pt x="590" y="24"/>
                  </a:lnTo>
                  <a:lnTo>
                    <a:pt x="586" y="24"/>
                  </a:lnTo>
                  <a:lnTo>
                    <a:pt x="582" y="24"/>
                  </a:lnTo>
                  <a:lnTo>
                    <a:pt x="578" y="24"/>
                  </a:lnTo>
                  <a:lnTo>
                    <a:pt x="574" y="24"/>
                  </a:lnTo>
                  <a:lnTo>
                    <a:pt x="570" y="24"/>
                  </a:lnTo>
                  <a:lnTo>
                    <a:pt x="566" y="24"/>
                  </a:lnTo>
                  <a:lnTo>
                    <a:pt x="570" y="24"/>
                  </a:lnTo>
                  <a:lnTo>
                    <a:pt x="566" y="28"/>
                  </a:lnTo>
                  <a:lnTo>
                    <a:pt x="570" y="28"/>
                  </a:lnTo>
                  <a:lnTo>
                    <a:pt x="570" y="24"/>
                  </a:lnTo>
                  <a:lnTo>
                    <a:pt x="574" y="24"/>
                  </a:lnTo>
                  <a:lnTo>
                    <a:pt x="578" y="24"/>
                  </a:lnTo>
                  <a:lnTo>
                    <a:pt x="582" y="24"/>
                  </a:lnTo>
                  <a:lnTo>
                    <a:pt x="586" y="24"/>
                  </a:lnTo>
                  <a:lnTo>
                    <a:pt x="590" y="24"/>
                  </a:lnTo>
                  <a:lnTo>
                    <a:pt x="594" y="24"/>
                  </a:lnTo>
                  <a:lnTo>
                    <a:pt x="594" y="28"/>
                  </a:lnTo>
                  <a:lnTo>
                    <a:pt x="590" y="28"/>
                  </a:lnTo>
                  <a:lnTo>
                    <a:pt x="594" y="28"/>
                  </a:lnTo>
                  <a:lnTo>
                    <a:pt x="594" y="24"/>
                  </a:lnTo>
                  <a:lnTo>
                    <a:pt x="598" y="24"/>
                  </a:lnTo>
                  <a:lnTo>
                    <a:pt x="598" y="20"/>
                  </a:lnTo>
                  <a:lnTo>
                    <a:pt x="602" y="20"/>
                  </a:lnTo>
                  <a:lnTo>
                    <a:pt x="606" y="20"/>
                  </a:lnTo>
                  <a:lnTo>
                    <a:pt x="614" y="20"/>
                  </a:lnTo>
                  <a:lnTo>
                    <a:pt x="618" y="20"/>
                  </a:lnTo>
                  <a:lnTo>
                    <a:pt x="622" y="20"/>
                  </a:lnTo>
                  <a:lnTo>
                    <a:pt x="626" y="20"/>
                  </a:lnTo>
                  <a:lnTo>
                    <a:pt x="626" y="24"/>
                  </a:lnTo>
                  <a:lnTo>
                    <a:pt x="626" y="20"/>
                  </a:lnTo>
                  <a:lnTo>
                    <a:pt x="630" y="20"/>
                  </a:lnTo>
                  <a:lnTo>
                    <a:pt x="634" y="20"/>
                  </a:lnTo>
                  <a:lnTo>
                    <a:pt x="638" y="20"/>
                  </a:lnTo>
                  <a:lnTo>
                    <a:pt x="638" y="16"/>
                  </a:lnTo>
                  <a:lnTo>
                    <a:pt x="642" y="16"/>
                  </a:lnTo>
                  <a:lnTo>
                    <a:pt x="646" y="16"/>
                  </a:lnTo>
                  <a:lnTo>
                    <a:pt x="650" y="16"/>
                  </a:lnTo>
                  <a:lnTo>
                    <a:pt x="654" y="16"/>
                  </a:lnTo>
                  <a:lnTo>
                    <a:pt x="658" y="16"/>
                  </a:lnTo>
                  <a:lnTo>
                    <a:pt x="662" y="16"/>
                  </a:lnTo>
                  <a:lnTo>
                    <a:pt x="666" y="16"/>
                  </a:lnTo>
                  <a:lnTo>
                    <a:pt x="670" y="16"/>
                  </a:lnTo>
                  <a:lnTo>
                    <a:pt x="674" y="16"/>
                  </a:lnTo>
                  <a:lnTo>
                    <a:pt x="678" y="20"/>
                  </a:lnTo>
                  <a:lnTo>
                    <a:pt x="682" y="20"/>
                  </a:lnTo>
                  <a:lnTo>
                    <a:pt x="682" y="16"/>
                  </a:lnTo>
                  <a:lnTo>
                    <a:pt x="686" y="20"/>
                  </a:lnTo>
                  <a:lnTo>
                    <a:pt x="694" y="20"/>
                  </a:lnTo>
                  <a:lnTo>
                    <a:pt x="702" y="20"/>
                  </a:lnTo>
                  <a:lnTo>
                    <a:pt x="702" y="16"/>
                  </a:lnTo>
                  <a:lnTo>
                    <a:pt x="706" y="16"/>
                  </a:lnTo>
                  <a:lnTo>
                    <a:pt x="710" y="16"/>
                  </a:lnTo>
                  <a:lnTo>
                    <a:pt x="714" y="16"/>
                  </a:lnTo>
                  <a:lnTo>
                    <a:pt x="718" y="16"/>
                  </a:lnTo>
                  <a:lnTo>
                    <a:pt x="722" y="16"/>
                  </a:lnTo>
                  <a:lnTo>
                    <a:pt x="726" y="16"/>
                  </a:lnTo>
                  <a:lnTo>
                    <a:pt x="730" y="16"/>
                  </a:lnTo>
                  <a:lnTo>
                    <a:pt x="726" y="16"/>
                  </a:lnTo>
                  <a:lnTo>
                    <a:pt x="726" y="20"/>
                  </a:lnTo>
                  <a:lnTo>
                    <a:pt x="730" y="20"/>
                  </a:lnTo>
                  <a:lnTo>
                    <a:pt x="726" y="24"/>
                  </a:lnTo>
                  <a:lnTo>
                    <a:pt x="722" y="24"/>
                  </a:lnTo>
                  <a:lnTo>
                    <a:pt x="718" y="28"/>
                  </a:lnTo>
                  <a:lnTo>
                    <a:pt x="714" y="28"/>
                  </a:lnTo>
                  <a:lnTo>
                    <a:pt x="718" y="28"/>
                  </a:lnTo>
                  <a:lnTo>
                    <a:pt x="722" y="28"/>
                  </a:lnTo>
                  <a:lnTo>
                    <a:pt x="726" y="28"/>
                  </a:lnTo>
                  <a:lnTo>
                    <a:pt x="726" y="24"/>
                  </a:lnTo>
                  <a:lnTo>
                    <a:pt x="730" y="24"/>
                  </a:lnTo>
                  <a:lnTo>
                    <a:pt x="734" y="24"/>
                  </a:lnTo>
                  <a:lnTo>
                    <a:pt x="738" y="24"/>
                  </a:lnTo>
                  <a:lnTo>
                    <a:pt x="742" y="24"/>
                  </a:lnTo>
                  <a:lnTo>
                    <a:pt x="746" y="24"/>
                  </a:lnTo>
                  <a:lnTo>
                    <a:pt x="742" y="24"/>
                  </a:lnTo>
                  <a:lnTo>
                    <a:pt x="742" y="28"/>
                  </a:lnTo>
                  <a:lnTo>
                    <a:pt x="746" y="28"/>
                  </a:lnTo>
                  <a:lnTo>
                    <a:pt x="746" y="24"/>
                  </a:lnTo>
                  <a:lnTo>
                    <a:pt x="750" y="24"/>
                  </a:lnTo>
                  <a:lnTo>
                    <a:pt x="754" y="24"/>
                  </a:lnTo>
                  <a:lnTo>
                    <a:pt x="754" y="28"/>
                  </a:lnTo>
                  <a:lnTo>
                    <a:pt x="758" y="28"/>
                  </a:lnTo>
                  <a:lnTo>
                    <a:pt x="762" y="28"/>
                  </a:lnTo>
                  <a:lnTo>
                    <a:pt x="766" y="28"/>
                  </a:lnTo>
                  <a:lnTo>
                    <a:pt x="770" y="28"/>
                  </a:lnTo>
                  <a:lnTo>
                    <a:pt x="774" y="32"/>
                  </a:lnTo>
                  <a:lnTo>
                    <a:pt x="778" y="32"/>
                  </a:lnTo>
                  <a:lnTo>
                    <a:pt x="782" y="32"/>
                  </a:lnTo>
                  <a:lnTo>
                    <a:pt x="782" y="36"/>
                  </a:lnTo>
                  <a:lnTo>
                    <a:pt x="774" y="36"/>
                  </a:lnTo>
                  <a:lnTo>
                    <a:pt x="770" y="36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66" y="44"/>
                  </a:lnTo>
                  <a:lnTo>
                    <a:pt x="762" y="44"/>
                  </a:lnTo>
                  <a:lnTo>
                    <a:pt x="758" y="44"/>
                  </a:lnTo>
                  <a:lnTo>
                    <a:pt x="754" y="44"/>
                  </a:lnTo>
                  <a:lnTo>
                    <a:pt x="750" y="44"/>
                  </a:lnTo>
                  <a:lnTo>
                    <a:pt x="746" y="44"/>
                  </a:lnTo>
                  <a:lnTo>
                    <a:pt x="738" y="44"/>
                  </a:lnTo>
                  <a:lnTo>
                    <a:pt x="734" y="44"/>
                  </a:lnTo>
                  <a:lnTo>
                    <a:pt x="734" y="48"/>
                  </a:lnTo>
                  <a:lnTo>
                    <a:pt x="730" y="48"/>
                  </a:lnTo>
                  <a:lnTo>
                    <a:pt x="726" y="48"/>
                  </a:lnTo>
                  <a:lnTo>
                    <a:pt x="722" y="48"/>
                  </a:lnTo>
                  <a:lnTo>
                    <a:pt x="714" y="48"/>
                  </a:lnTo>
                  <a:lnTo>
                    <a:pt x="710" y="48"/>
                  </a:lnTo>
                  <a:lnTo>
                    <a:pt x="702" y="48"/>
                  </a:lnTo>
                  <a:lnTo>
                    <a:pt x="698" y="48"/>
                  </a:lnTo>
                  <a:lnTo>
                    <a:pt x="694" y="48"/>
                  </a:lnTo>
                  <a:lnTo>
                    <a:pt x="690" y="48"/>
                  </a:lnTo>
                  <a:lnTo>
                    <a:pt x="686" y="48"/>
                  </a:lnTo>
                  <a:lnTo>
                    <a:pt x="682" y="48"/>
                  </a:lnTo>
                  <a:lnTo>
                    <a:pt x="678" y="48"/>
                  </a:lnTo>
                  <a:lnTo>
                    <a:pt x="674" y="48"/>
                  </a:lnTo>
                  <a:lnTo>
                    <a:pt x="670" y="48"/>
                  </a:lnTo>
                  <a:lnTo>
                    <a:pt x="666" y="48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48"/>
                  </a:lnTo>
                  <a:lnTo>
                    <a:pt x="642" y="48"/>
                  </a:lnTo>
                  <a:lnTo>
                    <a:pt x="638" y="48"/>
                  </a:lnTo>
                  <a:lnTo>
                    <a:pt x="634" y="48"/>
                  </a:lnTo>
                  <a:lnTo>
                    <a:pt x="630" y="48"/>
                  </a:lnTo>
                  <a:lnTo>
                    <a:pt x="626" y="48"/>
                  </a:lnTo>
                  <a:lnTo>
                    <a:pt x="630" y="48"/>
                  </a:lnTo>
                  <a:lnTo>
                    <a:pt x="634" y="48"/>
                  </a:lnTo>
                  <a:lnTo>
                    <a:pt x="642" y="48"/>
                  </a:lnTo>
                  <a:lnTo>
                    <a:pt x="650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52"/>
                  </a:lnTo>
                  <a:lnTo>
                    <a:pt x="642" y="52"/>
                  </a:lnTo>
                  <a:lnTo>
                    <a:pt x="638" y="52"/>
                  </a:lnTo>
                  <a:lnTo>
                    <a:pt x="634" y="52"/>
                  </a:lnTo>
                  <a:lnTo>
                    <a:pt x="630" y="52"/>
                  </a:lnTo>
                  <a:lnTo>
                    <a:pt x="626" y="56"/>
                  </a:lnTo>
                  <a:lnTo>
                    <a:pt x="622" y="56"/>
                  </a:lnTo>
                  <a:lnTo>
                    <a:pt x="618" y="56"/>
                  </a:lnTo>
                  <a:lnTo>
                    <a:pt x="614" y="56"/>
                  </a:lnTo>
                  <a:lnTo>
                    <a:pt x="610" y="56"/>
                  </a:lnTo>
                  <a:lnTo>
                    <a:pt x="606" y="56"/>
                  </a:lnTo>
                  <a:lnTo>
                    <a:pt x="606" y="60"/>
                  </a:lnTo>
                  <a:lnTo>
                    <a:pt x="602" y="60"/>
                  </a:lnTo>
                  <a:lnTo>
                    <a:pt x="606" y="64"/>
                  </a:lnTo>
                  <a:lnTo>
                    <a:pt x="610" y="64"/>
                  </a:lnTo>
                  <a:lnTo>
                    <a:pt x="614" y="64"/>
                  </a:lnTo>
                  <a:lnTo>
                    <a:pt x="614" y="60"/>
                  </a:lnTo>
                  <a:lnTo>
                    <a:pt x="622" y="60"/>
                  </a:lnTo>
                  <a:lnTo>
                    <a:pt x="626" y="60"/>
                  </a:lnTo>
                  <a:lnTo>
                    <a:pt x="630" y="56"/>
                  </a:lnTo>
                  <a:lnTo>
                    <a:pt x="634" y="56"/>
                  </a:lnTo>
                  <a:lnTo>
                    <a:pt x="638" y="56"/>
                  </a:lnTo>
                  <a:lnTo>
                    <a:pt x="642" y="56"/>
                  </a:lnTo>
                  <a:lnTo>
                    <a:pt x="646" y="56"/>
                  </a:lnTo>
                  <a:lnTo>
                    <a:pt x="654" y="56"/>
                  </a:lnTo>
                  <a:lnTo>
                    <a:pt x="658" y="56"/>
                  </a:lnTo>
                  <a:lnTo>
                    <a:pt x="666" y="52"/>
                  </a:lnTo>
                  <a:lnTo>
                    <a:pt x="670" y="52"/>
                  </a:lnTo>
                  <a:lnTo>
                    <a:pt x="674" y="52"/>
                  </a:lnTo>
                  <a:lnTo>
                    <a:pt x="682" y="52"/>
                  </a:lnTo>
                  <a:lnTo>
                    <a:pt x="686" y="52"/>
                  </a:lnTo>
                  <a:lnTo>
                    <a:pt x="690" y="52"/>
                  </a:lnTo>
                  <a:lnTo>
                    <a:pt x="694" y="52"/>
                  </a:lnTo>
                  <a:lnTo>
                    <a:pt x="698" y="52"/>
                  </a:lnTo>
                  <a:lnTo>
                    <a:pt x="702" y="52"/>
                  </a:lnTo>
                  <a:lnTo>
                    <a:pt x="706" y="52"/>
                  </a:lnTo>
                  <a:lnTo>
                    <a:pt x="710" y="52"/>
                  </a:lnTo>
                  <a:lnTo>
                    <a:pt x="718" y="52"/>
                  </a:lnTo>
                  <a:lnTo>
                    <a:pt x="722" y="52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06" y="64"/>
                  </a:lnTo>
                  <a:lnTo>
                    <a:pt x="702" y="64"/>
                  </a:lnTo>
                  <a:lnTo>
                    <a:pt x="702" y="68"/>
                  </a:lnTo>
                  <a:lnTo>
                    <a:pt x="698" y="68"/>
                  </a:lnTo>
                  <a:lnTo>
                    <a:pt x="694" y="68"/>
                  </a:lnTo>
                  <a:lnTo>
                    <a:pt x="690" y="68"/>
                  </a:lnTo>
                  <a:lnTo>
                    <a:pt x="686" y="68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86" y="72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8" y="72"/>
                  </a:lnTo>
                  <a:lnTo>
                    <a:pt x="702" y="72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8" y="64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30" y="64"/>
                  </a:lnTo>
                  <a:lnTo>
                    <a:pt x="734" y="60"/>
                  </a:lnTo>
                  <a:lnTo>
                    <a:pt x="738" y="64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38" y="60"/>
                  </a:lnTo>
                  <a:lnTo>
                    <a:pt x="738" y="56"/>
                  </a:lnTo>
                  <a:lnTo>
                    <a:pt x="742" y="52"/>
                  </a:lnTo>
                  <a:lnTo>
                    <a:pt x="746" y="52"/>
                  </a:lnTo>
                  <a:lnTo>
                    <a:pt x="750" y="52"/>
                  </a:lnTo>
                  <a:lnTo>
                    <a:pt x="754" y="52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0" y="56"/>
                  </a:lnTo>
                  <a:lnTo>
                    <a:pt x="774" y="60"/>
                  </a:lnTo>
                  <a:lnTo>
                    <a:pt x="770" y="68"/>
                  </a:lnTo>
                  <a:lnTo>
                    <a:pt x="766" y="72"/>
                  </a:lnTo>
                  <a:lnTo>
                    <a:pt x="766" y="76"/>
                  </a:lnTo>
                  <a:lnTo>
                    <a:pt x="762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58" y="80"/>
                  </a:lnTo>
                  <a:lnTo>
                    <a:pt x="754" y="80"/>
                  </a:lnTo>
                  <a:lnTo>
                    <a:pt x="750" y="84"/>
                  </a:lnTo>
                  <a:lnTo>
                    <a:pt x="746" y="84"/>
                  </a:lnTo>
                  <a:lnTo>
                    <a:pt x="742" y="88"/>
                  </a:lnTo>
                  <a:lnTo>
                    <a:pt x="746" y="88"/>
                  </a:lnTo>
                  <a:lnTo>
                    <a:pt x="746" y="92"/>
                  </a:lnTo>
                  <a:lnTo>
                    <a:pt x="742" y="92"/>
                  </a:lnTo>
                  <a:lnTo>
                    <a:pt x="738" y="92"/>
                  </a:lnTo>
                  <a:lnTo>
                    <a:pt x="734" y="96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38" y="96"/>
                  </a:lnTo>
                  <a:lnTo>
                    <a:pt x="734" y="100"/>
                  </a:lnTo>
                  <a:lnTo>
                    <a:pt x="738" y="100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46" y="96"/>
                  </a:lnTo>
                  <a:lnTo>
                    <a:pt x="746" y="92"/>
                  </a:lnTo>
                  <a:lnTo>
                    <a:pt x="750" y="92"/>
                  </a:lnTo>
                  <a:lnTo>
                    <a:pt x="750" y="88"/>
                  </a:lnTo>
                  <a:lnTo>
                    <a:pt x="754" y="88"/>
                  </a:lnTo>
                  <a:lnTo>
                    <a:pt x="758" y="88"/>
                  </a:lnTo>
                  <a:lnTo>
                    <a:pt x="762" y="84"/>
                  </a:lnTo>
                  <a:lnTo>
                    <a:pt x="766" y="80"/>
                  </a:lnTo>
                  <a:lnTo>
                    <a:pt x="770" y="80"/>
                  </a:lnTo>
                  <a:lnTo>
                    <a:pt x="770" y="76"/>
                  </a:lnTo>
                  <a:lnTo>
                    <a:pt x="774" y="76"/>
                  </a:lnTo>
                  <a:lnTo>
                    <a:pt x="778" y="76"/>
                  </a:lnTo>
                  <a:lnTo>
                    <a:pt x="782" y="72"/>
                  </a:lnTo>
                  <a:lnTo>
                    <a:pt x="786" y="68"/>
                  </a:lnTo>
                  <a:lnTo>
                    <a:pt x="790" y="68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802" y="64"/>
                  </a:lnTo>
                  <a:lnTo>
                    <a:pt x="798" y="64"/>
                  </a:lnTo>
                  <a:lnTo>
                    <a:pt x="798" y="68"/>
                  </a:lnTo>
                  <a:lnTo>
                    <a:pt x="798" y="72"/>
                  </a:lnTo>
                  <a:lnTo>
                    <a:pt x="802" y="72"/>
                  </a:lnTo>
                  <a:lnTo>
                    <a:pt x="802" y="68"/>
                  </a:lnTo>
                  <a:lnTo>
                    <a:pt x="810" y="68"/>
                  </a:lnTo>
                  <a:lnTo>
                    <a:pt x="814" y="68"/>
                  </a:lnTo>
                  <a:lnTo>
                    <a:pt x="818" y="68"/>
                  </a:lnTo>
                  <a:lnTo>
                    <a:pt x="822" y="68"/>
                  </a:lnTo>
                  <a:lnTo>
                    <a:pt x="825" y="68"/>
                  </a:lnTo>
                  <a:lnTo>
                    <a:pt x="825" y="72"/>
                  </a:lnTo>
                  <a:lnTo>
                    <a:pt x="829" y="72"/>
                  </a:lnTo>
                  <a:lnTo>
                    <a:pt x="833" y="68"/>
                  </a:lnTo>
                  <a:lnTo>
                    <a:pt x="837" y="68"/>
                  </a:lnTo>
                  <a:lnTo>
                    <a:pt x="837" y="64"/>
                  </a:lnTo>
                  <a:lnTo>
                    <a:pt x="833" y="64"/>
                  </a:lnTo>
                  <a:lnTo>
                    <a:pt x="833" y="60"/>
                  </a:lnTo>
                  <a:lnTo>
                    <a:pt x="837" y="60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7" y="56"/>
                  </a:lnTo>
                  <a:lnTo>
                    <a:pt x="841" y="56"/>
                  </a:lnTo>
                  <a:lnTo>
                    <a:pt x="841" y="60"/>
                  </a:lnTo>
                  <a:lnTo>
                    <a:pt x="841" y="56"/>
                  </a:lnTo>
                  <a:lnTo>
                    <a:pt x="845" y="56"/>
                  </a:lnTo>
                  <a:lnTo>
                    <a:pt x="849" y="56"/>
                  </a:lnTo>
                  <a:lnTo>
                    <a:pt x="853" y="56"/>
                  </a:lnTo>
                  <a:lnTo>
                    <a:pt x="857" y="56"/>
                  </a:lnTo>
                  <a:lnTo>
                    <a:pt x="861" y="56"/>
                  </a:lnTo>
                  <a:lnTo>
                    <a:pt x="865" y="56"/>
                  </a:lnTo>
                  <a:lnTo>
                    <a:pt x="869" y="56"/>
                  </a:lnTo>
                  <a:lnTo>
                    <a:pt x="873" y="56"/>
                  </a:lnTo>
                  <a:lnTo>
                    <a:pt x="877" y="56"/>
                  </a:lnTo>
                  <a:lnTo>
                    <a:pt x="881" y="56"/>
                  </a:lnTo>
                  <a:lnTo>
                    <a:pt x="885" y="56"/>
                  </a:lnTo>
                  <a:lnTo>
                    <a:pt x="889" y="56"/>
                  </a:lnTo>
                  <a:lnTo>
                    <a:pt x="893" y="56"/>
                  </a:lnTo>
                  <a:lnTo>
                    <a:pt x="893" y="60"/>
                  </a:lnTo>
                  <a:lnTo>
                    <a:pt x="897" y="60"/>
                  </a:lnTo>
                  <a:lnTo>
                    <a:pt x="901" y="60"/>
                  </a:lnTo>
                  <a:lnTo>
                    <a:pt x="905" y="60"/>
                  </a:lnTo>
                  <a:lnTo>
                    <a:pt x="909" y="60"/>
                  </a:lnTo>
                  <a:lnTo>
                    <a:pt x="913" y="60"/>
                  </a:lnTo>
                  <a:lnTo>
                    <a:pt x="913" y="64"/>
                  </a:lnTo>
                  <a:lnTo>
                    <a:pt x="917" y="64"/>
                  </a:lnTo>
                  <a:lnTo>
                    <a:pt x="921" y="64"/>
                  </a:lnTo>
                  <a:lnTo>
                    <a:pt x="917" y="68"/>
                  </a:lnTo>
                  <a:lnTo>
                    <a:pt x="913" y="68"/>
                  </a:lnTo>
                  <a:lnTo>
                    <a:pt x="913" y="72"/>
                  </a:lnTo>
                  <a:lnTo>
                    <a:pt x="909" y="72"/>
                  </a:lnTo>
                  <a:lnTo>
                    <a:pt x="905" y="72"/>
                  </a:lnTo>
                  <a:lnTo>
                    <a:pt x="905" y="76"/>
                  </a:lnTo>
                  <a:lnTo>
                    <a:pt x="901" y="76"/>
                  </a:lnTo>
                  <a:lnTo>
                    <a:pt x="897" y="76"/>
                  </a:lnTo>
                  <a:lnTo>
                    <a:pt x="893" y="80"/>
                  </a:lnTo>
                  <a:lnTo>
                    <a:pt x="889" y="80"/>
                  </a:lnTo>
                  <a:lnTo>
                    <a:pt x="885" y="80"/>
                  </a:lnTo>
                  <a:lnTo>
                    <a:pt x="881" y="80"/>
                  </a:lnTo>
                  <a:lnTo>
                    <a:pt x="877" y="80"/>
                  </a:lnTo>
                  <a:lnTo>
                    <a:pt x="877" y="84"/>
                  </a:lnTo>
                  <a:lnTo>
                    <a:pt x="881" y="84"/>
                  </a:lnTo>
                  <a:lnTo>
                    <a:pt x="881" y="88"/>
                  </a:lnTo>
                  <a:lnTo>
                    <a:pt x="877" y="88"/>
                  </a:lnTo>
                  <a:lnTo>
                    <a:pt x="873" y="88"/>
                  </a:lnTo>
                  <a:lnTo>
                    <a:pt x="869" y="88"/>
                  </a:lnTo>
                  <a:lnTo>
                    <a:pt x="865" y="92"/>
                  </a:lnTo>
                  <a:lnTo>
                    <a:pt x="861" y="92"/>
                  </a:lnTo>
                  <a:lnTo>
                    <a:pt x="857" y="92"/>
                  </a:lnTo>
                  <a:lnTo>
                    <a:pt x="853" y="92"/>
                  </a:lnTo>
                  <a:lnTo>
                    <a:pt x="849" y="92"/>
                  </a:lnTo>
                  <a:lnTo>
                    <a:pt x="845" y="92"/>
                  </a:lnTo>
                  <a:lnTo>
                    <a:pt x="841" y="92"/>
                  </a:lnTo>
                  <a:lnTo>
                    <a:pt x="837" y="92"/>
                  </a:lnTo>
                  <a:lnTo>
                    <a:pt x="833" y="92"/>
                  </a:lnTo>
                  <a:lnTo>
                    <a:pt x="829" y="92"/>
                  </a:lnTo>
                  <a:lnTo>
                    <a:pt x="829" y="96"/>
                  </a:lnTo>
                  <a:lnTo>
                    <a:pt x="825" y="96"/>
                  </a:lnTo>
                  <a:lnTo>
                    <a:pt x="822" y="96"/>
                  </a:lnTo>
                  <a:lnTo>
                    <a:pt x="818" y="96"/>
                  </a:lnTo>
                  <a:lnTo>
                    <a:pt x="814" y="96"/>
                  </a:lnTo>
                  <a:lnTo>
                    <a:pt x="810" y="96"/>
                  </a:lnTo>
                  <a:lnTo>
                    <a:pt x="806" y="96"/>
                  </a:lnTo>
                  <a:lnTo>
                    <a:pt x="802" y="96"/>
                  </a:lnTo>
                  <a:lnTo>
                    <a:pt x="798" y="96"/>
                  </a:lnTo>
                  <a:lnTo>
                    <a:pt x="794" y="96"/>
                  </a:lnTo>
                  <a:lnTo>
                    <a:pt x="790" y="100"/>
                  </a:lnTo>
                  <a:lnTo>
                    <a:pt x="786" y="100"/>
                  </a:lnTo>
                  <a:lnTo>
                    <a:pt x="786" y="96"/>
                  </a:lnTo>
                  <a:lnTo>
                    <a:pt x="782" y="96"/>
                  </a:lnTo>
                  <a:lnTo>
                    <a:pt x="782" y="100"/>
                  </a:lnTo>
                  <a:lnTo>
                    <a:pt x="786" y="100"/>
                  </a:lnTo>
                  <a:lnTo>
                    <a:pt x="790" y="100"/>
                  </a:lnTo>
                  <a:lnTo>
                    <a:pt x="794" y="100"/>
                  </a:lnTo>
                  <a:lnTo>
                    <a:pt x="798" y="100"/>
                  </a:lnTo>
                  <a:lnTo>
                    <a:pt x="798" y="96"/>
                  </a:lnTo>
                  <a:lnTo>
                    <a:pt x="802" y="96"/>
                  </a:lnTo>
                  <a:lnTo>
                    <a:pt x="806" y="96"/>
                  </a:lnTo>
                  <a:lnTo>
                    <a:pt x="810" y="96"/>
                  </a:lnTo>
                  <a:lnTo>
                    <a:pt x="814" y="96"/>
                  </a:lnTo>
                  <a:lnTo>
                    <a:pt x="818" y="96"/>
                  </a:lnTo>
                  <a:lnTo>
                    <a:pt x="822" y="100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7" y="96"/>
                  </a:lnTo>
                  <a:lnTo>
                    <a:pt x="841" y="96"/>
                  </a:lnTo>
                  <a:lnTo>
                    <a:pt x="845" y="96"/>
                  </a:lnTo>
                  <a:lnTo>
                    <a:pt x="845" y="100"/>
                  </a:lnTo>
                  <a:lnTo>
                    <a:pt x="849" y="100"/>
                  </a:lnTo>
                  <a:lnTo>
                    <a:pt x="853" y="100"/>
                  </a:lnTo>
                  <a:lnTo>
                    <a:pt x="857" y="100"/>
                  </a:lnTo>
                  <a:lnTo>
                    <a:pt x="861" y="100"/>
                  </a:lnTo>
                  <a:lnTo>
                    <a:pt x="857" y="100"/>
                  </a:lnTo>
                  <a:lnTo>
                    <a:pt x="857" y="104"/>
                  </a:lnTo>
                  <a:lnTo>
                    <a:pt x="853" y="104"/>
                  </a:lnTo>
                  <a:lnTo>
                    <a:pt x="849" y="104"/>
                  </a:lnTo>
                  <a:lnTo>
                    <a:pt x="853" y="104"/>
                  </a:lnTo>
                  <a:lnTo>
                    <a:pt x="849" y="108"/>
                  </a:lnTo>
                  <a:lnTo>
                    <a:pt x="845" y="108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2" y="108"/>
                  </a:lnTo>
                  <a:lnTo>
                    <a:pt x="818" y="108"/>
                  </a:lnTo>
                  <a:lnTo>
                    <a:pt x="814" y="108"/>
                  </a:lnTo>
                  <a:lnTo>
                    <a:pt x="810" y="108"/>
                  </a:lnTo>
                  <a:lnTo>
                    <a:pt x="806" y="108"/>
                  </a:lnTo>
                  <a:lnTo>
                    <a:pt x="802" y="108"/>
                  </a:lnTo>
                  <a:lnTo>
                    <a:pt x="802" y="112"/>
                  </a:lnTo>
                  <a:lnTo>
                    <a:pt x="798" y="112"/>
                  </a:lnTo>
                  <a:lnTo>
                    <a:pt x="794" y="112"/>
                  </a:lnTo>
                  <a:lnTo>
                    <a:pt x="798" y="112"/>
                  </a:lnTo>
                  <a:lnTo>
                    <a:pt x="794" y="116"/>
                  </a:lnTo>
                  <a:lnTo>
                    <a:pt x="790" y="120"/>
                  </a:lnTo>
                  <a:lnTo>
                    <a:pt x="794" y="120"/>
                  </a:lnTo>
                  <a:lnTo>
                    <a:pt x="798" y="120"/>
                  </a:lnTo>
                  <a:lnTo>
                    <a:pt x="798" y="124"/>
                  </a:lnTo>
                  <a:lnTo>
                    <a:pt x="802" y="124"/>
                  </a:lnTo>
                  <a:lnTo>
                    <a:pt x="802" y="120"/>
                  </a:lnTo>
                  <a:lnTo>
                    <a:pt x="806" y="120"/>
                  </a:lnTo>
                  <a:lnTo>
                    <a:pt x="802" y="120"/>
                  </a:lnTo>
                  <a:lnTo>
                    <a:pt x="798" y="120"/>
                  </a:lnTo>
                  <a:lnTo>
                    <a:pt x="802" y="116"/>
                  </a:lnTo>
                  <a:lnTo>
                    <a:pt x="806" y="116"/>
                  </a:lnTo>
                  <a:lnTo>
                    <a:pt x="810" y="116"/>
                  </a:lnTo>
                  <a:lnTo>
                    <a:pt x="810" y="112"/>
                  </a:lnTo>
                  <a:lnTo>
                    <a:pt x="814" y="112"/>
                  </a:lnTo>
                  <a:lnTo>
                    <a:pt x="818" y="112"/>
                  </a:lnTo>
                  <a:lnTo>
                    <a:pt x="822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2"/>
                  </a:lnTo>
                  <a:lnTo>
                    <a:pt x="841" y="116"/>
                  </a:lnTo>
                  <a:lnTo>
                    <a:pt x="837" y="116"/>
                  </a:lnTo>
                  <a:lnTo>
                    <a:pt x="833" y="120"/>
                  </a:lnTo>
                  <a:lnTo>
                    <a:pt x="833" y="124"/>
                  </a:lnTo>
                  <a:lnTo>
                    <a:pt x="829" y="124"/>
                  </a:lnTo>
                  <a:lnTo>
                    <a:pt x="825" y="124"/>
                  </a:lnTo>
                  <a:lnTo>
                    <a:pt x="822" y="124"/>
                  </a:lnTo>
                  <a:lnTo>
                    <a:pt x="818" y="124"/>
                  </a:lnTo>
                  <a:lnTo>
                    <a:pt x="814" y="124"/>
                  </a:lnTo>
                  <a:lnTo>
                    <a:pt x="810" y="124"/>
                  </a:lnTo>
                  <a:lnTo>
                    <a:pt x="810" y="128"/>
                  </a:lnTo>
                  <a:lnTo>
                    <a:pt x="806" y="128"/>
                  </a:lnTo>
                  <a:lnTo>
                    <a:pt x="810" y="128"/>
                  </a:lnTo>
                  <a:lnTo>
                    <a:pt x="810" y="132"/>
                  </a:lnTo>
                  <a:lnTo>
                    <a:pt x="806" y="132"/>
                  </a:lnTo>
                  <a:lnTo>
                    <a:pt x="806" y="136"/>
                  </a:lnTo>
                  <a:lnTo>
                    <a:pt x="806" y="140"/>
                  </a:lnTo>
                  <a:lnTo>
                    <a:pt x="806" y="144"/>
                  </a:lnTo>
                  <a:lnTo>
                    <a:pt x="806" y="140"/>
                  </a:lnTo>
                  <a:lnTo>
                    <a:pt x="810" y="136"/>
                  </a:lnTo>
                  <a:lnTo>
                    <a:pt x="814" y="136"/>
                  </a:lnTo>
                  <a:lnTo>
                    <a:pt x="818" y="136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0" y="140"/>
                  </a:lnTo>
                  <a:lnTo>
                    <a:pt x="810" y="144"/>
                  </a:lnTo>
                  <a:lnTo>
                    <a:pt x="806" y="144"/>
                  </a:lnTo>
                  <a:lnTo>
                    <a:pt x="802" y="144"/>
                  </a:lnTo>
                  <a:lnTo>
                    <a:pt x="802" y="148"/>
                  </a:lnTo>
                  <a:lnTo>
                    <a:pt x="802" y="152"/>
                  </a:lnTo>
                  <a:lnTo>
                    <a:pt x="798" y="152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86" y="152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86" y="156"/>
                  </a:lnTo>
                  <a:lnTo>
                    <a:pt x="782" y="156"/>
                  </a:lnTo>
                  <a:lnTo>
                    <a:pt x="782" y="160"/>
                  </a:lnTo>
                  <a:lnTo>
                    <a:pt x="786" y="160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90" y="160"/>
                  </a:lnTo>
                  <a:lnTo>
                    <a:pt x="786" y="160"/>
                  </a:lnTo>
                  <a:lnTo>
                    <a:pt x="786" y="164"/>
                  </a:lnTo>
                  <a:lnTo>
                    <a:pt x="782" y="168"/>
                  </a:lnTo>
                  <a:lnTo>
                    <a:pt x="782" y="172"/>
                  </a:lnTo>
                  <a:lnTo>
                    <a:pt x="778" y="172"/>
                  </a:lnTo>
                  <a:lnTo>
                    <a:pt x="774" y="172"/>
                  </a:lnTo>
                  <a:lnTo>
                    <a:pt x="778" y="176"/>
                  </a:lnTo>
                  <a:lnTo>
                    <a:pt x="782" y="176"/>
                  </a:lnTo>
                  <a:lnTo>
                    <a:pt x="778" y="176"/>
                  </a:lnTo>
                  <a:lnTo>
                    <a:pt x="774" y="180"/>
                  </a:lnTo>
                  <a:lnTo>
                    <a:pt x="778" y="180"/>
                  </a:lnTo>
                  <a:lnTo>
                    <a:pt x="774" y="184"/>
                  </a:lnTo>
                  <a:lnTo>
                    <a:pt x="770" y="187"/>
                  </a:lnTo>
                  <a:lnTo>
                    <a:pt x="774" y="187"/>
                  </a:lnTo>
                  <a:lnTo>
                    <a:pt x="778" y="187"/>
                  </a:lnTo>
                  <a:lnTo>
                    <a:pt x="782" y="187"/>
                  </a:lnTo>
                  <a:lnTo>
                    <a:pt x="778" y="187"/>
                  </a:lnTo>
                  <a:lnTo>
                    <a:pt x="778" y="191"/>
                  </a:lnTo>
                  <a:lnTo>
                    <a:pt x="782" y="187"/>
                  </a:lnTo>
                  <a:lnTo>
                    <a:pt x="782" y="184"/>
                  </a:lnTo>
                  <a:lnTo>
                    <a:pt x="786" y="180"/>
                  </a:lnTo>
                  <a:lnTo>
                    <a:pt x="790" y="176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4"/>
                  </a:lnTo>
                  <a:lnTo>
                    <a:pt x="806" y="184"/>
                  </a:lnTo>
                  <a:lnTo>
                    <a:pt x="810" y="184"/>
                  </a:lnTo>
                  <a:lnTo>
                    <a:pt x="814" y="184"/>
                  </a:lnTo>
                  <a:lnTo>
                    <a:pt x="818" y="187"/>
                  </a:lnTo>
                  <a:lnTo>
                    <a:pt x="814" y="187"/>
                  </a:lnTo>
                  <a:lnTo>
                    <a:pt x="814" y="191"/>
                  </a:lnTo>
                  <a:lnTo>
                    <a:pt x="810" y="187"/>
                  </a:lnTo>
                  <a:lnTo>
                    <a:pt x="802" y="187"/>
                  </a:lnTo>
                  <a:lnTo>
                    <a:pt x="802" y="184"/>
                  </a:lnTo>
                  <a:lnTo>
                    <a:pt x="798" y="184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0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0" y="191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802" y="195"/>
                  </a:lnTo>
                  <a:lnTo>
                    <a:pt x="798" y="195"/>
                  </a:lnTo>
                  <a:lnTo>
                    <a:pt x="794" y="195"/>
                  </a:lnTo>
                  <a:lnTo>
                    <a:pt x="790" y="195"/>
                  </a:lnTo>
                  <a:lnTo>
                    <a:pt x="794" y="195"/>
                  </a:lnTo>
                  <a:lnTo>
                    <a:pt x="798" y="195"/>
                  </a:lnTo>
                  <a:lnTo>
                    <a:pt x="802" y="195"/>
                  </a:lnTo>
                  <a:lnTo>
                    <a:pt x="806" y="195"/>
                  </a:lnTo>
                  <a:lnTo>
                    <a:pt x="810" y="195"/>
                  </a:lnTo>
                  <a:lnTo>
                    <a:pt x="810" y="199"/>
                  </a:lnTo>
                  <a:lnTo>
                    <a:pt x="814" y="199"/>
                  </a:lnTo>
                  <a:lnTo>
                    <a:pt x="818" y="199"/>
                  </a:lnTo>
                  <a:lnTo>
                    <a:pt x="818" y="195"/>
                  </a:lnTo>
                  <a:lnTo>
                    <a:pt x="822" y="195"/>
                  </a:lnTo>
                  <a:lnTo>
                    <a:pt x="825" y="195"/>
                  </a:lnTo>
                  <a:lnTo>
                    <a:pt x="829" y="199"/>
                  </a:lnTo>
                  <a:lnTo>
                    <a:pt x="829" y="203"/>
                  </a:lnTo>
                  <a:lnTo>
                    <a:pt x="829" y="207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15"/>
                  </a:lnTo>
                  <a:lnTo>
                    <a:pt x="822" y="211"/>
                  </a:lnTo>
                  <a:lnTo>
                    <a:pt x="818" y="211"/>
                  </a:lnTo>
                  <a:lnTo>
                    <a:pt x="814" y="211"/>
                  </a:lnTo>
                  <a:lnTo>
                    <a:pt x="810" y="211"/>
                  </a:lnTo>
                  <a:lnTo>
                    <a:pt x="806" y="207"/>
                  </a:lnTo>
                  <a:lnTo>
                    <a:pt x="802" y="207"/>
                  </a:lnTo>
                  <a:lnTo>
                    <a:pt x="798" y="207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6" y="215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82" y="215"/>
                  </a:lnTo>
                  <a:lnTo>
                    <a:pt x="778" y="219"/>
                  </a:lnTo>
                  <a:lnTo>
                    <a:pt x="774" y="219"/>
                  </a:lnTo>
                  <a:lnTo>
                    <a:pt x="774" y="215"/>
                  </a:lnTo>
                  <a:lnTo>
                    <a:pt x="770" y="211"/>
                  </a:lnTo>
                  <a:lnTo>
                    <a:pt x="766" y="211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66" y="219"/>
                  </a:lnTo>
                  <a:lnTo>
                    <a:pt x="766" y="223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8" y="227"/>
                  </a:lnTo>
                  <a:lnTo>
                    <a:pt x="778" y="231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6" y="231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794" y="231"/>
                  </a:lnTo>
                  <a:lnTo>
                    <a:pt x="790" y="231"/>
                  </a:lnTo>
                  <a:lnTo>
                    <a:pt x="786" y="227"/>
                  </a:ln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802" y="231"/>
                  </a:lnTo>
                  <a:lnTo>
                    <a:pt x="802" y="227"/>
                  </a:lnTo>
                  <a:lnTo>
                    <a:pt x="806" y="231"/>
                  </a:lnTo>
                  <a:lnTo>
                    <a:pt x="806" y="235"/>
                  </a:lnTo>
                  <a:lnTo>
                    <a:pt x="802" y="235"/>
                  </a:lnTo>
                  <a:lnTo>
                    <a:pt x="798" y="235"/>
                  </a:lnTo>
                  <a:lnTo>
                    <a:pt x="798" y="239"/>
                  </a:lnTo>
                  <a:lnTo>
                    <a:pt x="794" y="239"/>
                  </a:lnTo>
                  <a:lnTo>
                    <a:pt x="790" y="235"/>
                  </a:lnTo>
                  <a:lnTo>
                    <a:pt x="782" y="235"/>
                  </a:lnTo>
                  <a:lnTo>
                    <a:pt x="782" y="239"/>
                  </a:lnTo>
                  <a:lnTo>
                    <a:pt x="778" y="239"/>
                  </a:lnTo>
                  <a:lnTo>
                    <a:pt x="774" y="239"/>
                  </a:lnTo>
                  <a:lnTo>
                    <a:pt x="774" y="235"/>
                  </a:lnTo>
                  <a:lnTo>
                    <a:pt x="774" y="239"/>
                  </a:lnTo>
                  <a:lnTo>
                    <a:pt x="778" y="239"/>
                  </a:lnTo>
                  <a:lnTo>
                    <a:pt x="782" y="239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4" y="239"/>
                  </a:lnTo>
                  <a:lnTo>
                    <a:pt x="798" y="239"/>
                  </a:lnTo>
                  <a:lnTo>
                    <a:pt x="802" y="239"/>
                  </a:lnTo>
                  <a:lnTo>
                    <a:pt x="806" y="239"/>
                  </a:lnTo>
                  <a:lnTo>
                    <a:pt x="810" y="243"/>
                  </a:lnTo>
                  <a:lnTo>
                    <a:pt x="810" y="247"/>
                  </a:lnTo>
                  <a:lnTo>
                    <a:pt x="810" y="251"/>
                  </a:lnTo>
                  <a:lnTo>
                    <a:pt x="814" y="255"/>
                  </a:lnTo>
                  <a:lnTo>
                    <a:pt x="810" y="255"/>
                  </a:lnTo>
                  <a:lnTo>
                    <a:pt x="810" y="259"/>
                  </a:lnTo>
                  <a:lnTo>
                    <a:pt x="810" y="263"/>
                  </a:lnTo>
                  <a:lnTo>
                    <a:pt x="806" y="263"/>
                  </a:lnTo>
                  <a:lnTo>
                    <a:pt x="802" y="263"/>
                  </a:lnTo>
                  <a:lnTo>
                    <a:pt x="802" y="259"/>
                  </a:lnTo>
                  <a:lnTo>
                    <a:pt x="802" y="255"/>
                  </a:lnTo>
                  <a:lnTo>
                    <a:pt x="798" y="255"/>
                  </a:lnTo>
                  <a:lnTo>
                    <a:pt x="794" y="255"/>
                  </a:lnTo>
                  <a:lnTo>
                    <a:pt x="794" y="259"/>
                  </a:lnTo>
                  <a:lnTo>
                    <a:pt x="790" y="259"/>
                  </a:lnTo>
                  <a:lnTo>
                    <a:pt x="786" y="255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8" y="247"/>
                  </a:lnTo>
                  <a:lnTo>
                    <a:pt x="774" y="247"/>
                  </a:lnTo>
                  <a:lnTo>
                    <a:pt x="770" y="247"/>
                  </a:lnTo>
                  <a:lnTo>
                    <a:pt x="766" y="247"/>
                  </a:lnTo>
                  <a:lnTo>
                    <a:pt x="770" y="247"/>
                  </a:lnTo>
                  <a:lnTo>
                    <a:pt x="774" y="247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4" y="251"/>
                  </a:lnTo>
                  <a:lnTo>
                    <a:pt x="770" y="251"/>
                  </a:lnTo>
                  <a:lnTo>
                    <a:pt x="766" y="251"/>
                  </a:lnTo>
                  <a:lnTo>
                    <a:pt x="770" y="251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5"/>
                  </a:lnTo>
                  <a:lnTo>
                    <a:pt x="786" y="255"/>
                  </a:lnTo>
                  <a:lnTo>
                    <a:pt x="790" y="259"/>
                  </a:lnTo>
                  <a:lnTo>
                    <a:pt x="794" y="259"/>
                  </a:lnTo>
                  <a:lnTo>
                    <a:pt x="794" y="263"/>
                  </a:lnTo>
                  <a:lnTo>
                    <a:pt x="790" y="263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82" y="267"/>
                  </a:lnTo>
                  <a:lnTo>
                    <a:pt x="778" y="267"/>
                  </a:lnTo>
                  <a:lnTo>
                    <a:pt x="774" y="267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6" y="259"/>
                  </a:lnTo>
                  <a:lnTo>
                    <a:pt x="766" y="263"/>
                  </a:lnTo>
                  <a:lnTo>
                    <a:pt x="770" y="263"/>
                  </a:lnTo>
                  <a:lnTo>
                    <a:pt x="774" y="263"/>
                  </a:lnTo>
                  <a:lnTo>
                    <a:pt x="774" y="267"/>
                  </a:lnTo>
                  <a:lnTo>
                    <a:pt x="778" y="267"/>
                  </a:lnTo>
                  <a:lnTo>
                    <a:pt x="782" y="267"/>
                  </a:lnTo>
                  <a:lnTo>
                    <a:pt x="782" y="263"/>
                  </a:lnTo>
                  <a:lnTo>
                    <a:pt x="786" y="263"/>
                  </a:lnTo>
                  <a:lnTo>
                    <a:pt x="790" y="263"/>
                  </a:lnTo>
                  <a:lnTo>
                    <a:pt x="794" y="263"/>
                  </a:lnTo>
                  <a:lnTo>
                    <a:pt x="794" y="267"/>
                  </a:lnTo>
                  <a:lnTo>
                    <a:pt x="790" y="271"/>
                  </a:lnTo>
                  <a:lnTo>
                    <a:pt x="794" y="271"/>
                  </a:lnTo>
                  <a:lnTo>
                    <a:pt x="794" y="275"/>
                  </a:lnTo>
                  <a:lnTo>
                    <a:pt x="790" y="275"/>
                  </a:lnTo>
                  <a:lnTo>
                    <a:pt x="786" y="275"/>
                  </a:lnTo>
                  <a:lnTo>
                    <a:pt x="790" y="275"/>
                  </a:lnTo>
                  <a:lnTo>
                    <a:pt x="794" y="275"/>
                  </a:lnTo>
                  <a:lnTo>
                    <a:pt x="798" y="275"/>
                  </a:lnTo>
                  <a:lnTo>
                    <a:pt x="802" y="275"/>
                  </a:lnTo>
                  <a:lnTo>
                    <a:pt x="806" y="279"/>
                  </a:lnTo>
                  <a:lnTo>
                    <a:pt x="810" y="275"/>
                  </a:lnTo>
                  <a:lnTo>
                    <a:pt x="814" y="275"/>
                  </a:lnTo>
                  <a:lnTo>
                    <a:pt x="814" y="279"/>
                  </a:lnTo>
                  <a:lnTo>
                    <a:pt x="818" y="279"/>
                  </a:lnTo>
                  <a:lnTo>
                    <a:pt x="818" y="283"/>
                  </a:lnTo>
                  <a:lnTo>
                    <a:pt x="814" y="283"/>
                  </a:lnTo>
                  <a:lnTo>
                    <a:pt x="814" y="287"/>
                  </a:lnTo>
                  <a:lnTo>
                    <a:pt x="810" y="287"/>
                  </a:lnTo>
                  <a:lnTo>
                    <a:pt x="806" y="287"/>
                  </a:lnTo>
                  <a:lnTo>
                    <a:pt x="802" y="287"/>
                  </a:lnTo>
                  <a:lnTo>
                    <a:pt x="798" y="287"/>
                  </a:lnTo>
                  <a:lnTo>
                    <a:pt x="798" y="283"/>
                  </a:lnTo>
                  <a:lnTo>
                    <a:pt x="794" y="283"/>
                  </a:lnTo>
                  <a:lnTo>
                    <a:pt x="790" y="283"/>
                  </a:lnTo>
                  <a:lnTo>
                    <a:pt x="786" y="283"/>
                  </a:lnTo>
                  <a:lnTo>
                    <a:pt x="782" y="283"/>
                  </a:lnTo>
                  <a:lnTo>
                    <a:pt x="778" y="283"/>
                  </a:lnTo>
                  <a:lnTo>
                    <a:pt x="774" y="283"/>
                  </a:lnTo>
                  <a:lnTo>
                    <a:pt x="774" y="279"/>
                  </a:lnTo>
                  <a:lnTo>
                    <a:pt x="770" y="279"/>
                  </a:lnTo>
                  <a:lnTo>
                    <a:pt x="774" y="279"/>
                  </a:lnTo>
                  <a:lnTo>
                    <a:pt x="774" y="283"/>
                  </a:lnTo>
                  <a:lnTo>
                    <a:pt x="774" y="287"/>
                  </a:lnTo>
                  <a:lnTo>
                    <a:pt x="770" y="287"/>
                  </a:lnTo>
                  <a:lnTo>
                    <a:pt x="766" y="287"/>
                  </a:lnTo>
                  <a:lnTo>
                    <a:pt x="770" y="287"/>
                  </a:lnTo>
                  <a:lnTo>
                    <a:pt x="770" y="291"/>
                  </a:lnTo>
                  <a:lnTo>
                    <a:pt x="766" y="291"/>
                  </a:lnTo>
                  <a:lnTo>
                    <a:pt x="770" y="295"/>
                  </a:lnTo>
                  <a:lnTo>
                    <a:pt x="774" y="295"/>
                  </a:lnTo>
                  <a:lnTo>
                    <a:pt x="774" y="299"/>
                  </a:lnTo>
                  <a:lnTo>
                    <a:pt x="774" y="303"/>
                  </a:lnTo>
                  <a:lnTo>
                    <a:pt x="778" y="303"/>
                  </a:lnTo>
                  <a:lnTo>
                    <a:pt x="774" y="299"/>
                  </a:lnTo>
                  <a:lnTo>
                    <a:pt x="774" y="295"/>
                  </a:lnTo>
                  <a:lnTo>
                    <a:pt x="778" y="291"/>
                  </a:lnTo>
                  <a:lnTo>
                    <a:pt x="778" y="295"/>
                  </a:lnTo>
                  <a:lnTo>
                    <a:pt x="782" y="295"/>
                  </a:lnTo>
                  <a:lnTo>
                    <a:pt x="786" y="295"/>
                  </a:lnTo>
                  <a:lnTo>
                    <a:pt x="790" y="299"/>
                  </a:lnTo>
                  <a:lnTo>
                    <a:pt x="794" y="299"/>
                  </a:lnTo>
                  <a:lnTo>
                    <a:pt x="798" y="299"/>
                  </a:lnTo>
                  <a:lnTo>
                    <a:pt x="798" y="303"/>
                  </a:lnTo>
                  <a:lnTo>
                    <a:pt x="794" y="303"/>
                  </a:lnTo>
                  <a:lnTo>
                    <a:pt x="794" y="307"/>
                  </a:lnTo>
                  <a:lnTo>
                    <a:pt x="798" y="307"/>
                  </a:lnTo>
                  <a:lnTo>
                    <a:pt x="794" y="311"/>
                  </a:lnTo>
                  <a:lnTo>
                    <a:pt x="790" y="311"/>
                  </a:lnTo>
                  <a:lnTo>
                    <a:pt x="786" y="311"/>
                  </a:lnTo>
                  <a:lnTo>
                    <a:pt x="782" y="311"/>
                  </a:lnTo>
                  <a:lnTo>
                    <a:pt x="778" y="311"/>
                  </a:lnTo>
                  <a:lnTo>
                    <a:pt x="774" y="311"/>
                  </a:lnTo>
                  <a:lnTo>
                    <a:pt x="774" y="315"/>
                  </a:lnTo>
                  <a:lnTo>
                    <a:pt x="770" y="315"/>
                  </a:lnTo>
                  <a:lnTo>
                    <a:pt x="766" y="315"/>
                  </a:lnTo>
                  <a:lnTo>
                    <a:pt x="762" y="315"/>
                  </a:lnTo>
                  <a:lnTo>
                    <a:pt x="758" y="315"/>
                  </a:lnTo>
                  <a:lnTo>
                    <a:pt x="754" y="315"/>
                  </a:lnTo>
                  <a:lnTo>
                    <a:pt x="754" y="311"/>
                  </a:lnTo>
                  <a:lnTo>
                    <a:pt x="750" y="311"/>
                  </a:lnTo>
                  <a:lnTo>
                    <a:pt x="746" y="311"/>
                  </a:lnTo>
                  <a:lnTo>
                    <a:pt x="746" y="307"/>
                  </a:lnTo>
                  <a:lnTo>
                    <a:pt x="742" y="307"/>
                  </a:lnTo>
                  <a:lnTo>
                    <a:pt x="742" y="303"/>
                  </a:lnTo>
                  <a:lnTo>
                    <a:pt x="746" y="303"/>
                  </a:lnTo>
                  <a:lnTo>
                    <a:pt x="750" y="303"/>
                  </a:lnTo>
                  <a:lnTo>
                    <a:pt x="754" y="307"/>
                  </a:lnTo>
                  <a:lnTo>
                    <a:pt x="758" y="307"/>
                  </a:lnTo>
                  <a:lnTo>
                    <a:pt x="762" y="307"/>
                  </a:lnTo>
                  <a:lnTo>
                    <a:pt x="766" y="307"/>
                  </a:lnTo>
                  <a:lnTo>
                    <a:pt x="770" y="307"/>
                  </a:lnTo>
                  <a:lnTo>
                    <a:pt x="766" y="307"/>
                  </a:lnTo>
                  <a:lnTo>
                    <a:pt x="762" y="307"/>
                  </a:lnTo>
                  <a:lnTo>
                    <a:pt x="758" y="307"/>
                  </a:lnTo>
                  <a:lnTo>
                    <a:pt x="754" y="303"/>
                  </a:lnTo>
                  <a:lnTo>
                    <a:pt x="750" y="303"/>
                  </a:lnTo>
                  <a:lnTo>
                    <a:pt x="746" y="303"/>
                  </a:lnTo>
                  <a:lnTo>
                    <a:pt x="742" y="303"/>
                  </a:lnTo>
                  <a:lnTo>
                    <a:pt x="742" y="299"/>
                  </a:lnTo>
                  <a:lnTo>
                    <a:pt x="738" y="299"/>
                  </a:lnTo>
                  <a:lnTo>
                    <a:pt x="738" y="303"/>
                  </a:lnTo>
                  <a:lnTo>
                    <a:pt x="734" y="303"/>
                  </a:lnTo>
                  <a:lnTo>
                    <a:pt x="734" y="307"/>
                  </a:lnTo>
                  <a:lnTo>
                    <a:pt x="730" y="307"/>
                  </a:lnTo>
                  <a:lnTo>
                    <a:pt x="726" y="307"/>
                  </a:lnTo>
                  <a:lnTo>
                    <a:pt x="726" y="303"/>
                  </a:lnTo>
                  <a:lnTo>
                    <a:pt x="722" y="303"/>
                  </a:lnTo>
                  <a:lnTo>
                    <a:pt x="722" y="299"/>
                  </a:lnTo>
                  <a:lnTo>
                    <a:pt x="718" y="299"/>
                  </a:lnTo>
                  <a:lnTo>
                    <a:pt x="718" y="295"/>
                  </a:lnTo>
                  <a:lnTo>
                    <a:pt x="714" y="295"/>
                  </a:lnTo>
                  <a:lnTo>
                    <a:pt x="714" y="299"/>
                  </a:lnTo>
                  <a:lnTo>
                    <a:pt x="718" y="299"/>
                  </a:lnTo>
                  <a:lnTo>
                    <a:pt x="722" y="303"/>
                  </a:lnTo>
                  <a:lnTo>
                    <a:pt x="726" y="303"/>
                  </a:lnTo>
                  <a:lnTo>
                    <a:pt x="726" y="307"/>
                  </a:lnTo>
                  <a:lnTo>
                    <a:pt x="730" y="307"/>
                  </a:lnTo>
                  <a:lnTo>
                    <a:pt x="730" y="311"/>
                  </a:lnTo>
                  <a:lnTo>
                    <a:pt x="726" y="311"/>
                  </a:lnTo>
                  <a:lnTo>
                    <a:pt x="722" y="311"/>
                  </a:lnTo>
                  <a:lnTo>
                    <a:pt x="718" y="311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698" y="315"/>
                  </a:lnTo>
                  <a:lnTo>
                    <a:pt x="698" y="311"/>
                  </a:lnTo>
                  <a:lnTo>
                    <a:pt x="694" y="311"/>
                  </a:lnTo>
                  <a:lnTo>
                    <a:pt x="690" y="311"/>
                  </a:lnTo>
                  <a:lnTo>
                    <a:pt x="694" y="315"/>
                  </a:lnTo>
                  <a:lnTo>
                    <a:pt x="698" y="315"/>
                  </a:lnTo>
                  <a:lnTo>
                    <a:pt x="702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702" y="319"/>
                  </a:lnTo>
                  <a:lnTo>
                    <a:pt x="698" y="319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86" y="319"/>
                  </a:lnTo>
                  <a:lnTo>
                    <a:pt x="690" y="319"/>
                  </a:lnTo>
                  <a:lnTo>
                    <a:pt x="690" y="323"/>
                  </a:lnTo>
                  <a:lnTo>
                    <a:pt x="690" y="327"/>
                  </a:lnTo>
                  <a:lnTo>
                    <a:pt x="690" y="323"/>
                  </a:lnTo>
                  <a:lnTo>
                    <a:pt x="690" y="319"/>
                  </a:lnTo>
                  <a:lnTo>
                    <a:pt x="694" y="319"/>
                  </a:lnTo>
                  <a:lnTo>
                    <a:pt x="698" y="319"/>
                  </a:lnTo>
                  <a:lnTo>
                    <a:pt x="702" y="319"/>
                  </a:lnTo>
                  <a:lnTo>
                    <a:pt x="706" y="319"/>
                  </a:lnTo>
                  <a:lnTo>
                    <a:pt x="710" y="319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22" y="319"/>
                  </a:lnTo>
                  <a:lnTo>
                    <a:pt x="722" y="323"/>
                  </a:lnTo>
                  <a:lnTo>
                    <a:pt x="726" y="319"/>
                  </a:lnTo>
                  <a:lnTo>
                    <a:pt x="726" y="323"/>
                  </a:lnTo>
                  <a:lnTo>
                    <a:pt x="726" y="327"/>
                  </a:lnTo>
                  <a:lnTo>
                    <a:pt x="722" y="327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06" y="331"/>
                  </a:lnTo>
                  <a:lnTo>
                    <a:pt x="702" y="327"/>
                  </a:lnTo>
                  <a:lnTo>
                    <a:pt x="698" y="327"/>
                  </a:lnTo>
                  <a:lnTo>
                    <a:pt x="694" y="327"/>
                  </a:lnTo>
                  <a:lnTo>
                    <a:pt x="690" y="327"/>
                  </a:lnTo>
                  <a:lnTo>
                    <a:pt x="694" y="327"/>
                  </a:lnTo>
                  <a:lnTo>
                    <a:pt x="698" y="327"/>
                  </a:lnTo>
                  <a:lnTo>
                    <a:pt x="702" y="327"/>
                  </a:lnTo>
                  <a:lnTo>
                    <a:pt x="706" y="331"/>
                  </a:lnTo>
                  <a:lnTo>
                    <a:pt x="702" y="331"/>
                  </a:lnTo>
                  <a:lnTo>
                    <a:pt x="698" y="331"/>
                  </a:lnTo>
                  <a:lnTo>
                    <a:pt x="702" y="331"/>
                  </a:lnTo>
                  <a:lnTo>
                    <a:pt x="706" y="331"/>
                  </a:lnTo>
                  <a:lnTo>
                    <a:pt x="706" y="335"/>
                  </a:lnTo>
                  <a:lnTo>
                    <a:pt x="706" y="331"/>
                  </a:lnTo>
                  <a:lnTo>
                    <a:pt x="710" y="331"/>
                  </a:lnTo>
                  <a:lnTo>
                    <a:pt x="714" y="331"/>
                  </a:lnTo>
                  <a:lnTo>
                    <a:pt x="718" y="327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0" y="335"/>
                  </a:lnTo>
                  <a:lnTo>
                    <a:pt x="734" y="335"/>
                  </a:lnTo>
                  <a:lnTo>
                    <a:pt x="730" y="339"/>
                  </a:lnTo>
                  <a:lnTo>
                    <a:pt x="726" y="339"/>
                  </a:lnTo>
                  <a:lnTo>
                    <a:pt x="722" y="339"/>
                  </a:lnTo>
                  <a:lnTo>
                    <a:pt x="718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39"/>
                  </a:lnTo>
                  <a:lnTo>
                    <a:pt x="722" y="343"/>
                  </a:lnTo>
                  <a:lnTo>
                    <a:pt x="718" y="343"/>
                  </a:lnTo>
                  <a:lnTo>
                    <a:pt x="718" y="347"/>
                  </a:lnTo>
                  <a:lnTo>
                    <a:pt x="722" y="347"/>
                  </a:lnTo>
                  <a:lnTo>
                    <a:pt x="722" y="343"/>
                  </a:lnTo>
                  <a:lnTo>
                    <a:pt x="726" y="343"/>
                  </a:lnTo>
                  <a:lnTo>
                    <a:pt x="726" y="339"/>
                  </a:lnTo>
                  <a:lnTo>
                    <a:pt x="730" y="339"/>
                  </a:lnTo>
                  <a:lnTo>
                    <a:pt x="734" y="339"/>
                  </a:lnTo>
                  <a:lnTo>
                    <a:pt x="734" y="343"/>
                  </a:lnTo>
                  <a:lnTo>
                    <a:pt x="738" y="343"/>
                  </a:lnTo>
                  <a:lnTo>
                    <a:pt x="742" y="343"/>
                  </a:lnTo>
                  <a:lnTo>
                    <a:pt x="746" y="343"/>
                  </a:lnTo>
                  <a:lnTo>
                    <a:pt x="746" y="347"/>
                  </a:lnTo>
                  <a:lnTo>
                    <a:pt x="750" y="347"/>
                  </a:lnTo>
                  <a:lnTo>
                    <a:pt x="754" y="347"/>
                  </a:lnTo>
                  <a:lnTo>
                    <a:pt x="754" y="351"/>
                  </a:lnTo>
                  <a:lnTo>
                    <a:pt x="758" y="351"/>
                  </a:lnTo>
                  <a:lnTo>
                    <a:pt x="762" y="351"/>
                  </a:lnTo>
                  <a:lnTo>
                    <a:pt x="762" y="355"/>
                  </a:lnTo>
                  <a:lnTo>
                    <a:pt x="766" y="355"/>
                  </a:lnTo>
                  <a:lnTo>
                    <a:pt x="762" y="355"/>
                  </a:lnTo>
                  <a:lnTo>
                    <a:pt x="762" y="359"/>
                  </a:lnTo>
                  <a:lnTo>
                    <a:pt x="758" y="359"/>
                  </a:lnTo>
                  <a:lnTo>
                    <a:pt x="754" y="359"/>
                  </a:lnTo>
                  <a:lnTo>
                    <a:pt x="754" y="363"/>
                  </a:lnTo>
                  <a:lnTo>
                    <a:pt x="758" y="363"/>
                  </a:lnTo>
                  <a:lnTo>
                    <a:pt x="758" y="359"/>
                  </a:lnTo>
                  <a:lnTo>
                    <a:pt x="762" y="359"/>
                  </a:lnTo>
                  <a:lnTo>
                    <a:pt x="766" y="359"/>
                  </a:lnTo>
                  <a:lnTo>
                    <a:pt x="762" y="359"/>
                  </a:lnTo>
                  <a:lnTo>
                    <a:pt x="762" y="363"/>
                  </a:lnTo>
                  <a:lnTo>
                    <a:pt x="766" y="363"/>
                  </a:lnTo>
                  <a:lnTo>
                    <a:pt x="766" y="359"/>
                  </a:lnTo>
                  <a:lnTo>
                    <a:pt x="770" y="359"/>
                  </a:lnTo>
                  <a:lnTo>
                    <a:pt x="774" y="359"/>
                  </a:lnTo>
                  <a:lnTo>
                    <a:pt x="770" y="359"/>
                  </a:lnTo>
                  <a:lnTo>
                    <a:pt x="770" y="363"/>
                  </a:lnTo>
                  <a:lnTo>
                    <a:pt x="766" y="363"/>
                  </a:lnTo>
                  <a:lnTo>
                    <a:pt x="762" y="367"/>
                  </a:lnTo>
                  <a:lnTo>
                    <a:pt x="766" y="367"/>
                  </a:lnTo>
                  <a:lnTo>
                    <a:pt x="766" y="371"/>
                  </a:lnTo>
                  <a:lnTo>
                    <a:pt x="766" y="367"/>
                  </a:lnTo>
                  <a:lnTo>
                    <a:pt x="770" y="367"/>
                  </a:lnTo>
                  <a:lnTo>
                    <a:pt x="774" y="367"/>
                  </a:lnTo>
                  <a:lnTo>
                    <a:pt x="778" y="367"/>
                  </a:lnTo>
                  <a:lnTo>
                    <a:pt x="774" y="367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8" y="375"/>
                  </a:lnTo>
                  <a:lnTo>
                    <a:pt x="774" y="375"/>
                  </a:lnTo>
                  <a:lnTo>
                    <a:pt x="774" y="379"/>
                  </a:lnTo>
                  <a:lnTo>
                    <a:pt x="770" y="379"/>
                  </a:lnTo>
                  <a:lnTo>
                    <a:pt x="766" y="379"/>
                  </a:lnTo>
                  <a:lnTo>
                    <a:pt x="770" y="379"/>
                  </a:lnTo>
                  <a:lnTo>
                    <a:pt x="774" y="379"/>
                  </a:lnTo>
                  <a:lnTo>
                    <a:pt x="778" y="379"/>
                  </a:lnTo>
                  <a:lnTo>
                    <a:pt x="778" y="383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8" y="383"/>
                  </a:lnTo>
                  <a:lnTo>
                    <a:pt x="778" y="387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4" y="391"/>
                  </a:lnTo>
                  <a:lnTo>
                    <a:pt x="778" y="391"/>
                  </a:lnTo>
                  <a:lnTo>
                    <a:pt x="782" y="391"/>
                  </a:lnTo>
                  <a:lnTo>
                    <a:pt x="778" y="395"/>
                  </a:lnTo>
                  <a:lnTo>
                    <a:pt x="774" y="395"/>
                  </a:lnTo>
                  <a:lnTo>
                    <a:pt x="770" y="395"/>
                  </a:lnTo>
                  <a:lnTo>
                    <a:pt x="766" y="395"/>
                  </a:lnTo>
                  <a:lnTo>
                    <a:pt x="766" y="391"/>
                  </a:lnTo>
                  <a:lnTo>
                    <a:pt x="766" y="387"/>
                  </a:lnTo>
                  <a:lnTo>
                    <a:pt x="766" y="383"/>
                  </a:lnTo>
                  <a:lnTo>
                    <a:pt x="762" y="383"/>
                  </a:lnTo>
                  <a:lnTo>
                    <a:pt x="762" y="387"/>
                  </a:lnTo>
                  <a:lnTo>
                    <a:pt x="762" y="391"/>
                  </a:lnTo>
                  <a:lnTo>
                    <a:pt x="762" y="395"/>
                  </a:lnTo>
                  <a:lnTo>
                    <a:pt x="758" y="395"/>
                  </a:lnTo>
                  <a:lnTo>
                    <a:pt x="754" y="395"/>
                  </a:lnTo>
                  <a:lnTo>
                    <a:pt x="750" y="395"/>
                  </a:lnTo>
                  <a:lnTo>
                    <a:pt x="746" y="391"/>
                  </a:lnTo>
                  <a:lnTo>
                    <a:pt x="742" y="391"/>
                  </a:lnTo>
                  <a:lnTo>
                    <a:pt x="742" y="387"/>
                  </a:lnTo>
                  <a:lnTo>
                    <a:pt x="738" y="387"/>
                  </a:lnTo>
                  <a:lnTo>
                    <a:pt x="738" y="383"/>
                  </a:lnTo>
                  <a:lnTo>
                    <a:pt x="738" y="379"/>
                  </a:lnTo>
                  <a:lnTo>
                    <a:pt x="738" y="375"/>
                  </a:lnTo>
                  <a:lnTo>
                    <a:pt x="734" y="375"/>
                  </a:lnTo>
                  <a:lnTo>
                    <a:pt x="730" y="371"/>
                  </a:lnTo>
                  <a:lnTo>
                    <a:pt x="726" y="371"/>
                  </a:lnTo>
                  <a:lnTo>
                    <a:pt x="722" y="371"/>
                  </a:lnTo>
                  <a:lnTo>
                    <a:pt x="722" y="367"/>
                  </a:lnTo>
                  <a:lnTo>
                    <a:pt x="718" y="367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06" y="363"/>
                  </a:lnTo>
                  <a:lnTo>
                    <a:pt x="702" y="363"/>
                  </a:lnTo>
                  <a:lnTo>
                    <a:pt x="698" y="363"/>
                  </a:lnTo>
                  <a:lnTo>
                    <a:pt x="694" y="359"/>
                  </a:lnTo>
                  <a:lnTo>
                    <a:pt x="690" y="359"/>
                  </a:lnTo>
                  <a:lnTo>
                    <a:pt x="690" y="355"/>
                  </a:lnTo>
                  <a:lnTo>
                    <a:pt x="686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4" y="347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4" y="351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82" y="355"/>
                  </a:lnTo>
                  <a:lnTo>
                    <a:pt x="686" y="359"/>
                  </a:lnTo>
                  <a:lnTo>
                    <a:pt x="690" y="359"/>
                  </a:lnTo>
                  <a:lnTo>
                    <a:pt x="690" y="363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82" y="363"/>
                  </a:lnTo>
                  <a:lnTo>
                    <a:pt x="686" y="363"/>
                  </a:lnTo>
                  <a:lnTo>
                    <a:pt x="690" y="363"/>
                  </a:lnTo>
                  <a:lnTo>
                    <a:pt x="694" y="363"/>
                  </a:lnTo>
                  <a:lnTo>
                    <a:pt x="690" y="363"/>
                  </a:lnTo>
                  <a:lnTo>
                    <a:pt x="690" y="367"/>
                  </a:lnTo>
                  <a:lnTo>
                    <a:pt x="694" y="367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67"/>
                  </a:lnTo>
                  <a:lnTo>
                    <a:pt x="706" y="367"/>
                  </a:lnTo>
                  <a:lnTo>
                    <a:pt x="710" y="367"/>
                  </a:lnTo>
                  <a:lnTo>
                    <a:pt x="714" y="367"/>
                  </a:lnTo>
                  <a:lnTo>
                    <a:pt x="718" y="367"/>
                  </a:lnTo>
                  <a:lnTo>
                    <a:pt x="722" y="371"/>
                  </a:lnTo>
                  <a:lnTo>
                    <a:pt x="718" y="375"/>
                  </a:lnTo>
                  <a:lnTo>
                    <a:pt x="718" y="371"/>
                  </a:lnTo>
                  <a:lnTo>
                    <a:pt x="714" y="371"/>
                  </a:lnTo>
                  <a:lnTo>
                    <a:pt x="718" y="375"/>
                  </a:lnTo>
                  <a:lnTo>
                    <a:pt x="710" y="379"/>
                  </a:lnTo>
                  <a:lnTo>
                    <a:pt x="706" y="379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86" y="379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86" y="379"/>
                  </a:lnTo>
                  <a:lnTo>
                    <a:pt x="686" y="383"/>
                  </a:lnTo>
                  <a:lnTo>
                    <a:pt x="686" y="379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78" y="383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0" y="391"/>
                  </a:lnTo>
                  <a:lnTo>
                    <a:pt x="666" y="395"/>
                  </a:lnTo>
                  <a:lnTo>
                    <a:pt x="662" y="395"/>
                  </a:lnTo>
                  <a:lnTo>
                    <a:pt x="666" y="395"/>
                  </a:lnTo>
                  <a:lnTo>
                    <a:pt x="670" y="395"/>
                  </a:lnTo>
                  <a:lnTo>
                    <a:pt x="674" y="395"/>
                  </a:lnTo>
                  <a:lnTo>
                    <a:pt x="678" y="391"/>
                  </a:lnTo>
                  <a:lnTo>
                    <a:pt x="678" y="395"/>
                  </a:lnTo>
                  <a:lnTo>
                    <a:pt x="674" y="395"/>
                  </a:lnTo>
                  <a:lnTo>
                    <a:pt x="678" y="395"/>
                  </a:lnTo>
                  <a:lnTo>
                    <a:pt x="682" y="395"/>
                  </a:lnTo>
                  <a:lnTo>
                    <a:pt x="686" y="395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6" y="399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90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407"/>
                  </a:lnTo>
                  <a:lnTo>
                    <a:pt x="678" y="403"/>
                  </a:lnTo>
                  <a:lnTo>
                    <a:pt x="678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90" y="407"/>
                  </a:lnTo>
                  <a:lnTo>
                    <a:pt x="694" y="403"/>
                  </a:lnTo>
                  <a:lnTo>
                    <a:pt x="698" y="399"/>
                  </a:lnTo>
                  <a:lnTo>
                    <a:pt x="702" y="399"/>
                  </a:lnTo>
                  <a:lnTo>
                    <a:pt x="702" y="403"/>
                  </a:lnTo>
                  <a:lnTo>
                    <a:pt x="706" y="403"/>
                  </a:lnTo>
                  <a:lnTo>
                    <a:pt x="710" y="399"/>
                  </a:lnTo>
                  <a:lnTo>
                    <a:pt x="714" y="399"/>
                  </a:lnTo>
                  <a:lnTo>
                    <a:pt x="718" y="399"/>
                  </a:lnTo>
                  <a:lnTo>
                    <a:pt x="722" y="395"/>
                  </a:lnTo>
                  <a:lnTo>
                    <a:pt x="722" y="399"/>
                  </a:lnTo>
                  <a:lnTo>
                    <a:pt x="726" y="399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70" y="403"/>
                  </a:lnTo>
                  <a:lnTo>
                    <a:pt x="770" y="407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62" y="411"/>
                  </a:lnTo>
                  <a:lnTo>
                    <a:pt x="758" y="411"/>
                  </a:lnTo>
                  <a:lnTo>
                    <a:pt x="758" y="407"/>
                  </a:lnTo>
                  <a:lnTo>
                    <a:pt x="754" y="407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54" y="415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4" y="415"/>
                  </a:lnTo>
                  <a:lnTo>
                    <a:pt x="750" y="415"/>
                  </a:lnTo>
                  <a:lnTo>
                    <a:pt x="746" y="415"/>
                  </a:lnTo>
                  <a:lnTo>
                    <a:pt x="742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46" y="419"/>
                  </a:lnTo>
                  <a:lnTo>
                    <a:pt x="742" y="419"/>
                  </a:lnTo>
                  <a:lnTo>
                    <a:pt x="738" y="419"/>
                  </a:lnTo>
                  <a:lnTo>
                    <a:pt x="742" y="419"/>
                  </a:lnTo>
                  <a:lnTo>
                    <a:pt x="738" y="423"/>
                  </a:lnTo>
                  <a:lnTo>
                    <a:pt x="734" y="423"/>
                  </a:lnTo>
                  <a:lnTo>
                    <a:pt x="730" y="423"/>
                  </a:lnTo>
                  <a:lnTo>
                    <a:pt x="734" y="427"/>
                  </a:lnTo>
                  <a:lnTo>
                    <a:pt x="730" y="427"/>
                  </a:lnTo>
                  <a:lnTo>
                    <a:pt x="726" y="427"/>
                  </a:lnTo>
                  <a:lnTo>
                    <a:pt x="722" y="427"/>
                  </a:lnTo>
                  <a:lnTo>
                    <a:pt x="726" y="427"/>
                  </a:lnTo>
                  <a:lnTo>
                    <a:pt x="726" y="431"/>
                  </a:lnTo>
                  <a:lnTo>
                    <a:pt x="722" y="431"/>
                  </a:lnTo>
                  <a:lnTo>
                    <a:pt x="722" y="435"/>
                  </a:lnTo>
                  <a:lnTo>
                    <a:pt x="718" y="431"/>
                  </a:lnTo>
                  <a:lnTo>
                    <a:pt x="718" y="435"/>
                  </a:lnTo>
                  <a:lnTo>
                    <a:pt x="714" y="435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4" y="439"/>
                  </a:lnTo>
                  <a:lnTo>
                    <a:pt x="710" y="439"/>
                  </a:lnTo>
                  <a:lnTo>
                    <a:pt x="706" y="443"/>
                  </a:lnTo>
                  <a:lnTo>
                    <a:pt x="702" y="443"/>
                  </a:lnTo>
                  <a:lnTo>
                    <a:pt x="698" y="443"/>
                  </a:lnTo>
                  <a:lnTo>
                    <a:pt x="694" y="447"/>
                  </a:lnTo>
                  <a:lnTo>
                    <a:pt x="694" y="443"/>
                  </a:lnTo>
                  <a:lnTo>
                    <a:pt x="690" y="443"/>
                  </a:lnTo>
                  <a:lnTo>
                    <a:pt x="690" y="447"/>
                  </a:lnTo>
                  <a:lnTo>
                    <a:pt x="694" y="447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82" y="447"/>
                  </a:lnTo>
                  <a:lnTo>
                    <a:pt x="678" y="451"/>
                  </a:lnTo>
                  <a:lnTo>
                    <a:pt x="674" y="447"/>
                  </a:lnTo>
                  <a:lnTo>
                    <a:pt x="670" y="451"/>
                  </a:lnTo>
                  <a:lnTo>
                    <a:pt x="666" y="451"/>
                  </a:lnTo>
                  <a:lnTo>
                    <a:pt x="662" y="451"/>
                  </a:lnTo>
                  <a:lnTo>
                    <a:pt x="666" y="451"/>
                  </a:lnTo>
                  <a:lnTo>
                    <a:pt x="666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55"/>
                  </a:lnTo>
                  <a:lnTo>
                    <a:pt x="658" y="455"/>
                  </a:lnTo>
                  <a:lnTo>
                    <a:pt x="654" y="451"/>
                  </a:lnTo>
                  <a:lnTo>
                    <a:pt x="650" y="451"/>
                  </a:lnTo>
                  <a:lnTo>
                    <a:pt x="646" y="455"/>
                  </a:lnTo>
                  <a:lnTo>
                    <a:pt x="650" y="455"/>
                  </a:lnTo>
                  <a:lnTo>
                    <a:pt x="650" y="459"/>
                  </a:lnTo>
                  <a:lnTo>
                    <a:pt x="646" y="459"/>
                  </a:lnTo>
                  <a:lnTo>
                    <a:pt x="646" y="455"/>
                  </a:lnTo>
                  <a:lnTo>
                    <a:pt x="642" y="455"/>
                  </a:lnTo>
                  <a:lnTo>
                    <a:pt x="638" y="455"/>
                  </a:lnTo>
                  <a:lnTo>
                    <a:pt x="642" y="455"/>
                  </a:lnTo>
                  <a:lnTo>
                    <a:pt x="646" y="459"/>
                  </a:lnTo>
                  <a:lnTo>
                    <a:pt x="642" y="459"/>
                  </a:lnTo>
                  <a:lnTo>
                    <a:pt x="638" y="459"/>
                  </a:lnTo>
                  <a:lnTo>
                    <a:pt x="634" y="459"/>
                  </a:lnTo>
                  <a:lnTo>
                    <a:pt x="630" y="459"/>
                  </a:lnTo>
                  <a:lnTo>
                    <a:pt x="630" y="455"/>
                  </a:lnTo>
                  <a:lnTo>
                    <a:pt x="626" y="459"/>
                  </a:lnTo>
                  <a:lnTo>
                    <a:pt x="630" y="459"/>
                  </a:lnTo>
                  <a:lnTo>
                    <a:pt x="626" y="459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18" y="455"/>
                  </a:lnTo>
                  <a:lnTo>
                    <a:pt x="618" y="451"/>
                  </a:lnTo>
                  <a:lnTo>
                    <a:pt x="614" y="451"/>
                  </a:lnTo>
                  <a:lnTo>
                    <a:pt x="614" y="447"/>
                  </a:lnTo>
                  <a:lnTo>
                    <a:pt x="614" y="443"/>
                  </a:lnTo>
                  <a:lnTo>
                    <a:pt x="614" y="447"/>
                  </a:lnTo>
                  <a:lnTo>
                    <a:pt x="610" y="447"/>
                  </a:lnTo>
                  <a:lnTo>
                    <a:pt x="614" y="447"/>
                  </a:lnTo>
                  <a:lnTo>
                    <a:pt x="614" y="451"/>
                  </a:lnTo>
                  <a:lnTo>
                    <a:pt x="618" y="451"/>
                  </a:lnTo>
                  <a:lnTo>
                    <a:pt x="618" y="455"/>
                  </a:lnTo>
                  <a:lnTo>
                    <a:pt x="614" y="455"/>
                  </a:lnTo>
                  <a:lnTo>
                    <a:pt x="618" y="455"/>
                  </a:lnTo>
                  <a:lnTo>
                    <a:pt x="622" y="459"/>
                  </a:lnTo>
                  <a:lnTo>
                    <a:pt x="618" y="459"/>
                  </a:lnTo>
                  <a:lnTo>
                    <a:pt x="618" y="463"/>
                  </a:lnTo>
                  <a:lnTo>
                    <a:pt x="614" y="463"/>
                  </a:lnTo>
                  <a:lnTo>
                    <a:pt x="610" y="463"/>
                  </a:lnTo>
                  <a:lnTo>
                    <a:pt x="614" y="463"/>
                  </a:lnTo>
                  <a:lnTo>
                    <a:pt x="614" y="467"/>
                  </a:lnTo>
                  <a:lnTo>
                    <a:pt x="610" y="467"/>
                  </a:lnTo>
                  <a:lnTo>
                    <a:pt x="606" y="467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67"/>
                  </a:lnTo>
                  <a:lnTo>
                    <a:pt x="602" y="471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75"/>
                  </a:lnTo>
                  <a:lnTo>
                    <a:pt x="602" y="479"/>
                  </a:lnTo>
                  <a:lnTo>
                    <a:pt x="598" y="479"/>
                  </a:lnTo>
                  <a:lnTo>
                    <a:pt x="598" y="483"/>
                  </a:lnTo>
                  <a:lnTo>
                    <a:pt x="594" y="483"/>
                  </a:lnTo>
                  <a:lnTo>
                    <a:pt x="594" y="487"/>
                  </a:lnTo>
                  <a:lnTo>
                    <a:pt x="590" y="487"/>
                  </a:lnTo>
                  <a:lnTo>
                    <a:pt x="590" y="491"/>
                  </a:lnTo>
                  <a:lnTo>
                    <a:pt x="590" y="495"/>
                  </a:lnTo>
                  <a:lnTo>
                    <a:pt x="586" y="499"/>
                  </a:lnTo>
                  <a:lnTo>
                    <a:pt x="586" y="495"/>
                  </a:lnTo>
                  <a:lnTo>
                    <a:pt x="586" y="499"/>
                  </a:lnTo>
                  <a:lnTo>
                    <a:pt x="582" y="499"/>
                  </a:lnTo>
                  <a:lnTo>
                    <a:pt x="582" y="495"/>
                  </a:lnTo>
                  <a:lnTo>
                    <a:pt x="586" y="495"/>
                  </a:lnTo>
                  <a:lnTo>
                    <a:pt x="582" y="495"/>
                  </a:lnTo>
                  <a:lnTo>
                    <a:pt x="582" y="499"/>
                  </a:lnTo>
                  <a:lnTo>
                    <a:pt x="582" y="503"/>
                  </a:lnTo>
                  <a:lnTo>
                    <a:pt x="578" y="503"/>
                  </a:lnTo>
                  <a:lnTo>
                    <a:pt x="578" y="507"/>
                  </a:lnTo>
                  <a:lnTo>
                    <a:pt x="574" y="507"/>
                  </a:lnTo>
                  <a:lnTo>
                    <a:pt x="574" y="503"/>
                  </a:lnTo>
                  <a:lnTo>
                    <a:pt x="570" y="503"/>
                  </a:lnTo>
                  <a:lnTo>
                    <a:pt x="570" y="507"/>
                  </a:lnTo>
                  <a:lnTo>
                    <a:pt x="574" y="507"/>
                  </a:lnTo>
                  <a:lnTo>
                    <a:pt x="570" y="507"/>
                  </a:lnTo>
                  <a:lnTo>
                    <a:pt x="566" y="507"/>
                  </a:lnTo>
                  <a:lnTo>
                    <a:pt x="562" y="503"/>
                  </a:lnTo>
                  <a:lnTo>
                    <a:pt x="566" y="507"/>
                  </a:lnTo>
                  <a:lnTo>
                    <a:pt x="566" y="511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58" y="515"/>
                  </a:lnTo>
                  <a:lnTo>
                    <a:pt x="554" y="515"/>
                  </a:lnTo>
                  <a:lnTo>
                    <a:pt x="554" y="511"/>
                  </a:lnTo>
                  <a:lnTo>
                    <a:pt x="550" y="511"/>
                  </a:lnTo>
                  <a:lnTo>
                    <a:pt x="554" y="511"/>
                  </a:lnTo>
                  <a:lnTo>
                    <a:pt x="550" y="515"/>
                  </a:lnTo>
                  <a:lnTo>
                    <a:pt x="546" y="515"/>
                  </a:lnTo>
                  <a:lnTo>
                    <a:pt x="546" y="519"/>
                  </a:lnTo>
                  <a:lnTo>
                    <a:pt x="542" y="519"/>
                  </a:lnTo>
                  <a:lnTo>
                    <a:pt x="542" y="515"/>
                  </a:lnTo>
                  <a:lnTo>
                    <a:pt x="542" y="511"/>
                  </a:lnTo>
                  <a:lnTo>
                    <a:pt x="542" y="515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15"/>
                  </a:lnTo>
                  <a:lnTo>
                    <a:pt x="534" y="515"/>
                  </a:lnTo>
                  <a:lnTo>
                    <a:pt x="534" y="511"/>
                  </a:lnTo>
                  <a:lnTo>
                    <a:pt x="538" y="507"/>
                  </a:lnTo>
                  <a:lnTo>
                    <a:pt x="542" y="507"/>
                  </a:lnTo>
                  <a:lnTo>
                    <a:pt x="542" y="503"/>
                  </a:lnTo>
                  <a:lnTo>
                    <a:pt x="538" y="503"/>
                  </a:lnTo>
                  <a:lnTo>
                    <a:pt x="538" y="507"/>
                  </a:lnTo>
                  <a:lnTo>
                    <a:pt x="534" y="507"/>
                  </a:lnTo>
                  <a:lnTo>
                    <a:pt x="534" y="503"/>
                  </a:lnTo>
                  <a:lnTo>
                    <a:pt x="530" y="503"/>
                  </a:lnTo>
                  <a:lnTo>
                    <a:pt x="526" y="503"/>
                  </a:lnTo>
                  <a:lnTo>
                    <a:pt x="530" y="503"/>
                  </a:lnTo>
                  <a:lnTo>
                    <a:pt x="530" y="507"/>
                  </a:lnTo>
                  <a:lnTo>
                    <a:pt x="534" y="507"/>
                  </a:lnTo>
                  <a:lnTo>
                    <a:pt x="530" y="507"/>
                  </a:lnTo>
                  <a:lnTo>
                    <a:pt x="530" y="511"/>
                  </a:lnTo>
                  <a:lnTo>
                    <a:pt x="530" y="515"/>
                  </a:lnTo>
                  <a:lnTo>
                    <a:pt x="526" y="515"/>
                  </a:lnTo>
                  <a:lnTo>
                    <a:pt x="522" y="515"/>
                  </a:lnTo>
                  <a:lnTo>
                    <a:pt x="522" y="511"/>
                  </a:lnTo>
                  <a:lnTo>
                    <a:pt x="522" y="515"/>
                  </a:lnTo>
                  <a:lnTo>
                    <a:pt x="526" y="519"/>
                  </a:lnTo>
                  <a:lnTo>
                    <a:pt x="526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14" y="523"/>
                  </a:lnTo>
                  <a:lnTo>
                    <a:pt x="510" y="523"/>
                  </a:lnTo>
                  <a:lnTo>
                    <a:pt x="510" y="519"/>
                  </a:lnTo>
                  <a:lnTo>
                    <a:pt x="510" y="523"/>
                  </a:lnTo>
                  <a:lnTo>
                    <a:pt x="510" y="527"/>
                  </a:lnTo>
                  <a:lnTo>
                    <a:pt x="506" y="527"/>
                  </a:lnTo>
                  <a:lnTo>
                    <a:pt x="506" y="523"/>
                  </a:lnTo>
                  <a:lnTo>
                    <a:pt x="502" y="523"/>
                  </a:lnTo>
                  <a:lnTo>
                    <a:pt x="502" y="527"/>
                  </a:lnTo>
                  <a:lnTo>
                    <a:pt x="498" y="527"/>
                  </a:lnTo>
                  <a:lnTo>
                    <a:pt x="498" y="523"/>
                  </a:lnTo>
                  <a:lnTo>
                    <a:pt x="494" y="527"/>
                  </a:lnTo>
                  <a:lnTo>
                    <a:pt x="498" y="527"/>
                  </a:lnTo>
                  <a:lnTo>
                    <a:pt x="502" y="527"/>
                  </a:lnTo>
                  <a:lnTo>
                    <a:pt x="502" y="531"/>
                  </a:lnTo>
                  <a:lnTo>
                    <a:pt x="502" y="527"/>
                  </a:lnTo>
                  <a:lnTo>
                    <a:pt x="498" y="531"/>
                  </a:lnTo>
                  <a:lnTo>
                    <a:pt x="502" y="531"/>
                  </a:lnTo>
                  <a:lnTo>
                    <a:pt x="502" y="535"/>
                  </a:lnTo>
                  <a:lnTo>
                    <a:pt x="498" y="535"/>
                  </a:lnTo>
                  <a:lnTo>
                    <a:pt x="498" y="539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90" y="539"/>
                  </a:lnTo>
                  <a:lnTo>
                    <a:pt x="482" y="539"/>
                  </a:lnTo>
                  <a:lnTo>
                    <a:pt x="482" y="543"/>
                  </a:lnTo>
                  <a:lnTo>
                    <a:pt x="486" y="543"/>
                  </a:lnTo>
                  <a:lnTo>
                    <a:pt x="486" y="547"/>
                  </a:lnTo>
                  <a:lnTo>
                    <a:pt x="490" y="547"/>
                  </a:lnTo>
                  <a:lnTo>
                    <a:pt x="490" y="551"/>
                  </a:lnTo>
                  <a:lnTo>
                    <a:pt x="490" y="555"/>
                  </a:lnTo>
                  <a:lnTo>
                    <a:pt x="494" y="555"/>
                  </a:lnTo>
                  <a:lnTo>
                    <a:pt x="490" y="555"/>
                  </a:lnTo>
                  <a:lnTo>
                    <a:pt x="486" y="555"/>
                  </a:lnTo>
                  <a:lnTo>
                    <a:pt x="482" y="559"/>
                  </a:lnTo>
                  <a:lnTo>
                    <a:pt x="478" y="555"/>
                  </a:lnTo>
                  <a:lnTo>
                    <a:pt x="474" y="555"/>
                  </a:lnTo>
                  <a:lnTo>
                    <a:pt x="474" y="559"/>
                  </a:lnTo>
                  <a:lnTo>
                    <a:pt x="478" y="559"/>
                  </a:lnTo>
                  <a:lnTo>
                    <a:pt x="482" y="563"/>
                  </a:lnTo>
                  <a:lnTo>
                    <a:pt x="486" y="563"/>
                  </a:lnTo>
                  <a:lnTo>
                    <a:pt x="486" y="559"/>
                  </a:lnTo>
                  <a:lnTo>
                    <a:pt x="490" y="563"/>
                  </a:lnTo>
                  <a:lnTo>
                    <a:pt x="486" y="567"/>
                  </a:lnTo>
                  <a:lnTo>
                    <a:pt x="490" y="567"/>
                  </a:lnTo>
                  <a:lnTo>
                    <a:pt x="490" y="571"/>
                  </a:lnTo>
                  <a:lnTo>
                    <a:pt x="490" y="575"/>
                  </a:lnTo>
                  <a:lnTo>
                    <a:pt x="486" y="575"/>
                  </a:lnTo>
                  <a:lnTo>
                    <a:pt x="486" y="571"/>
                  </a:lnTo>
                  <a:lnTo>
                    <a:pt x="482" y="571"/>
                  </a:lnTo>
                  <a:lnTo>
                    <a:pt x="478" y="571"/>
                  </a:lnTo>
                  <a:lnTo>
                    <a:pt x="474" y="571"/>
                  </a:lnTo>
                  <a:lnTo>
                    <a:pt x="478" y="571"/>
                  </a:lnTo>
                  <a:lnTo>
                    <a:pt x="482" y="571"/>
                  </a:lnTo>
                  <a:lnTo>
                    <a:pt x="482" y="575"/>
                  </a:lnTo>
                  <a:lnTo>
                    <a:pt x="486" y="575"/>
                  </a:lnTo>
                  <a:lnTo>
                    <a:pt x="486" y="579"/>
                  </a:lnTo>
                  <a:lnTo>
                    <a:pt x="486" y="575"/>
                  </a:lnTo>
                  <a:lnTo>
                    <a:pt x="482" y="575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8" y="575"/>
                  </a:lnTo>
                  <a:lnTo>
                    <a:pt x="478" y="579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82" y="583"/>
                  </a:lnTo>
                  <a:lnTo>
                    <a:pt x="478" y="583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83"/>
                  </a:lnTo>
                  <a:lnTo>
                    <a:pt x="478" y="583"/>
                  </a:lnTo>
                  <a:lnTo>
                    <a:pt x="478" y="587"/>
                  </a:lnTo>
                  <a:lnTo>
                    <a:pt x="474" y="587"/>
                  </a:lnTo>
                  <a:lnTo>
                    <a:pt x="471" y="587"/>
                  </a:lnTo>
                  <a:lnTo>
                    <a:pt x="471" y="583"/>
                  </a:lnTo>
                  <a:lnTo>
                    <a:pt x="471" y="587"/>
                  </a:lnTo>
                  <a:lnTo>
                    <a:pt x="474" y="587"/>
                  </a:lnTo>
                  <a:lnTo>
                    <a:pt x="474" y="591"/>
                  </a:lnTo>
                  <a:lnTo>
                    <a:pt x="471" y="591"/>
                  </a:lnTo>
                  <a:lnTo>
                    <a:pt x="471" y="587"/>
                  </a:lnTo>
                  <a:lnTo>
                    <a:pt x="467" y="587"/>
                  </a:lnTo>
                  <a:lnTo>
                    <a:pt x="471" y="591"/>
                  </a:lnTo>
                  <a:lnTo>
                    <a:pt x="474" y="591"/>
                  </a:lnTo>
                  <a:lnTo>
                    <a:pt x="474" y="595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3" y="595"/>
                  </a:lnTo>
                  <a:lnTo>
                    <a:pt x="463" y="591"/>
                  </a:lnTo>
                  <a:lnTo>
                    <a:pt x="467" y="591"/>
                  </a:lnTo>
                  <a:lnTo>
                    <a:pt x="463" y="591"/>
                  </a:lnTo>
                  <a:lnTo>
                    <a:pt x="463" y="595"/>
                  </a:lnTo>
                  <a:lnTo>
                    <a:pt x="463" y="599"/>
                  </a:lnTo>
                  <a:lnTo>
                    <a:pt x="459" y="595"/>
                  </a:lnTo>
                  <a:lnTo>
                    <a:pt x="459" y="599"/>
                  </a:lnTo>
                  <a:lnTo>
                    <a:pt x="455" y="599"/>
                  </a:lnTo>
                  <a:lnTo>
                    <a:pt x="451" y="595"/>
                  </a:lnTo>
                  <a:lnTo>
                    <a:pt x="451" y="599"/>
                  </a:lnTo>
                  <a:lnTo>
                    <a:pt x="455" y="599"/>
                  </a:lnTo>
                  <a:lnTo>
                    <a:pt x="459" y="599"/>
                  </a:lnTo>
                  <a:lnTo>
                    <a:pt x="463" y="603"/>
                  </a:lnTo>
                  <a:lnTo>
                    <a:pt x="467" y="603"/>
                  </a:lnTo>
                  <a:lnTo>
                    <a:pt x="467" y="607"/>
                  </a:lnTo>
                  <a:lnTo>
                    <a:pt x="463" y="607"/>
                  </a:lnTo>
                  <a:lnTo>
                    <a:pt x="463" y="603"/>
                  </a:lnTo>
                  <a:lnTo>
                    <a:pt x="459" y="603"/>
                  </a:lnTo>
                  <a:lnTo>
                    <a:pt x="455" y="603"/>
                  </a:lnTo>
                  <a:lnTo>
                    <a:pt x="459" y="603"/>
                  </a:lnTo>
                  <a:lnTo>
                    <a:pt x="459" y="607"/>
                  </a:lnTo>
                  <a:lnTo>
                    <a:pt x="463" y="607"/>
                  </a:lnTo>
                  <a:lnTo>
                    <a:pt x="467" y="611"/>
                  </a:lnTo>
                  <a:lnTo>
                    <a:pt x="463" y="611"/>
                  </a:lnTo>
                  <a:lnTo>
                    <a:pt x="463" y="615"/>
                  </a:lnTo>
                  <a:lnTo>
                    <a:pt x="467" y="615"/>
                  </a:lnTo>
                  <a:lnTo>
                    <a:pt x="467" y="619"/>
                  </a:lnTo>
                  <a:lnTo>
                    <a:pt x="463" y="619"/>
                  </a:lnTo>
                  <a:lnTo>
                    <a:pt x="467" y="619"/>
                  </a:lnTo>
                  <a:lnTo>
                    <a:pt x="463" y="622"/>
                  </a:lnTo>
                  <a:lnTo>
                    <a:pt x="459" y="622"/>
                  </a:lnTo>
                  <a:lnTo>
                    <a:pt x="459" y="619"/>
                  </a:lnTo>
                  <a:lnTo>
                    <a:pt x="455" y="619"/>
                  </a:lnTo>
                  <a:lnTo>
                    <a:pt x="455" y="622"/>
                  </a:lnTo>
                  <a:lnTo>
                    <a:pt x="459" y="619"/>
                  </a:lnTo>
                  <a:lnTo>
                    <a:pt x="459" y="622"/>
                  </a:lnTo>
                  <a:lnTo>
                    <a:pt x="463" y="622"/>
                  </a:lnTo>
                  <a:lnTo>
                    <a:pt x="463" y="626"/>
                  </a:lnTo>
                  <a:lnTo>
                    <a:pt x="459" y="626"/>
                  </a:lnTo>
                  <a:lnTo>
                    <a:pt x="455" y="626"/>
                  </a:lnTo>
                  <a:lnTo>
                    <a:pt x="459" y="626"/>
                  </a:lnTo>
                  <a:lnTo>
                    <a:pt x="463" y="626"/>
                  </a:lnTo>
                  <a:lnTo>
                    <a:pt x="463" y="630"/>
                  </a:lnTo>
                  <a:lnTo>
                    <a:pt x="459" y="630"/>
                  </a:lnTo>
                  <a:lnTo>
                    <a:pt x="459" y="634"/>
                  </a:lnTo>
                  <a:lnTo>
                    <a:pt x="459" y="630"/>
                  </a:lnTo>
                  <a:lnTo>
                    <a:pt x="455" y="630"/>
                  </a:lnTo>
                  <a:lnTo>
                    <a:pt x="451" y="630"/>
                  </a:lnTo>
                  <a:lnTo>
                    <a:pt x="455" y="630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1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9" y="638"/>
                  </a:lnTo>
                  <a:lnTo>
                    <a:pt x="455" y="638"/>
                  </a:lnTo>
                  <a:lnTo>
                    <a:pt x="451" y="638"/>
                  </a:lnTo>
                  <a:lnTo>
                    <a:pt x="447" y="634"/>
                  </a:lnTo>
                  <a:lnTo>
                    <a:pt x="447" y="638"/>
                  </a:lnTo>
                  <a:lnTo>
                    <a:pt x="451" y="638"/>
                  </a:lnTo>
                  <a:lnTo>
                    <a:pt x="455" y="638"/>
                  </a:lnTo>
                  <a:lnTo>
                    <a:pt x="459" y="638"/>
                  </a:lnTo>
                  <a:lnTo>
                    <a:pt x="459" y="642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2"/>
                  </a:lnTo>
                  <a:lnTo>
                    <a:pt x="455" y="642"/>
                  </a:lnTo>
                  <a:lnTo>
                    <a:pt x="459" y="642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5" y="650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50"/>
                  </a:lnTo>
                  <a:lnTo>
                    <a:pt x="451" y="650"/>
                  </a:lnTo>
                  <a:lnTo>
                    <a:pt x="451" y="654"/>
                  </a:lnTo>
                  <a:lnTo>
                    <a:pt x="447" y="650"/>
                  </a:lnTo>
                  <a:lnTo>
                    <a:pt x="443" y="650"/>
                  </a:lnTo>
                  <a:lnTo>
                    <a:pt x="443" y="646"/>
                  </a:lnTo>
                  <a:lnTo>
                    <a:pt x="443" y="650"/>
                  </a:lnTo>
                  <a:lnTo>
                    <a:pt x="439" y="650"/>
                  </a:lnTo>
                  <a:lnTo>
                    <a:pt x="435" y="650"/>
                  </a:lnTo>
                  <a:lnTo>
                    <a:pt x="439" y="650"/>
                  </a:lnTo>
                  <a:lnTo>
                    <a:pt x="447" y="650"/>
                  </a:lnTo>
                  <a:lnTo>
                    <a:pt x="451" y="654"/>
                  </a:lnTo>
                  <a:lnTo>
                    <a:pt x="447" y="654"/>
                  </a:lnTo>
                  <a:lnTo>
                    <a:pt x="447" y="658"/>
                  </a:lnTo>
                  <a:lnTo>
                    <a:pt x="447" y="654"/>
                  </a:lnTo>
                  <a:lnTo>
                    <a:pt x="451" y="654"/>
                  </a:lnTo>
                  <a:lnTo>
                    <a:pt x="451" y="658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3" y="662"/>
                  </a:lnTo>
                  <a:lnTo>
                    <a:pt x="443" y="658"/>
                  </a:lnTo>
                  <a:lnTo>
                    <a:pt x="439" y="658"/>
                  </a:lnTo>
                  <a:lnTo>
                    <a:pt x="439" y="654"/>
                  </a:lnTo>
                  <a:lnTo>
                    <a:pt x="439" y="658"/>
                  </a:lnTo>
                  <a:lnTo>
                    <a:pt x="435" y="658"/>
                  </a:lnTo>
                  <a:lnTo>
                    <a:pt x="435" y="662"/>
                  </a:lnTo>
                  <a:lnTo>
                    <a:pt x="431" y="658"/>
                  </a:lnTo>
                  <a:lnTo>
                    <a:pt x="431" y="662"/>
                  </a:lnTo>
                  <a:lnTo>
                    <a:pt x="431" y="666"/>
                  </a:lnTo>
                  <a:lnTo>
                    <a:pt x="427" y="662"/>
                  </a:lnTo>
                  <a:lnTo>
                    <a:pt x="423" y="662"/>
                  </a:lnTo>
                  <a:lnTo>
                    <a:pt x="423" y="658"/>
                  </a:lnTo>
                  <a:lnTo>
                    <a:pt x="427" y="658"/>
                  </a:lnTo>
                  <a:lnTo>
                    <a:pt x="427" y="654"/>
                  </a:lnTo>
                  <a:lnTo>
                    <a:pt x="431" y="654"/>
                  </a:lnTo>
                  <a:lnTo>
                    <a:pt x="431" y="650"/>
                  </a:lnTo>
                  <a:lnTo>
                    <a:pt x="427" y="658"/>
                  </a:lnTo>
                  <a:lnTo>
                    <a:pt x="423" y="658"/>
                  </a:lnTo>
                  <a:lnTo>
                    <a:pt x="423" y="662"/>
                  </a:lnTo>
                  <a:lnTo>
                    <a:pt x="419" y="662"/>
                  </a:lnTo>
                  <a:lnTo>
                    <a:pt x="423" y="658"/>
                  </a:lnTo>
                  <a:lnTo>
                    <a:pt x="419" y="658"/>
                  </a:lnTo>
                  <a:lnTo>
                    <a:pt x="423" y="658"/>
                  </a:lnTo>
                  <a:lnTo>
                    <a:pt x="423" y="654"/>
                  </a:lnTo>
                  <a:lnTo>
                    <a:pt x="427" y="654"/>
                  </a:lnTo>
                  <a:lnTo>
                    <a:pt x="427" y="646"/>
                  </a:lnTo>
                  <a:lnTo>
                    <a:pt x="431" y="646"/>
                  </a:lnTo>
                  <a:lnTo>
                    <a:pt x="427" y="646"/>
                  </a:lnTo>
                  <a:lnTo>
                    <a:pt x="427" y="650"/>
                  </a:lnTo>
                  <a:lnTo>
                    <a:pt x="423" y="650"/>
                  </a:lnTo>
                  <a:lnTo>
                    <a:pt x="423" y="654"/>
                  </a:lnTo>
                  <a:lnTo>
                    <a:pt x="419" y="654"/>
                  </a:lnTo>
                  <a:lnTo>
                    <a:pt x="419" y="650"/>
                  </a:lnTo>
                  <a:lnTo>
                    <a:pt x="423" y="650"/>
                  </a:lnTo>
                  <a:lnTo>
                    <a:pt x="423" y="646"/>
                  </a:lnTo>
                  <a:lnTo>
                    <a:pt x="423" y="650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9" y="650"/>
                  </a:lnTo>
                  <a:lnTo>
                    <a:pt x="419" y="646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5" y="654"/>
                  </a:lnTo>
                  <a:lnTo>
                    <a:pt x="411" y="650"/>
                  </a:lnTo>
                  <a:lnTo>
                    <a:pt x="415" y="650"/>
                  </a:lnTo>
                  <a:lnTo>
                    <a:pt x="411" y="650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5" y="646"/>
                  </a:lnTo>
                  <a:lnTo>
                    <a:pt x="419" y="642"/>
                  </a:lnTo>
                  <a:lnTo>
                    <a:pt x="419" y="638"/>
                  </a:lnTo>
                  <a:lnTo>
                    <a:pt x="419" y="642"/>
                  </a:lnTo>
                  <a:lnTo>
                    <a:pt x="415" y="642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1" y="642"/>
                  </a:lnTo>
                  <a:lnTo>
                    <a:pt x="411" y="646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15" y="642"/>
                  </a:lnTo>
                  <a:lnTo>
                    <a:pt x="415" y="638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5" y="634"/>
                  </a:lnTo>
                  <a:lnTo>
                    <a:pt x="415" y="638"/>
                  </a:lnTo>
                  <a:lnTo>
                    <a:pt x="411" y="642"/>
                  </a:lnTo>
                  <a:lnTo>
                    <a:pt x="411" y="638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38"/>
                  </a:lnTo>
                  <a:lnTo>
                    <a:pt x="411" y="638"/>
                  </a:lnTo>
                  <a:lnTo>
                    <a:pt x="415" y="634"/>
                  </a:lnTo>
                  <a:lnTo>
                    <a:pt x="411" y="634"/>
                  </a:lnTo>
                  <a:lnTo>
                    <a:pt x="411" y="630"/>
                  </a:lnTo>
                  <a:lnTo>
                    <a:pt x="415" y="630"/>
                  </a:lnTo>
                  <a:lnTo>
                    <a:pt x="411" y="630"/>
                  </a:lnTo>
                  <a:lnTo>
                    <a:pt x="407" y="634"/>
                  </a:lnTo>
                  <a:lnTo>
                    <a:pt x="411" y="634"/>
                  </a:lnTo>
                  <a:lnTo>
                    <a:pt x="411" y="638"/>
                  </a:lnTo>
                  <a:lnTo>
                    <a:pt x="407" y="638"/>
                  </a:lnTo>
                  <a:lnTo>
                    <a:pt x="403" y="638"/>
                  </a:lnTo>
                  <a:lnTo>
                    <a:pt x="399" y="638"/>
                  </a:lnTo>
                  <a:lnTo>
                    <a:pt x="399" y="642"/>
                  </a:lnTo>
                  <a:lnTo>
                    <a:pt x="395" y="642"/>
                  </a:lnTo>
                  <a:lnTo>
                    <a:pt x="399" y="642"/>
                  </a:lnTo>
                  <a:lnTo>
                    <a:pt x="395" y="646"/>
                  </a:lnTo>
                  <a:lnTo>
                    <a:pt x="395" y="642"/>
                  </a:lnTo>
                  <a:lnTo>
                    <a:pt x="395" y="638"/>
                  </a:lnTo>
                  <a:lnTo>
                    <a:pt x="391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79" y="642"/>
                  </a:lnTo>
                  <a:lnTo>
                    <a:pt x="375" y="642"/>
                  </a:lnTo>
                  <a:lnTo>
                    <a:pt x="379" y="642"/>
                  </a:lnTo>
                  <a:lnTo>
                    <a:pt x="383" y="638"/>
                  </a:lnTo>
                  <a:lnTo>
                    <a:pt x="379" y="638"/>
                  </a:lnTo>
                  <a:lnTo>
                    <a:pt x="375" y="642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lnTo>
                    <a:pt x="379" y="638"/>
                  </a:lnTo>
                  <a:lnTo>
                    <a:pt x="375" y="638"/>
                  </a:lnTo>
                  <a:lnTo>
                    <a:pt x="375" y="634"/>
                  </a:lnTo>
                  <a:lnTo>
                    <a:pt x="379" y="630"/>
                  </a:lnTo>
                  <a:lnTo>
                    <a:pt x="375" y="630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4"/>
                  </a:lnTo>
                  <a:lnTo>
                    <a:pt x="375" y="634"/>
                  </a:lnTo>
                  <a:lnTo>
                    <a:pt x="371" y="634"/>
                  </a:lnTo>
                  <a:lnTo>
                    <a:pt x="367" y="634"/>
                  </a:lnTo>
                  <a:lnTo>
                    <a:pt x="371" y="634"/>
                  </a:lnTo>
                  <a:lnTo>
                    <a:pt x="371" y="630"/>
                  </a:lnTo>
                  <a:lnTo>
                    <a:pt x="367" y="630"/>
                  </a:lnTo>
                  <a:lnTo>
                    <a:pt x="363" y="630"/>
                  </a:lnTo>
                  <a:lnTo>
                    <a:pt x="367" y="626"/>
                  </a:lnTo>
                  <a:lnTo>
                    <a:pt x="371" y="626"/>
                  </a:lnTo>
                  <a:lnTo>
                    <a:pt x="375" y="626"/>
                  </a:lnTo>
                  <a:lnTo>
                    <a:pt x="371" y="626"/>
                  </a:lnTo>
                  <a:lnTo>
                    <a:pt x="367" y="626"/>
                  </a:lnTo>
                  <a:lnTo>
                    <a:pt x="363" y="626"/>
                  </a:lnTo>
                  <a:lnTo>
                    <a:pt x="359" y="626"/>
                  </a:lnTo>
                  <a:lnTo>
                    <a:pt x="363" y="626"/>
                  </a:lnTo>
                  <a:lnTo>
                    <a:pt x="367" y="626"/>
                  </a:lnTo>
                  <a:lnTo>
                    <a:pt x="371" y="622"/>
                  </a:lnTo>
                  <a:lnTo>
                    <a:pt x="367" y="622"/>
                  </a:lnTo>
                  <a:lnTo>
                    <a:pt x="363" y="626"/>
                  </a:lnTo>
                  <a:lnTo>
                    <a:pt x="363" y="622"/>
                  </a:lnTo>
                  <a:lnTo>
                    <a:pt x="359" y="622"/>
                  </a:lnTo>
                  <a:lnTo>
                    <a:pt x="363" y="619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59" y="619"/>
                  </a:lnTo>
                  <a:lnTo>
                    <a:pt x="359" y="622"/>
                  </a:lnTo>
                  <a:lnTo>
                    <a:pt x="359" y="619"/>
                  </a:lnTo>
                  <a:lnTo>
                    <a:pt x="355" y="619"/>
                  </a:lnTo>
                  <a:lnTo>
                    <a:pt x="359" y="615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63" y="611"/>
                  </a:lnTo>
                  <a:lnTo>
                    <a:pt x="359" y="611"/>
                  </a:lnTo>
                  <a:lnTo>
                    <a:pt x="359" y="615"/>
                  </a:lnTo>
                  <a:lnTo>
                    <a:pt x="355" y="615"/>
                  </a:lnTo>
                  <a:lnTo>
                    <a:pt x="351" y="615"/>
                  </a:lnTo>
                  <a:lnTo>
                    <a:pt x="351" y="611"/>
                  </a:lnTo>
                  <a:lnTo>
                    <a:pt x="355" y="611"/>
                  </a:lnTo>
                  <a:lnTo>
                    <a:pt x="355" y="615"/>
                  </a:lnTo>
                  <a:lnTo>
                    <a:pt x="359" y="611"/>
                  </a:lnTo>
                  <a:lnTo>
                    <a:pt x="355" y="611"/>
                  </a:lnTo>
                  <a:lnTo>
                    <a:pt x="359" y="611"/>
                  </a:lnTo>
                  <a:lnTo>
                    <a:pt x="359" y="607"/>
                  </a:lnTo>
                  <a:lnTo>
                    <a:pt x="355" y="611"/>
                  </a:lnTo>
                  <a:lnTo>
                    <a:pt x="351" y="607"/>
                  </a:lnTo>
                  <a:lnTo>
                    <a:pt x="351" y="611"/>
                  </a:lnTo>
                  <a:lnTo>
                    <a:pt x="351" y="607"/>
                  </a:lnTo>
                  <a:lnTo>
                    <a:pt x="347" y="607"/>
                  </a:lnTo>
                  <a:lnTo>
                    <a:pt x="343" y="603"/>
                  </a:lnTo>
                  <a:lnTo>
                    <a:pt x="343" y="599"/>
                  </a:lnTo>
                  <a:lnTo>
                    <a:pt x="347" y="595"/>
                  </a:lnTo>
                  <a:lnTo>
                    <a:pt x="343" y="599"/>
                  </a:lnTo>
                  <a:lnTo>
                    <a:pt x="343" y="595"/>
                  </a:lnTo>
                  <a:lnTo>
                    <a:pt x="347" y="591"/>
                  </a:lnTo>
                  <a:lnTo>
                    <a:pt x="351" y="591"/>
                  </a:lnTo>
                  <a:lnTo>
                    <a:pt x="351" y="587"/>
                  </a:lnTo>
                  <a:lnTo>
                    <a:pt x="351" y="591"/>
                  </a:lnTo>
                  <a:lnTo>
                    <a:pt x="347" y="591"/>
                  </a:lnTo>
                  <a:lnTo>
                    <a:pt x="343" y="595"/>
                  </a:lnTo>
                  <a:lnTo>
                    <a:pt x="343" y="591"/>
                  </a:lnTo>
                  <a:lnTo>
                    <a:pt x="347" y="591"/>
                  </a:lnTo>
                  <a:lnTo>
                    <a:pt x="343" y="591"/>
                  </a:lnTo>
                  <a:lnTo>
                    <a:pt x="339" y="591"/>
                  </a:lnTo>
                  <a:lnTo>
                    <a:pt x="339" y="587"/>
                  </a:lnTo>
                  <a:lnTo>
                    <a:pt x="343" y="587"/>
                  </a:lnTo>
                  <a:lnTo>
                    <a:pt x="347" y="583"/>
                  </a:lnTo>
                  <a:lnTo>
                    <a:pt x="343" y="583"/>
                  </a:lnTo>
                  <a:lnTo>
                    <a:pt x="343" y="587"/>
                  </a:lnTo>
                  <a:lnTo>
                    <a:pt x="339" y="587"/>
                  </a:lnTo>
                  <a:lnTo>
                    <a:pt x="339" y="583"/>
                  </a:lnTo>
                  <a:lnTo>
                    <a:pt x="335" y="587"/>
                  </a:lnTo>
                  <a:lnTo>
                    <a:pt x="335" y="583"/>
                  </a:lnTo>
                  <a:lnTo>
                    <a:pt x="335" y="587"/>
                  </a:lnTo>
                  <a:lnTo>
                    <a:pt x="331" y="587"/>
                  </a:lnTo>
                  <a:lnTo>
                    <a:pt x="331" y="583"/>
                  </a:lnTo>
                  <a:lnTo>
                    <a:pt x="335" y="583"/>
                  </a:lnTo>
                  <a:lnTo>
                    <a:pt x="339" y="583"/>
                  </a:lnTo>
                  <a:lnTo>
                    <a:pt x="343" y="579"/>
                  </a:lnTo>
                  <a:lnTo>
                    <a:pt x="339" y="579"/>
                  </a:lnTo>
                  <a:lnTo>
                    <a:pt x="335" y="579"/>
                  </a:lnTo>
                  <a:lnTo>
                    <a:pt x="331" y="579"/>
                  </a:lnTo>
                  <a:lnTo>
                    <a:pt x="335" y="579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31" y="575"/>
                  </a:lnTo>
                  <a:lnTo>
                    <a:pt x="335" y="575"/>
                  </a:lnTo>
                  <a:lnTo>
                    <a:pt x="339" y="575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27" y="575"/>
                  </a:lnTo>
                  <a:lnTo>
                    <a:pt x="323" y="575"/>
                  </a:lnTo>
                  <a:lnTo>
                    <a:pt x="323" y="571"/>
                  </a:lnTo>
                  <a:lnTo>
                    <a:pt x="327" y="571"/>
                  </a:lnTo>
                  <a:lnTo>
                    <a:pt x="331" y="571"/>
                  </a:lnTo>
                  <a:lnTo>
                    <a:pt x="331" y="567"/>
                  </a:lnTo>
                  <a:lnTo>
                    <a:pt x="335" y="567"/>
                  </a:lnTo>
                  <a:lnTo>
                    <a:pt x="331" y="567"/>
                  </a:lnTo>
                  <a:lnTo>
                    <a:pt x="327" y="567"/>
                  </a:lnTo>
                  <a:lnTo>
                    <a:pt x="327" y="571"/>
                  </a:lnTo>
                  <a:lnTo>
                    <a:pt x="327" y="567"/>
                  </a:lnTo>
                  <a:lnTo>
                    <a:pt x="323" y="567"/>
                  </a:lnTo>
                  <a:lnTo>
                    <a:pt x="323" y="563"/>
                  </a:lnTo>
                  <a:lnTo>
                    <a:pt x="327" y="563"/>
                  </a:lnTo>
                  <a:lnTo>
                    <a:pt x="335" y="563"/>
                  </a:lnTo>
                  <a:lnTo>
                    <a:pt x="339" y="563"/>
                  </a:lnTo>
                  <a:lnTo>
                    <a:pt x="339" y="559"/>
                  </a:lnTo>
                  <a:lnTo>
                    <a:pt x="339" y="563"/>
                  </a:lnTo>
                  <a:lnTo>
                    <a:pt x="343" y="559"/>
                  </a:lnTo>
                  <a:lnTo>
                    <a:pt x="347" y="559"/>
                  </a:lnTo>
                  <a:lnTo>
                    <a:pt x="343" y="559"/>
                  </a:lnTo>
                  <a:lnTo>
                    <a:pt x="339" y="559"/>
                  </a:lnTo>
                  <a:lnTo>
                    <a:pt x="335" y="559"/>
                  </a:lnTo>
                  <a:lnTo>
                    <a:pt x="335" y="563"/>
                  </a:lnTo>
                  <a:lnTo>
                    <a:pt x="331" y="563"/>
                  </a:lnTo>
                  <a:lnTo>
                    <a:pt x="327" y="563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27" y="563"/>
                  </a:lnTo>
                  <a:lnTo>
                    <a:pt x="327" y="559"/>
                  </a:lnTo>
                  <a:lnTo>
                    <a:pt x="323" y="559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31" y="559"/>
                  </a:lnTo>
                  <a:lnTo>
                    <a:pt x="335" y="559"/>
                  </a:lnTo>
                  <a:lnTo>
                    <a:pt x="331" y="559"/>
                  </a:lnTo>
                  <a:lnTo>
                    <a:pt x="335" y="555"/>
                  </a:lnTo>
                  <a:lnTo>
                    <a:pt x="339" y="555"/>
                  </a:lnTo>
                  <a:lnTo>
                    <a:pt x="343" y="555"/>
                  </a:lnTo>
                  <a:lnTo>
                    <a:pt x="347" y="555"/>
                  </a:lnTo>
                  <a:lnTo>
                    <a:pt x="347" y="551"/>
                  </a:lnTo>
                  <a:lnTo>
                    <a:pt x="343" y="551"/>
                  </a:lnTo>
                  <a:lnTo>
                    <a:pt x="343" y="555"/>
                  </a:lnTo>
                  <a:lnTo>
                    <a:pt x="339" y="555"/>
                  </a:lnTo>
                  <a:lnTo>
                    <a:pt x="339" y="551"/>
                  </a:lnTo>
                  <a:lnTo>
                    <a:pt x="343" y="551"/>
                  </a:lnTo>
                  <a:lnTo>
                    <a:pt x="339" y="551"/>
                  </a:lnTo>
                  <a:lnTo>
                    <a:pt x="335" y="551"/>
                  </a:lnTo>
                  <a:lnTo>
                    <a:pt x="335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43" y="551"/>
                  </a:lnTo>
                  <a:lnTo>
                    <a:pt x="347" y="551"/>
                  </a:lnTo>
                  <a:lnTo>
                    <a:pt x="347" y="555"/>
                  </a:lnTo>
                  <a:lnTo>
                    <a:pt x="351" y="555"/>
                  </a:lnTo>
                  <a:lnTo>
                    <a:pt x="355" y="555"/>
                  </a:lnTo>
                  <a:lnTo>
                    <a:pt x="351" y="555"/>
                  </a:lnTo>
                  <a:lnTo>
                    <a:pt x="347" y="551"/>
                  </a:lnTo>
                  <a:lnTo>
                    <a:pt x="347" y="547"/>
                  </a:lnTo>
                  <a:lnTo>
                    <a:pt x="343" y="547"/>
                  </a:lnTo>
                  <a:lnTo>
                    <a:pt x="347" y="543"/>
                  </a:lnTo>
                  <a:lnTo>
                    <a:pt x="343" y="543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39" y="543"/>
                  </a:lnTo>
                  <a:lnTo>
                    <a:pt x="339" y="539"/>
                  </a:lnTo>
                  <a:lnTo>
                    <a:pt x="335" y="539"/>
                  </a:lnTo>
                  <a:lnTo>
                    <a:pt x="335" y="535"/>
                  </a:lnTo>
                  <a:lnTo>
                    <a:pt x="335" y="539"/>
                  </a:lnTo>
                  <a:lnTo>
                    <a:pt x="339" y="543"/>
                  </a:lnTo>
                  <a:lnTo>
                    <a:pt x="339" y="547"/>
                  </a:lnTo>
                  <a:lnTo>
                    <a:pt x="335" y="547"/>
                  </a:lnTo>
                  <a:lnTo>
                    <a:pt x="331" y="547"/>
                  </a:lnTo>
                  <a:lnTo>
                    <a:pt x="331" y="551"/>
                  </a:lnTo>
                  <a:lnTo>
                    <a:pt x="331" y="547"/>
                  </a:lnTo>
                  <a:lnTo>
                    <a:pt x="331" y="543"/>
                  </a:lnTo>
                  <a:lnTo>
                    <a:pt x="331" y="547"/>
                  </a:lnTo>
                  <a:lnTo>
                    <a:pt x="327" y="547"/>
                  </a:lnTo>
                  <a:lnTo>
                    <a:pt x="327" y="551"/>
                  </a:lnTo>
                  <a:lnTo>
                    <a:pt x="323" y="555"/>
                  </a:lnTo>
                  <a:lnTo>
                    <a:pt x="323" y="559"/>
                  </a:lnTo>
                  <a:lnTo>
                    <a:pt x="319" y="559"/>
                  </a:lnTo>
                  <a:lnTo>
                    <a:pt x="319" y="555"/>
                  </a:lnTo>
                  <a:lnTo>
                    <a:pt x="315" y="555"/>
                  </a:lnTo>
                  <a:lnTo>
                    <a:pt x="315" y="551"/>
                  </a:lnTo>
                  <a:lnTo>
                    <a:pt x="315" y="547"/>
                  </a:lnTo>
                  <a:lnTo>
                    <a:pt x="319" y="543"/>
                  </a:lnTo>
                  <a:lnTo>
                    <a:pt x="323" y="543"/>
                  </a:lnTo>
                  <a:lnTo>
                    <a:pt x="327" y="543"/>
                  </a:lnTo>
                  <a:lnTo>
                    <a:pt x="327" y="539"/>
                  </a:lnTo>
                  <a:lnTo>
                    <a:pt x="331" y="539"/>
                  </a:lnTo>
                  <a:lnTo>
                    <a:pt x="327" y="539"/>
                  </a:lnTo>
                  <a:lnTo>
                    <a:pt x="323" y="543"/>
                  </a:lnTo>
                  <a:lnTo>
                    <a:pt x="323" y="539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5" y="539"/>
                  </a:lnTo>
                  <a:lnTo>
                    <a:pt x="319" y="539"/>
                  </a:lnTo>
                  <a:lnTo>
                    <a:pt x="315" y="539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5" y="535"/>
                  </a:lnTo>
                  <a:lnTo>
                    <a:pt x="311" y="535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1" y="531"/>
                  </a:lnTo>
                  <a:lnTo>
                    <a:pt x="311" y="535"/>
                  </a:lnTo>
                  <a:lnTo>
                    <a:pt x="311" y="531"/>
                  </a:lnTo>
                  <a:lnTo>
                    <a:pt x="315" y="527"/>
                  </a:lnTo>
                  <a:lnTo>
                    <a:pt x="319" y="527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23" y="519"/>
                  </a:lnTo>
                  <a:lnTo>
                    <a:pt x="327" y="519"/>
                  </a:lnTo>
                  <a:lnTo>
                    <a:pt x="331" y="519"/>
                  </a:lnTo>
                  <a:lnTo>
                    <a:pt x="335" y="519"/>
                  </a:lnTo>
                  <a:lnTo>
                    <a:pt x="335" y="523"/>
                  </a:lnTo>
                  <a:lnTo>
                    <a:pt x="339" y="523"/>
                  </a:lnTo>
                  <a:lnTo>
                    <a:pt x="339" y="519"/>
                  </a:lnTo>
                  <a:lnTo>
                    <a:pt x="335" y="519"/>
                  </a:lnTo>
                  <a:lnTo>
                    <a:pt x="331" y="519"/>
                  </a:lnTo>
                  <a:lnTo>
                    <a:pt x="327" y="519"/>
                  </a:lnTo>
                  <a:lnTo>
                    <a:pt x="323" y="519"/>
                  </a:lnTo>
                  <a:lnTo>
                    <a:pt x="319" y="523"/>
                  </a:lnTo>
                  <a:lnTo>
                    <a:pt x="319" y="527"/>
                  </a:lnTo>
                  <a:lnTo>
                    <a:pt x="315" y="527"/>
                  </a:lnTo>
                  <a:lnTo>
                    <a:pt x="311" y="527"/>
                  </a:lnTo>
                  <a:lnTo>
                    <a:pt x="311" y="531"/>
                  </a:lnTo>
                  <a:lnTo>
                    <a:pt x="307" y="527"/>
                  </a:lnTo>
                  <a:lnTo>
                    <a:pt x="311" y="523"/>
                  </a:lnTo>
                  <a:lnTo>
                    <a:pt x="307" y="523"/>
                  </a:lnTo>
                  <a:lnTo>
                    <a:pt x="307" y="527"/>
                  </a:lnTo>
                  <a:lnTo>
                    <a:pt x="307" y="523"/>
                  </a:lnTo>
                  <a:lnTo>
                    <a:pt x="307" y="519"/>
                  </a:lnTo>
                  <a:lnTo>
                    <a:pt x="307" y="523"/>
                  </a:lnTo>
                  <a:lnTo>
                    <a:pt x="303" y="523"/>
                  </a:lnTo>
                  <a:lnTo>
                    <a:pt x="299" y="523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303" y="515"/>
                  </a:lnTo>
                  <a:lnTo>
                    <a:pt x="307" y="515"/>
                  </a:lnTo>
                  <a:lnTo>
                    <a:pt x="311" y="515"/>
                  </a:lnTo>
                  <a:lnTo>
                    <a:pt x="315" y="515"/>
                  </a:lnTo>
                  <a:lnTo>
                    <a:pt x="319" y="515"/>
                  </a:lnTo>
                  <a:lnTo>
                    <a:pt x="319" y="511"/>
                  </a:lnTo>
                  <a:lnTo>
                    <a:pt x="315" y="515"/>
                  </a:lnTo>
                  <a:lnTo>
                    <a:pt x="311" y="515"/>
                  </a:lnTo>
                  <a:lnTo>
                    <a:pt x="307" y="515"/>
                  </a:lnTo>
                  <a:lnTo>
                    <a:pt x="303" y="515"/>
                  </a:lnTo>
                  <a:lnTo>
                    <a:pt x="299" y="519"/>
                  </a:lnTo>
                  <a:lnTo>
                    <a:pt x="299" y="515"/>
                  </a:lnTo>
                  <a:lnTo>
                    <a:pt x="303" y="515"/>
                  </a:lnTo>
                  <a:lnTo>
                    <a:pt x="303" y="511"/>
                  </a:lnTo>
                  <a:lnTo>
                    <a:pt x="303" y="515"/>
                  </a:lnTo>
                  <a:lnTo>
                    <a:pt x="299" y="515"/>
                  </a:lnTo>
                  <a:lnTo>
                    <a:pt x="295" y="515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9" y="511"/>
                  </a:lnTo>
                  <a:lnTo>
                    <a:pt x="303" y="511"/>
                  </a:lnTo>
                  <a:lnTo>
                    <a:pt x="303" y="507"/>
                  </a:lnTo>
                  <a:lnTo>
                    <a:pt x="307" y="507"/>
                  </a:lnTo>
                  <a:lnTo>
                    <a:pt x="307" y="503"/>
                  </a:lnTo>
                  <a:lnTo>
                    <a:pt x="311" y="503"/>
                  </a:lnTo>
                  <a:lnTo>
                    <a:pt x="315" y="503"/>
                  </a:lnTo>
                  <a:lnTo>
                    <a:pt x="315" y="499"/>
                  </a:lnTo>
                  <a:lnTo>
                    <a:pt x="319" y="499"/>
                  </a:lnTo>
                  <a:lnTo>
                    <a:pt x="319" y="495"/>
                  </a:lnTo>
                  <a:lnTo>
                    <a:pt x="323" y="495"/>
                  </a:lnTo>
                  <a:lnTo>
                    <a:pt x="327" y="495"/>
                  </a:lnTo>
                  <a:lnTo>
                    <a:pt x="327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9" y="491"/>
                  </a:lnTo>
                  <a:lnTo>
                    <a:pt x="343" y="491"/>
                  </a:lnTo>
                  <a:lnTo>
                    <a:pt x="339" y="491"/>
                  </a:lnTo>
                  <a:lnTo>
                    <a:pt x="335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5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47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35" y="487"/>
                  </a:lnTo>
                  <a:lnTo>
                    <a:pt x="331" y="487"/>
                  </a:lnTo>
                  <a:lnTo>
                    <a:pt x="331" y="491"/>
                  </a:lnTo>
                  <a:lnTo>
                    <a:pt x="327" y="491"/>
                  </a:lnTo>
                  <a:lnTo>
                    <a:pt x="323" y="491"/>
                  </a:lnTo>
                  <a:lnTo>
                    <a:pt x="323" y="495"/>
                  </a:lnTo>
                  <a:lnTo>
                    <a:pt x="319" y="495"/>
                  </a:lnTo>
                  <a:lnTo>
                    <a:pt x="319" y="499"/>
                  </a:lnTo>
                  <a:lnTo>
                    <a:pt x="315" y="499"/>
                  </a:lnTo>
                  <a:lnTo>
                    <a:pt x="311" y="503"/>
                  </a:lnTo>
                  <a:lnTo>
                    <a:pt x="307" y="503"/>
                  </a:lnTo>
                  <a:lnTo>
                    <a:pt x="307" y="507"/>
                  </a:lnTo>
                  <a:lnTo>
                    <a:pt x="303" y="507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5" y="507"/>
                  </a:lnTo>
                  <a:lnTo>
                    <a:pt x="299" y="507"/>
                  </a:lnTo>
                  <a:lnTo>
                    <a:pt x="295" y="507"/>
                  </a:lnTo>
                  <a:lnTo>
                    <a:pt x="291" y="507"/>
                  </a:lnTo>
                  <a:lnTo>
                    <a:pt x="291" y="503"/>
                  </a:lnTo>
                  <a:lnTo>
                    <a:pt x="291" y="499"/>
                  </a:lnTo>
                  <a:lnTo>
                    <a:pt x="295" y="499"/>
                  </a:lnTo>
                  <a:lnTo>
                    <a:pt x="299" y="499"/>
                  </a:lnTo>
                  <a:lnTo>
                    <a:pt x="303" y="499"/>
                  </a:lnTo>
                  <a:lnTo>
                    <a:pt x="307" y="499"/>
                  </a:lnTo>
                  <a:lnTo>
                    <a:pt x="311" y="499"/>
                  </a:lnTo>
                  <a:lnTo>
                    <a:pt x="307" y="499"/>
                  </a:lnTo>
                  <a:lnTo>
                    <a:pt x="303" y="499"/>
                  </a:lnTo>
                  <a:lnTo>
                    <a:pt x="299" y="499"/>
                  </a:lnTo>
                  <a:lnTo>
                    <a:pt x="295" y="499"/>
                  </a:lnTo>
                  <a:lnTo>
                    <a:pt x="295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7" y="495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7" y="491"/>
                  </a:lnTo>
                  <a:lnTo>
                    <a:pt x="311" y="491"/>
                  </a:lnTo>
                  <a:lnTo>
                    <a:pt x="315" y="491"/>
                  </a:lnTo>
                  <a:lnTo>
                    <a:pt x="311" y="491"/>
                  </a:lnTo>
                  <a:lnTo>
                    <a:pt x="307" y="491"/>
                  </a:lnTo>
                  <a:lnTo>
                    <a:pt x="303" y="491"/>
                  </a:lnTo>
                  <a:lnTo>
                    <a:pt x="299" y="491"/>
                  </a:lnTo>
                  <a:lnTo>
                    <a:pt x="295" y="491"/>
                  </a:lnTo>
                  <a:lnTo>
                    <a:pt x="291" y="491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9" y="487"/>
                  </a:lnTo>
                  <a:lnTo>
                    <a:pt x="295" y="487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5" y="483"/>
                  </a:lnTo>
                  <a:lnTo>
                    <a:pt x="291" y="487"/>
                  </a:lnTo>
                  <a:lnTo>
                    <a:pt x="287" y="487"/>
                  </a:lnTo>
                  <a:lnTo>
                    <a:pt x="287" y="483"/>
                  </a:lnTo>
                  <a:lnTo>
                    <a:pt x="291" y="483"/>
                  </a:lnTo>
                  <a:lnTo>
                    <a:pt x="295" y="483"/>
                  </a:lnTo>
                  <a:lnTo>
                    <a:pt x="295" y="479"/>
                  </a:lnTo>
                  <a:lnTo>
                    <a:pt x="299" y="479"/>
                  </a:lnTo>
                  <a:lnTo>
                    <a:pt x="303" y="479"/>
                  </a:lnTo>
                  <a:lnTo>
                    <a:pt x="307" y="479"/>
                  </a:lnTo>
                  <a:lnTo>
                    <a:pt x="311" y="479"/>
                  </a:lnTo>
                  <a:lnTo>
                    <a:pt x="315" y="479"/>
                  </a:lnTo>
                  <a:lnTo>
                    <a:pt x="319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27" y="483"/>
                  </a:lnTo>
                  <a:lnTo>
                    <a:pt x="331" y="483"/>
                  </a:lnTo>
                  <a:lnTo>
                    <a:pt x="335" y="483"/>
                  </a:lnTo>
                  <a:lnTo>
                    <a:pt x="339" y="483"/>
                  </a:lnTo>
                  <a:lnTo>
                    <a:pt x="343" y="483"/>
                  </a:lnTo>
                  <a:lnTo>
                    <a:pt x="339" y="483"/>
                  </a:lnTo>
                  <a:lnTo>
                    <a:pt x="335" y="483"/>
                  </a:lnTo>
                  <a:lnTo>
                    <a:pt x="331" y="483"/>
                  </a:lnTo>
                  <a:lnTo>
                    <a:pt x="327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31" y="475"/>
                  </a:lnTo>
                  <a:lnTo>
                    <a:pt x="327" y="475"/>
                  </a:lnTo>
                  <a:lnTo>
                    <a:pt x="323" y="479"/>
                  </a:lnTo>
                  <a:lnTo>
                    <a:pt x="319" y="479"/>
                  </a:lnTo>
                  <a:lnTo>
                    <a:pt x="315" y="479"/>
                  </a:lnTo>
                  <a:lnTo>
                    <a:pt x="315" y="475"/>
                  </a:lnTo>
                  <a:lnTo>
                    <a:pt x="307" y="479"/>
                  </a:lnTo>
                  <a:lnTo>
                    <a:pt x="303" y="479"/>
                  </a:lnTo>
                  <a:lnTo>
                    <a:pt x="299" y="479"/>
                  </a:lnTo>
                  <a:lnTo>
                    <a:pt x="295" y="479"/>
                  </a:lnTo>
                  <a:lnTo>
                    <a:pt x="291" y="483"/>
                  </a:lnTo>
                  <a:lnTo>
                    <a:pt x="291" y="479"/>
                  </a:lnTo>
                  <a:lnTo>
                    <a:pt x="291" y="475"/>
                  </a:lnTo>
                  <a:lnTo>
                    <a:pt x="295" y="475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303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15" y="467"/>
                  </a:lnTo>
                  <a:lnTo>
                    <a:pt x="319" y="467"/>
                  </a:lnTo>
                  <a:lnTo>
                    <a:pt x="319" y="471"/>
                  </a:lnTo>
                  <a:lnTo>
                    <a:pt x="323" y="471"/>
                  </a:lnTo>
                  <a:lnTo>
                    <a:pt x="327" y="471"/>
                  </a:lnTo>
                  <a:lnTo>
                    <a:pt x="331" y="471"/>
                  </a:lnTo>
                  <a:lnTo>
                    <a:pt x="335" y="471"/>
                  </a:lnTo>
                  <a:lnTo>
                    <a:pt x="335" y="475"/>
                  </a:lnTo>
                  <a:lnTo>
                    <a:pt x="339" y="475"/>
                  </a:lnTo>
                  <a:lnTo>
                    <a:pt x="343" y="475"/>
                  </a:lnTo>
                  <a:lnTo>
                    <a:pt x="347" y="475"/>
                  </a:lnTo>
                  <a:lnTo>
                    <a:pt x="343" y="475"/>
                  </a:lnTo>
                  <a:lnTo>
                    <a:pt x="339" y="475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9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47" y="467"/>
                  </a:lnTo>
                  <a:lnTo>
                    <a:pt x="347" y="471"/>
                  </a:lnTo>
                  <a:lnTo>
                    <a:pt x="347" y="467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1" y="471"/>
                  </a:lnTo>
                  <a:lnTo>
                    <a:pt x="331" y="467"/>
                  </a:lnTo>
                  <a:lnTo>
                    <a:pt x="335" y="467"/>
                  </a:lnTo>
                  <a:lnTo>
                    <a:pt x="339" y="467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35" y="463"/>
                  </a:lnTo>
                  <a:lnTo>
                    <a:pt x="339" y="463"/>
                  </a:lnTo>
                  <a:lnTo>
                    <a:pt x="339" y="467"/>
                  </a:lnTo>
                  <a:lnTo>
                    <a:pt x="335" y="467"/>
                  </a:lnTo>
                  <a:lnTo>
                    <a:pt x="331" y="467"/>
                  </a:lnTo>
                  <a:lnTo>
                    <a:pt x="327" y="463"/>
                  </a:lnTo>
                  <a:lnTo>
                    <a:pt x="331" y="463"/>
                  </a:lnTo>
                  <a:lnTo>
                    <a:pt x="335" y="463"/>
                  </a:lnTo>
                  <a:lnTo>
                    <a:pt x="331" y="463"/>
                  </a:lnTo>
                  <a:lnTo>
                    <a:pt x="327" y="463"/>
                  </a:lnTo>
                  <a:lnTo>
                    <a:pt x="323" y="463"/>
                  </a:lnTo>
                  <a:lnTo>
                    <a:pt x="327" y="463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15" y="467"/>
                  </a:lnTo>
                  <a:lnTo>
                    <a:pt x="311" y="467"/>
                  </a:lnTo>
                  <a:lnTo>
                    <a:pt x="315" y="463"/>
                  </a:lnTo>
                  <a:lnTo>
                    <a:pt x="319" y="463"/>
                  </a:lnTo>
                  <a:lnTo>
                    <a:pt x="323" y="463"/>
                  </a:lnTo>
                  <a:lnTo>
                    <a:pt x="319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03" y="467"/>
                  </a:lnTo>
                  <a:lnTo>
                    <a:pt x="299" y="471"/>
                  </a:lnTo>
                  <a:lnTo>
                    <a:pt x="295" y="475"/>
                  </a:lnTo>
                  <a:lnTo>
                    <a:pt x="291" y="475"/>
                  </a:lnTo>
                  <a:lnTo>
                    <a:pt x="291" y="471"/>
                  </a:lnTo>
                  <a:lnTo>
                    <a:pt x="295" y="471"/>
                  </a:lnTo>
                  <a:lnTo>
                    <a:pt x="295" y="467"/>
                  </a:lnTo>
                  <a:lnTo>
                    <a:pt x="291" y="467"/>
                  </a:lnTo>
                  <a:lnTo>
                    <a:pt x="295" y="463"/>
                  </a:lnTo>
                  <a:lnTo>
                    <a:pt x="295" y="467"/>
                  </a:lnTo>
                  <a:lnTo>
                    <a:pt x="299" y="467"/>
                  </a:lnTo>
                  <a:lnTo>
                    <a:pt x="295" y="467"/>
                  </a:lnTo>
                  <a:lnTo>
                    <a:pt x="295" y="463"/>
                  </a:lnTo>
                  <a:lnTo>
                    <a:pt x="299" y="463"/>
                  </a:lnTo>
                  <a:lnTo>
                    <a:pt x="299" y="467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303" y="459"/>
                  </a:lnTo>
                  <a:lnTo>
                    <a:pt x="299" y="463"/>
                  </a:lnTo>
                  <a:lnTo>
                    <a:pt x="299" y="459"/>
                  </a:lnTo>
                  <a:lnTo>
                    <a:pt x="303" y="459"/>
                  </a:lnTo>
                  <a:lnTo>
                    <a:pt x="307" y="463"/>
                  </a:lnTo>
                  <a:lnTo>
                    <a:pt x="311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07" y="463"/>
                  </a:lnTo>
                  <a:lnTo>
                    <a:pt x="307" y="459"/>
                  </a:lnTo>
                  <a:lnTo>
                    <a:pt x="303" y="459"/>
                  </a:lnTo>
                  <a:lnTo>
                    <a:pt x="299" y="459"/>
                  </a:lnTo>
                  <a:lnTo>
                    <a:pt x="295" y="455"/>
                  </a:lnTo>
                  <a:lnTo>
                    <a:pt x="299" y="455"/>
                  </a:lnTo>
                  <a:lnTo>
                    <a:pt x="303" y="455"/>
                  </a:lnTo>
                  <a:lnTo>
                    <a:pt x="307" y="459"/>
                  </a:lnTo>
                  <a:lnTo>
                    <a:pt x="311" y="459"/>
                  </a:lnTo>
                  <a:lnTo>
                    <a:pt x="307" y="459"/>
                  </a:lnTo>
                  <a:lnTo>
                    <a:pt x="307" y="455"/>
                  </a:lnTo>
                  <a:lnTo>
                    <a:pt x="311" y="455"/>
                  </a:lnTo>
                  <a:lnTo>
                    <a:pt x="311" y="459"/>
                  </a:lnTo>
                  <a:lnTo>
                    <a:pt x="315" y="459"/>
                  </a:lnTo>
                  <a:lnTo>
                    <a:pt x="319" y="459"/>
                  </a:lnTo>
                  <a:lnTo>
                    <a:pt x="323" y="459"/>
                  </a:lnTo>
                  <a:lnTo>
                    <a:pt x="327" y="459"/>
                  </a:lnTo>
                  <a:lnTo>
                    <a:pt x="331" y="459"/>
                  </a:lnTo>
                  <a:lnTo>
                    <a:pt x="339" y="463"/>
                  </a:lnTo>
                  <a:lnTo>
                    <a:pt x="343" y="463"/>
                  </a:lnTo>
                  <a:lnTo>
                    <a:pt x="347" y="463"/>
                  </a:lnTo>
                  <a:lnTo>
                    <a:pt x="343" y="463"/>
                  </a:lnTo>
                  <a:lnTo>
                    <a:pt x="339" y="463"/>
                  </a:lnTo>
                  <a:lnTo>
                    <a:pt x="339" y="459"/>
                  </a:lnTo>
                  <a:lnTo>
                    <a:pt x="335" y="459"/>
                  </a:lnTo>
                  <a:lnTo>
                    <a:pt x="331" y="459"/>
                  </a:lnTo>
                  <a:lnTo>
                    <a:pt x="327" y="455"/>
                  </a:lnTo>
                  <a:lnTo>
                    <a:pt x="331" y="455"/>
                  </a:lnTo>
                  <a:lnTo>
                    <a:pt x="335" y="455"/>
                  </a:lnTo>
                  <a:lnTo>
                    <a:pt x="331" y="455"/>
                  </a:lnTo>
                  <a:lnTo>
                    <a:pt x="331" y="451"/>
                  </a:lnTo>
                  <a:lnTo>
                    <a:pt x="335" y="447"/>
                  </a:lnTo>
                  <a:lnTo>
                    <a:pt x="331" y="451"/>
                  </a:lnTo>
                  <a:lnTo>
                    <a:pt x="327" y="451"/>
                  </a:lnTo>
                  <a:lnTo>
                    <a:pt x="323" y="451"/>
                  </a:lnTo>
                  <a:lnTo>
                    <a:pt x="327" y="451"/>
                  </a:lnTo>
                  <a:lnTo>
                    <a:pt x="331" y="451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5" y="455"/>
                  </a:lnTo>
                  <a:lnTo>
                    <a:pt x="311" y="455"/>
                  </a:lnTo>
                  <a:lnTo>
                    <a:pt x="307" y="455"/>
                  </a:lnTo>
                  <a:lnTo>
                    <a:pt x="303" y="455"/>
                  </a:lnTo>
                  <a:lnTo>
                    <a:pt x="303" y="451"/>
                  </a:lnTo>
                  <a:lnTo>
                    <a:pt x="307" y="451"/>
                  </a:lnTo>
                  <a:lnTo>
                    <a:pt x="303" y="451"/>
                  </a:lnTo>
                  <a:lnTo>
                    <a:pt x="303" y="455"/>
                  </a:lnTo>
                  <a:lnTo>
                    <a:pt x="299" y="455"/>
                  </a:lnTo>
                  <a:lnTo>
                    <a:pt x="299" y="451"/>
                  </a:lnTo>
                  <a:lnTo>
                    <a:pt x="299" y="455"/>
                  </a:lnTo>
                  <a:lnTo>
                    <a:pt x="295" y="455"/>
                  </a:lnTo>
                  <a:lnTo>
                    <a:pt x="295" y="451"/>
                  </a:lnTo>
                  <a:lnTo>
                    <a:pt x="299" y="451"/>
                  </a:lnTo>
                  <a:lnTo>
                    <a:pt x="303" y="451"/>
                  </a:lnTo>
                  <a:lnTo>
                    <a:pt x="307" y="447"/>
                  </a:lnTo>
                  <a:lnTo>
                    <a:pt x="311" y="447"/>
                  </a:lnTo>
                  <a:lnTo>
                    <a:pt x="315" y="447"/>
                  </a:lnTo>
                  <a:lnTo>
                    <a:pt x="319" y="447"/>
                  </a:lnTo>
                  <a:lnTo>
                    <a:pt x="323" y="447"/>
                  </a:lnTo>
                  <a:lnTo>
                    <a:pt x="327" y="447"/>
                  </a:lnTo>
                  <a:lnTo>
                    <a:pt x="331" y="447"/>
                  </a:lnTo>
                  <a:lnTo>
                    <a:pt x="331" y="443"/>
                  </a:lnTo>
                  <a:lnTo>
                    <a:pt x="335" y="443"/>
                  </a:lnTo>
                  <a:close/>
                  <a:moveTo>
                    <a:pt x="818" y="112"/>
                  </a:moveTo>
                  <a:lnTo>
                    <a:pt x="814" y="112"/>
                  </a:lnTo>
                  <a:lnTo>
                    <a:pt x="810" y="112"/>
                  </a:lnTo>
                  <a:lnTo>
                    <a:pt x="806" y="112"/>
                  </a:lnTo>
                  <a:lnTo>
                    <a:pt x="802" y="116"/>
                  </a:lnTo>
                  <a:lnTo>
                    <a:pt x="802" y="112"/>
                  </a:lnTo>
                  <a:lnTo>
                    <a:pt x="806" y="108"/>
                  </a:lnTo>
                  <a:lnTo>
                    <a:pt x="810" y="108"/>
                  </a:lnTo>
                  <a:lnTo>
                    <a:pt x="818" y="112"/>
                  </a:lnTo>
                  <a:close/>
                  <a:moveTo>
                    <a:pt x="810" y="156"/>
                  </a:moveTo>
                  <a:lnTo>
                    <a:pt x="806" y="156"/>
                  </a:lnTo>
                  <a:lnTo>
                    <a:pt x="806" y="152"/>
                  </a:lnTo>
                  <a:lnTo>
                    <a:pt x="810" y="148"/>
                  </a:lnTo>
                  <a:lnTo>
                    <a:pt x="814" y="148"/>
                  </a:lnTo>
                  <a:lnTo>
                    <a:pt x="814" y="152"/>
                  </a:lnTo>
                  <a:lnTo>
                    <a:pt x="810" y="152"/>
                  </a:lnTo>
                  <a:lnTo>
                    <a:pt x="814" y="152"/>
                  </a:lnTo>
                  <a:lnTo>
                    <a:pt x="814" y="156"/>
                  </a:lnTo>
                  <a:lnTo>
                    <a:pt x="810" y="156"/>
                  </a:lnTo>
                  <a:close/>
                  <a:moveTo>
                    <a:pt x="806" y="180"/>
                  </a:moveTo>
                  <a:lnTo>
                    <a:pt x="810" y="180"/>
                  </a:lnTo>
                  <a:lnTo>
                    <a:pt x="814" y="180"/>
                  </a:lnTo>
                  <a:lnTo>
                    <a:pt x="814" y="184"/>
                  </a:lnTo>
                  <a:lnTo>
                    <a:pt x="810" y="184"/>
                  </a:lnTo>
                  <a:lnTo>
                    <a:pt x="806" y="184"/>
                  </a:lnTo>
                  <a:lnTo>
                    <a:pt x="802" y="180"/>
                  </a:lnTo>
                  <a:lnTo>
                    <a:pt x="798" y="180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0"/>
                  </a:lnTo>
                  <a:lnTo>
                    <a:pt x="806" y="180"/>
                  </a:lnTo>
                  <a:close/>
                  <a:moveTo>
                    <a:pt x="837" y="180"/>
                  </a:moveTo>
                  <a:lnTo>
                    <a:pt x="837" y="184"/>
                  </a:lnTo>
                  <a:lnTo>
                    <a:pt x="837" y="187"/>
                  </a:lnTo>
                  <a:lnTo>
                    <a:pt x="833" y="187"/>
                  </a:lnTo>
                  <a:lnTo>
                    <a:pt x="829" y="187"/>
                  </a:lnTo>
                  <a:lnTo>
                    <a:pt x="829" y="184"/>
                  </a:lnTo>
                  <a:lnTo>
                    <a:pt x="833" y="184"/>
                  </a:lnTo>
                  <a:lnTo>
                    <a:pt x="833" y="180"/>
                  </a:lnTo>
                  <a:lnTo>
                    <a:pt x="837" y="180"/>
                  </a:lnTo>
                  <a:close/>
                  <a:moveTo>
                    <a:pt x="822" y="231"/>
                  </a:moveTo>
                  <a:lnTo>
                    <a:pt x="825" y="235"/>
                  </a:lnTo>
                  <a:lnTo>
                    <a:pt x="825" y="239"/>
                  </a:lnTo>
                  <a:lnTo>
                    <a:pt x="822" y="239"/>
                  </a:lnTo>
                  <a:lnTo>
                    <a:pt x="822" y="235"/>
                  </a:lnTo>
                  <a:lnTo>
                    <a:pt x="822" y="231"/>
                  </a:lnTo>
                  <a:lnTo>
                    <a:pt x="818" y="231"/>
                  </a:lnTo>
                  <a:lnTo>
                    <a:pt x="818" y="227"/>
                  </a:lnTo>
                  <a:lnTo>
                    <a:pt x="818" y="223"/>
                  </a:lnTo>
                  <a:lnTo>
                    <a:pt x="814" y="223"/>
                  </a:lnTo>
                  <a:lnTo>
                    <a:pt x="814" y="219"/>
                  </a:lnTo>
                  <a:lnTo>
                    <a:pt x="818" y="219"/>
                  </a:lnTo>
                  <a:lnTo>
                    <a:pt x="822" y="219"/>
                  </a:lnTo>
                  <a:lnTo>
                    <a:pt x="818" y="219"/>
                  </a:lnTo>
                  <a:lnTo>
                    <a:pt x="818" y="215"/>
                  </a:lnTo>
                  <a:lnTo>
                    <a:pt x="822" y="215"/>
                  </a:lnTo>
                  <a:lnTo>
                    <a:pt x="822" y="219"/>
                  </a:lnTo>
                  <a:lnTo>
                    <a:pt x="822" y="223"/>
                  </a:lnTo>
                  <a:lnTo>
                    <a:pt x="822" y="227"/>
                  </a:lnTo>
                  <a:lnTo>
                    <a:pt x="822" y="231"/>
                  </a:lnTo>
                  <a:close/>
                  <a:moveTo>
                    <a:pt x="833" y="255"/>
                  </a:moveTo>
                  <a:lnTo>
                    <a:pt x="833" y="259"/>
                  </a:lnTo>
                  <a:lnTo>
                    <a:pt x="829" y="259"/>
                  </a:lnTo>
                  <a:lnTo>
                    <a:pt x="833" y="263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41" y="267"/>
                  </a:lnTo>
                  <a:lnTo>
                    <a:pt x="837" y="267"/>
                  </a:lnTo>
                  <a:lnTo>
                    <a:pt x="833" y="267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9" y="267"/>
                  </a:lnTo>
                  <a:lnTo>
                    <a:pt x="825" y="267"/>
                  </a:lnTo>
                  <a:lnTo>
                    <a:pt x="822" y="267"/>
                  </a:lnTo>
                  <a:lnTo>
                    <a:pt x="818" y="267"/>
                  </a:lnTo>
                  <a:lnTo>
                    <a:pt x="818" y="263"/>
                  </a:lnTo>
                  <a:lnTo>
                    <a:pt x="822" y="263"/>
                  </a:lnTo>
                  <a:lnTo>
                    <a:pt x="822" y="259"/>
                  </a:lnTo>
                  <a:lnTo>
                    <a:pt x="818" y="259"/>
                  </a:lnTo>
                  <a:lnTo>
                    <a:pt x="822" y="255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55"/>
                  </a:lnTo>
                  <a:lnTo>
                    <a:pt x="833" y="255"/>
                  </a:lnTo>
                  <a:close/>
                  <a:moveTo>
                    <a:pt x="774" y="331"/>
                  </a:moveTo>
                  <a:lnTo>
                    <a:pt x="770" y="331"/>
                  </a:lnTo>
                  <a:lnTo>
                    <a:pt x="766" y="331"/>
                  </a:lnTo>
                  <a:lnTo>
                    <a:pt x="762" y="331"/>
                  </a:lnTo>
                  <a:lnTo>
                    <a:pt x="762" y="327"/>
                  </a:lnTo>
                  <a:lnTo>
                    <a:pt x="758" y="327"/>
                  </a:lnTo>
                  <a:lnTo>
                    <a:pt x="754" y="327"/>
                  </a:lnTo>
                  <a:lnTo>
                    <a:pt x="750" y="327"/>
                  </a:lnTo>
                  <a:lnTo>
                    <a:pt x="746" y="327"/>
                  </a:lnTo>
                  <a:lnTo>
                    <a:pt x="742" y="327"/>
                  </a:lnTo>
                  <a:lnTo>
                    <a:pt x="738" y="327"/>
                  </a:lnTo>
                  <a:lnTo>
                    <a:pt x="734" y="327"/>
                  </a:lnTo>
                  <a:lnTo>
                    <a:pt x="734" y="323"/>
                  </a:lnTo>
                  <a:lnTo>
                    <a:pt x="738" y="323"/>
                  </a:lnTo>
                  <a:lnTo>
                    <a:pt x="742" y="323"/>
                  </a:lnTo>
                  <a:lnTo>
                    <a:pt x="746" y="323"/>
                  </a:lnTo>
                  <a:lnTo>
                    <a:pt x="750" y="323"/>
                  </a:lnTo>
                  <a:lnTo>
                    <a:pt x="754" y="323"/>
                  </a:lnTo>
                  <a:lnTo>
                    <a:pt x="758" y="323"/>
                  </a:lnTo>
                  <a:lnTo>
                    <a:pt x="762" y="323"/>
                  </a:lnTo>
                  <a:lnTo>
                    <a:pt x="766" y="323"/>
                  </a:lnTo>
                  <a:lnTo>
                    <a:pt x="770" y="323"/>
                  </a:lnTo>
                  <a:lnTo>
                    <a:pt x="770" y="327"/>
                  </a:lnTo>
                  <a:lnTo>
                    <a:pt x="774" y="327"/>
                  </a:lnTo>
                  <a:lnTo>
                    <a:pt x="770" y="327"/>
                  </a:lnTo>
                  <a:lnTo>
                    <a:pt x="770" y="331"/>
                  </a:lnTo>
                  <a:lnTo>
                    <a:pt x="774" y="331"/>
                  </a:lnTo>
                  <a:close/>
                  <a:moveTo>
                    <a:pt x="766" y="347"/>
                  </a:moveTo>
                  <a:lnTo>
                    <a:pt x="762" y="347"/>
                  </a:lnTo>
                  <a:lnTo>
                    <a:pt x="758" y="343"/>
                  </a:lnTo>
                  <a:lnTo>
                    <a:pt x="754" y="343"/>
                  </a:lnTo>
                  <a:lnTo>
                    <a:pt x="750" y="339"/>
                  </a:lnTo>
                  <a:lnTo>
                    <a:pt x="742" y="339"/>
                  </a:lnTo>
                  <a:lnTo>
                    <a:pt x="742" y="335"/>
                  </a:lnTo>
                  <a:lnTo>
                    <a:pt x="738" y="335"/>
                  </a:lnTo>
                  <a:lnTo>
                    <a:pt x="734" y="327"/>
                  </a:lnTo>
                  <a:lnTo>
                    <a:pt x="738" y="327"/>
                  </a:lnTo>
                  <a:lnTo>
                    <a:pt x="742" y="327"/>
                  </a:lnTo>
                  <a:lnTo>
                    <a:pt x="746" y="327"/>
                  </a:lnTo>
                  <a:lnTo>
                    <a:pt x="750" y="327"/>
                  </a:lnTo>
                  <a:lnTo>
                    <a:pt x="754" y="327"/>
                  </a:lnTo>
                  <a:lnTo>
                    <a:pt x="754" y="331"/>
                  </a:lnTo>
                  <a:lnTo>
                    <a:pt x="758" y="331"/>
                  </a:lnTo>
                  <a:lnTo>
                    <a:pt x="762" y="331"/>
                  </a:lnTo>
                  <a:lnTo>
                    <a:pt x="762" y="335"/>
                  </a:lnTo>
                  <a:lnTo>
                    <a:pt x="766" y="335"/>
                  </a:lnTo>
                  <a:lnTo>
                    <a:pt x="770" y="335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66" y="339"/>
                  </a:lnTo>
                  <a:lnTo>
                    <a:pt x="762" y="339"/>
                  </a:lnTo>
                  <a:lnTo>
                    <a:pt x="762" y="343"/>
                  </a:lnTo>
                  <a:lnTo>
                    <a:pt x="766" y="343"/>
                  </a:lnTo>
                  <a:lnTo>
                    <a:pt x="770" y="343"/>
                  </a:lnTo>
                  <a:lnTo>
                    <a:pt x="770" y="347"/>
                  </a:lnTo>
                  <a:lnTo>
                    <a:pt x="766" y="347"/>
                  </a:lnTo>
                  <a:close/>
                  <a:moveTo>
                    <a:pt x="263" y="355"/>
                  </a:moveTo>
                  <a:lnTo>
                    <a:pt x="267" y="355"/>
                  </a:lnTo>
                  <a:lnTo>
                    <a:pt x="263" y="355"/>
                  </a:lnTo>
                  <a:lnTo>
                    <a:pt x="259" y="355"/>
                  </a:lnTo>
                  <a:lnTo>
                    <a:pt x="263" y="355"/>
                  </a:lnTo>
                  <a:close/>
                  <a:moveTo>
                    <a:pt x="299" y="363"/>
                  </a:moveTo>
                  <a:lnTo>
                    <a:pt x="295" y="363"/>
                  </a:lnTo>
                  <a:lnTo>
                    <a:pt x="295" y="359"/>
                  </a:lnTo>
                  <a:lnTo>
                    <a:pt x="299" y="359"/>
                  </a:lnTo>
                  <a:lnTo>
                    <a:pt x="303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7" y="363"/>
                  </a:lnTo>
                  <a:lnTo>
                    <a:pt x="303" y="363"/>
                  </a:lnTo>
                  <a:lnTo>
                    <a:pt x="299" y="363"/>
                  </a:lnTo>
                  <a:close/>
                  <a:moveTo>
                    <a:pt x="299" y="371"/>
                  </a:moveTo>
                  <a:lnTo>
                    <a:pt x="303" y="371"/>
                  </a:lnTo>
                  <a:lnTo>
                    <a:pt x="303" y="367"/>
                  </a:lnTo>
                  <a:lnTo>
                    <a:pt x="307" y="371"/>
                  </a:lnTo>
                  <a:lnTo>
                    <a:pt x="311" y="371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299" y="375"/>
                  </a:lnTo>
                  <a:lnTo>
                    <a:pt x="299" y="371"/>
                  </a:lnTo>
                  <a:close/>
                  <a:moveTo>
                    <a:pt x="295" y="371"/>
                  </a:moveTo>
                  <a:lnTo>
                    <a:pt x="295" y="375"/>
                  </a:lnTo>
                  <a:lnTo>
                    <a:pt x="295" y="379"/>
                  </a:lnTo>
                  <a:lnTo>
                    <a:pt x="291" y="379"/>
                  </a:lnTo>
                  <a:lnTo>
                    <a:pt x="287" y="375"/>
                  </a:lnTo>
                  <a:lnTo>
                    <a:pt x="291" y="375"/>
                  </a:lnTo>
                  <a:lnTo>
                    <a:pt x="291" y="371"/>
                  </a:lnTo>
                  <a:lnTo>
                    <a:pt x="295" y="371"/>
                  </a:lnTo>
                  <a:close/>
                  <a:moveTo>
                    <a:pt x="718" y="379"/>
                  </a:moveTo>
                  <a:lnTo>
                    <a:pt x="722" y="383"/>
                  </a:lnTo>
                  <a:lnTo>
                    <a:pt x="722" y="387"/>
                  </a:lnTo>
                  <a:lnTo>
                    <a:pt x="718" y="391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694" y="395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82" y="391"/>
                  </a:lnTo>
                  <a:lnTo>
                    <a:pt x="686" y="391"/>
                  </a:lnTo>
                  <a:lnTo>
                    <a:pt x="686" y="387"/>
                  </a:lnTo>
                  <a:lnTo>
                    <a:pt x="690" y="387"/>
                  </a:lnTo>
                  <a:lnTo>
                    <a:pt x="694" y="383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706" y="383"/>
                  </a:lnTo>
                  <a:lnTo>
                    <a:pt x="706" y="379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close/>
                  <a:moveTo>
                    <a:pt x="319" y="379"/>
                  </a:moveTo>
                  <a:lnTo>
                    <a:pt x="323" y="383"/>
                  </a:lnTo>
                  <a:lnTo>
                    <a:pt x="319" y="383"/>
                  </a:lnTo>
                  <a:lnTo>
                    <a:pt x="315" y="383"/>
                  </a:lnTo>
                  <a:lnTo>
                    <a:pt x="315" y="379"/>
                  </a:lnTo>
                  <a:lnTo>
                    <a:pt x="319" y="379"/>
                  </a:lnTo>
                  <a:close/>
                  <a:moveTo>
                    <a:pt x="694" y="383"/>
                  </a:moveTo>
                  <a:lnTo>
                    <a:pt x="690" y="383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4" y="383"/>
                  </a:lnTo>
                  <a:close/>
                  <a:moveTo>
                    <a:pt x="323" y="391"/>
                  </a:moveTo>
                  <a:lnTo>
                    <a:pt x="323" y="387"/>
                  </a:lnTo>
                  <a:lnTo>
                    <a:pt x="319" y="387"/>
                  </a:lnTo>
                  <a:lnTo>
                    <a:pt x="323" y="387"/>
                  </a:lnTo>
                  <a:lnTo>
                    <a:pt x="327" y="387"/>
                  </a:lnTo>
                  <a:lnTo>
                    <a:pt x="323" y="391"/>
                  </a:lnTo>
                  <a:close/>
                  <a:moveTo>
                    <a:pt x="710" y="391"/>
                  </a:moveTo>
                  <a:lnTo>
                    <a:pt x="710" y="395"/>
                  </a:lnTo>
                  <a:lnTo>
                    <a:pt x="706" y="395"/>
                  </a:lnTo>
                  <a:lnTo>
                    <a:pt x="706" y="391"/>
                  </a:lnTo>
                  <a:lnTo>
                    <a:pt x="710" y="391"/>
                  </a:lnTo>
                  <a:close/>
                  <a:moveTo>
                    <a:pt x="271" y="395"/>
                  </a:moveTo>
                  <a:lnTo>
                    <a:pt x="275" y="395"/>
                  </a:lnTo>
                  <a:lnTo>
                    <a:pt x="279" y="395"/>
                  </a:lnTo>
                  <a:lnTo>
                    <a:pt x="275" y="395"/>
                  </a:lnTo>
                  <a:lnTo>
                    <a:pt x="271" y="395"/>
                  </a:lnTo>
                  <a:close/>
                  <a:moveTo>
                    <a:pt x="283" y="423"/>
                  </a:moveTo>
                  <a:lnTo>
                    <a:pt x="287" y="423"/>
                  </a:lnTo>
                  <a:lnTo>
                    <a:pt x="291" y="423"/>
                  </a:lnTo>
                  <a:lnTo>
                    <a:pt x="295" y="423"/>
                  </a:lnTo>
                  <a:lnTo>
                    <a:pt x="295" y="419"/>
                  </a:lnTo>
                  <a:lnTo>
                    <a:pt x="299" y="419"/>
                  </a:lnTo>
                  <a:lnTo>
                    <a:pt x="295" y="419"/>
                  </a:lnTo>
                  <a:lnTo>
                    <a:pt x="291" y="419"/>
                  </a:lnTo>
                  <a:lnTo>
                    <a:pt x="291" y="423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79" y="419"/>
                  </a:lnTo>
                  <a:lnTo>
                    <a:pt x="275" y="419"/>
                  </a:lnTo>
                  <a:lnTo>
                    <a:pt x="271" y="415"/>
                  </a:lnTo>
                  <a:lnTo>
                    <a:pt x="275" y="415"/>
                  </a:lnTo>
                  <a:lnTo>
                    <a:pt x="279" y="415"/>
                  </a:lnTo>
                  <a:lnTo>
                    <a:pt x="283" y="415"/>
                  </a:lnTo>
                  <a:lnTo>
                    <a:pt x="279" y="415"/>
                  </a:lnTo>
                  <a:lnTo>
                    <a:pt x="279" y="411"/>
                  </a:lnTo>
                  <a:lnTo>
                    <a:pt x="275" y="411"/>
                  </a:lnTo>
                  <a:lnTo>
                    <a:pt x="275" y="407"/>
                  </a:lnTo>
                  <a:lnTo>
                    <a:pt x="279" y="407"/>
                  </a:lnTo>
                  <a:lnTo>
                    <a:pt x="283" y="407"/>
                  </a:lnTo>
                  <a:lnTo>
                    <a:pt x="283" y="411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5" y="407"/>
                  </a:lnTo>
                  <a:lnTo>
                    <a:pt x="275" y="403"/>
                  </a:lnTo>
                  <a:lnTo>
                    <a:pt x="275" y="399"/>
                  </a:lnTo>
                  <a:lnTo>
                    <a:pt x="279" y="399"/>
                  </a:lnTo>
                  <a:lnTo>
                    <a:pt x="283" y="399"/>
                  </a:lnTo>
                  <a:lnTo>
                    <a:pt x="287" y="399"/>
                  </a:lnTo>
                  <a:lnTo>
                    <a:pt x="291" y="399"/>
                  </a:lnTo>
                  <a:lnTo>
                    <a:pt x="295" y="399"/>
                  </a:lnTo>
                  <a:lnTo>
                    <a:pt x="299" y="403"/>
                  </a:lnTo>
                  <a:lnTo>
                    <a:pt x="303" y="403"/>
                  </a:lnTo>
                  <a:lnTo>
                    <a:pt x="303" y="407"/>
                  </a:lnTo>
                  <a:lnTo>
                    <a:pt x="307" y="407"/>
                  </a:lnTo>
                  <a:lnTo>
                    <a:pt x="307" y="411"/>
                  </a:lnTo>
                  <a:lnTo>
                    <a:pt x="311" y="411"/>
                  </a:lnTo>
                  <a:lnTo>
                    <a:pt x="315" y="411"/>
                  </a:lnTo>
                  <a:lnTo>
                    <a:pt x="319" y="411"/>
                  </a:lnTo>
                  <a:lnTo>
                    <a:pt x="319" y="415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5" y="423"/>
                  </a:lnTo>
                  <a:lnTo>
                    <a:pt x="311" y="423"/>
                  </a:lnTo>
                  <a:lnTo>
                    <a:pt x="307" y="423"/>
                  </a:lnTo>
                  <a:lnTo>
                    <a:pt x="303" y="423"/>
                  </a:lnTo>
                  <a:lnTo>
                    <a:pt x="299" y="427"/>
                  </a:lnTo>
                  <a:lnTo>
                    <a:pt x="295" y="427"/>
                  </a:lnTo>
                  <a:lnTo>
                    <a:pt x="291" y="427"/>
                  </a:lnTo>
                  <a:lnTo>
                    <a:pt x="287" y="427"/>
                  </a:lnTo>
                  <a:lnTo>
                    <a:pt x="287" y="423"/>
                  </a:lnTo>
                  <a:lnTo>
                    <a:pt x="283" y="423"/>
                  </a:lnTo>
                  <a:close/>
                  <a:moveTo>
                    <a:pt x="331" y="411"/>
                  </a:moveTo>
                  <a:lnTo>
                    <a:pt x="335" y="411"/>
                  </a:lnTo>
                  <a:lnTo>
                    <a:pt x="339" y="411"/>
                  </a:lnTo>
                  <a:lnTo>
                    <a:pt x="335" y="415"/>
                  </a:lnTo>
                  <a:lnTo>
                    <a:pt x="335" y="419"/>
                  </a:lnTo>
                  <a:lnTo>
                    <a:pt x="331" y="419"/>
                  </a:lnTo>
                  <a:lnTo>
                    <a:pt x="327" y="415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1" y="407"/>
                  </a:lnTo>
                  <a:lnTo>
                    <a:pt x="331" y="411"/>
                  </a:lnTo>
                  <a:close/>
                  <a:moveTo>
                    <a:pt x="315" y="443"/>
                  </a:moveTo>
                  <a:lnTo>
                    <a:pt x="311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3" y="447"/>
                  </a:lnTo>
                  <a:lnTo>
                    <a:pt x="299" y="447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11" y="443"/>
                  </a:lnTo>
                  <a:lnTo>
                    <a:pt x="315" y="443"/>
                  </a:lnTo>
                  <a:close/>
                  <a:moveTo>
                    <a:pt x="315" y="455"/>
                  </a:moveTo>
                  <a:lnTo>
                    <a:pt x="319" y="455"/>
                  </a:lnTo>
                  <a:lnTo>
                    <a:pt x="323" y="455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9" y="459"/>
                  </a:lnTo>
                  <a:lnTo>
                    <a:pt x="315" y="459"/>
                  </a:lnTo>
                  <a:lnTo>
                    <a:pt x="311" y="455"/>
                  </a:lnTo>
                  <a:lnTo>
                    <a:pt x="315" y="455"/>
                  </a:lnTo>
                  <a:close/>
                  <a:moveTo>
                    <a:pt x="654" y="455"/>
                  </a:moveTo>
                  <a:lnTo>
                    <a:pt x="654" y="459"/>
                  </a:lnTo>
                  <a:lnTo>
                    <a:pt x="654" y="455"/>
                  </a:lnTo>
                  <a:lnTo>
                    <a:pt x="650" y="455"/>
                  </a:lnTo>
                  <a:lnTo>
                    <a:pt x="654" y="455"/>
                  </a:lnTo>
                  <a:close/>
                  <a:moveTo>
                    <a:pt x="319" y="459"/>
                  </a:moveTo>
                  <a:lnTo>
                    <a:pt x="327" y="455"/>
                  </a:lnTo>
                  <a:lnTo>
                    <a:pt x="331" y="459"/>
                  </a:lnTo>
                  <a:lnTo>
                    <a:pt x="327" y="459"/>
                  </a:lnTo>
                  <a:lnTo>
                    <a:pt x="323" y="459"/>
                  </a:lnTo>
                  <a:lnTo>
                    <a:pt x="319" y="459"/>
                  </a:lnTo>
                  <a:close/>
                  <a:moveTo>
                    <a:pt x="295" y="459"/>
                  </a:moveTo>
                  <a:lnTo>
                    <a:pt x="299" y="459"/>
                  </a:lnTo>
                  <a:lnTo>
                    <a:pt x="295" y="459"/>
                  </a:lnTo>
                  <a:close/>
                  <a:moveTo>
                    <a:pt x="291" y="471"/>
                  </a:moveTo>
                  <a:lnTo>
                    <a:pt x="291" y="467"/>
                  </a:lnTo>
                  <a:lnTo>
                    <a:pt x="295" y="467"/>
                  </a:lnTo>
                  <a:lnTo>
                    <a:pt x="291" y="471"/>
                  </a:lnTo>
                  <a:close/>
                  <a:moveTo>
                    <a:pt x="291" y="511"/>
                  </a:moveTo>
                  <a:lnTo>
                    <a:pt x="295" y="511"/>
                  </a:lnTo>
                  <a:lnTo>
                    <a:pt x="291" y="511"/>
                  </a:lnTo>
                  <a:close/>
                  <a:moveTo>
                    <a:pt x="550" y="519"/>
                  </a:moveTo>
                  <a:lnTo>
                    <a:pt x="550" y="515"/>
                  </a:lnTo>
                  <a:lnTo>
                    <a:pt x="550" y="519"/>
                  </a:lnTo>
                  <a:close/>
                  <a:moveTo>
                    <a:pt x="554" y="519"/>
                  </a:moveTo>
                  <a:lnTo>
                    <a:pt x="554" y="515"/>
                  </a:lnTo>
                  <a:lnTo>
                    <a:pt x="558" y="515"/>
                  </a:lnTo>
                  <a:lnTo>
                    <a:pt x="558" y="519"/>
                  </a:lnTo>
                  <a:lnTo>
                    <a:pt x="554" y="519"/>
                  </a:lnTo>
                  <a:close/>
                  <a:moveTo>
                    <a:pt x="534" y="523"/>
                  </a:moveTo>
                  <a:lnTo>
                    <a:pt x="530" y="523"/>
                  </a:lnTo>
                  <a:lnTo>
                    <a:pt x="530" y="519"/>
                  </a:lnTo>
                  <a:lnTo>
                    <a:pt x="530" y="515"/>
                  </a:lnTo>
                  <a:lnTo>
                    <a:pt x="534" y="515"/>
                  </a:lnTo>
                  <a:lnTo>
                    <a:pt x="538" y="515"/>
                  </a:lnTo>
                  <a:lnTo>
                    <a:pt x="538" y="519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23"/>
                  </a:lnTo>
                  <a:lnTo>
                    <a:pt x="534" y="523"/>
                  </a:lnTo>
                  <a:close/>
                  <a:moveTo>
                    <a:pt x="506" y="531"/>
                  </a:moveTo>
                  <a:lnTo>
                    <a:pt x="502" y="531"/>
                  </a:lnTo>
                  <a:lnTo>
                    <a:pt x="506" y="531"/>
                  </a:lnTo>
                  <a:close/>
                  <a:moveTo>
                    <a:pt x="494" y="555"/>
                  </a:moveTo>
                  <a:lnTo>
                    <a:pt x="494" y="551"/>
                  </a:lnTo>
                  <a:lnTo>
                    <a:pt x="490" y="551"/>
                  </a:lnTo>
                  <a:lnTo>
                    <a:pt x="490" y="547"/>
                  </a:lnTo>
                  <a:lnTo>
                    <a:pt x="486" y="543"/>
                  </a:lnTo>
                  <a:lnTo>
                    <a:pt x="490" y="543"/>
                  </a:lnTo>
                  <a:lnTo>
                    <a:pt x="494" y="547"/>
                  </a:lnTo>
                  <a:lnTo>
                    <a:pt x="490" y="547"/>
                  </a:lnTo>
                  <a:lnTo>
                    <a:pt x="494" y="551"/>
                  </a:lnTo>
                  <a:lnTo>
                    <a:pt x="498" y="551"/>
                  </a:lnTo>
                  <a:lnTo>
                    <a:pt x="498" y="555"/>
                  </a:lnTo>
                  <a:lnTo>
                    <a:pt x="494" y="555"/>
                  </a:lnTo>
                  <a:close/>
                  <a:moveTo>
                    <a:pt x="331" y="551"/>
                  </a:moveTo>
                  <a:lnTo>
                    <a:pt x="331" y="555"/>
                  </a:lnTo>
                  <a:lnTo>
                    <a:pt x="327" y="555"/>
                  </a:lnTo>
                  <a:lnTo>
                    <a:pt x="327" y="551"/>
                  </a:lnTo>
                  <a:lnTo>
                    <a:pt x="331" y="551"/>
                  </a:lnTo>
                  <a:close/>
                  <a:moveTo>
                    <a:pt x="335" y="551"/>
                  </a:moveTo>
                  <a:lnTo>
                    <a:pt x="335" y="555"/>
                  </a:lnTo>
                  <a:lnTo>
                    <a:pt x="331" y="555"/>
                  </a:lnTo>
                  <a:lnTo>
                    <a:pt x="331" y="559"/>
                  </a:lnTo>
                  <a:lnTo>
                    <a:pt x="327" y="559"/>
                  </a:lnTo>
                  <a:lnTo>
                    <a:pt x="331" y="555"/>
                  </a:lnTo>
                  <a:lnTo>
                    <a:pt x="331" y="551"/>
                  </a:lnTo>
                  <a:lnTo>
                    <a:pt x="335" y="551"/>
                  </a:lnTo>
                  <a:close/>
                  <a:moveTo>
                    <a:pt x="327" y="555"/>
                  </a:moveTo>
                  <a:lnTo>
                    <a:pt x="327" y="559"/>
                  </a:lnTo>
                  <a:lnTo>
                    <a:pt x="323" y="559"/>
                  </a:lnTo>
                  <a:lnTo>
                    <a:pt x="327" y="555"/>
                  </a:lnTo>
                  <a:close/>
                  <a:moveTo>
                    <a:pt x="482" y="559"/>
                  </a:moveTo>
                  <a:lnTo>
                    <a:pt x="478" y="559"/>
                  </a:lnTo>
                  <a:lnTo>
                    <a:pt x="478" y="555"/>
                  </a:lnTo>
                  <a:lnTo>
                    <a:pt x="482" y="559"/>
                  </a:lnTo>
                  <a:close/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00" name="Freeform 64">
              <a:extLst>
                <a:ext uri="{FF2B5EF4-FFF2-40B4-BE49-F238E27FC236}">
                  <a16:creationId xmlns:a16="http://schemas.microsoft.com/office/drawing/2014/main" xmlns="" id="{BE5F2651-D9AE-4D42-A284-6303BFE77F46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gray">
            <a:xfrm>
              <a:off x="2305704" y="4106544"/>
              <a:ext cx="87500" cy="112713"/>
            </a:xfrm>
            <a:custGeom>
              <a:avLst/>
              <a:gdLst/>
              <a:ahLst/>
              <a:cxnLst>
                <a:cxn ang="0">
                  <a:pos x="40" y="64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36" y="72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2"/>
                </a:cxn>
                <a:cxn ang="0">
                  <a:pos x="24" y="72"/>
                </a:cxn>
                <a:cxn ang="0">
                  <a:pos x="16" y="72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8" y="32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28" y="32"/>
                </a:cxn>
                <a:cxn ang="0">
                  <a:pos x="28" y="28"/>
                </a:cxn>
                <a:cxn ang="0">
                  <a:pos x="24" y="28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4" y="0"/>
                </a:cxn>
                <a:cxn ang="0">
                  <a:pos x="48" y="16"/>
                </a:cxn>
                <a:cxn ang="0">
                  <a:pos x="44" y="36"/>
                </a:cxn>
                <a:cxn ang="0">
                  <a:pos x="52" y="36"/>
                </a:cxn>
                <a:cxn ang="0">
                  <a:pos x="52" y="36"/>
                </a:cxn>
                <a:cxn ang="0">
                  <a:pos x="56" y="40"/>
                </a:cxn>
                <a:cxn ang="0">
                  <a:pos x="56" y="36"/>
                </a:cxn>
                <a:cxn ang="0">
                  <a:pos x="59" y="40"/>
                </a:cxn>
                <a:cxn ang="0">
                  <a:pos x="59" y="40"/>
                </a:cxn>
                <a:cxn ang="0">
                  <a:pos x="56" y="48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44" y="56"/>
                </a:cxn>
                <a:cxn ang="0">
                  <a:pos x="48" y="60"/>
                </a:cxn>
                <a:cxn ang="0">
                  <a:pos x="44" y="64"/>
                </a:cxn>
              </a:cxnLst>
              <a:rect l="0" t="0" r="r" b="b"/>
              <a:pathLst>
                <a:path w="59" h="76">
                  <a:moveTo>
                    <a:pt x="44" y="64"/>
                  </a:move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0" y="12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16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01" name="Freeform 65">
              <a:extLst>
                <a:ext uri="{FF2B5EF4-FFF2-40B4-BE49-F238E27FC236}">
                  <a16:creationId xmlns:a16="http://schemas.microsoft.com/office/drawing/2014/main" xmlns="" id="{A3D82668-3184-4650-A02F-AC944C0331A3}"/>
                </a:ext>
              </a:extLst>
            </p:cNvPr>
            <p:cNvSpPr>
              <a:spLocks noEditPoints="1"/>
            </p:cNvSpPr>
            <p:nvPr>
              <p:custDataLst>
                <p:tags r:id="rId65"/>
              </p:custDataLst>
            </p:nvPr>
          </p:nvSpPr>
          <p:spPr bwMode="gray">
            <a:xfrm>
              <a:off x="2701682" y="4047221"/>
              <a:ext cx="65255" cy="533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0" y="8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28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0"/>
                </a:cxn>
                <a:cxn ang="0">
                  <a:pos x="28" y="12"/>
                </a:cxn>
                <a:cxn ang="0">
                  <a:pos x="24" y="8"/>
                </a:cxn>
                <a:cxn ang="0">
                  <a:pos x="24" y="24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8" y="24"/>
                </a:cxn>
                <a:cxn ang="0">
                  <a:pos x="28" y="24"/>
                </a:cxn>
              </a:cxnLst>
              <a:rect l="0" t="0" r="r" b="b"/>
              <a:pathLst>
                <a:path w="44" h="36">
                  <a:moveTo>
                    <a:pt x="28" y="0"/>
                  </a:move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4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close/>
                  <a:moveTo>
                    <a:pt x="28" y="24"/>
                  </a:move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02" name="Freeform 66">
              <a:extLst>
                <a:ext uri="{FF2B5EF4-FFF2-40B4-BE49-F238E27FC236}">
                  <a16:creationId xmlns:a16="http://schemas.microsoft.com/office/drawing/2014/main" xmlns="" id="{9EE66383-787D-41E1-A1EF-F0E4ED00F34E}"/>
                </a:ext>
              </a:extLst>
            </p:cNvPr>
            <p:cNvSpPr>
              <a:spLocks noEditPoints="1"/>
            </p:cNvSpPr>
            <p:nvPr>
              <p:custDataLst>
                <p:tags r:id="rId66"/>
              </p:custDataLst>
            </p:nvPr>
          </p:nvSpPr>
          <p:spPr bwMode="gray">
            <a:xfrm>
              <a:off x="2370958" y="4148069"/>
              <a:ext cx="140891" cy="94916"/>
            </a:xfrm>
            <a:custGeom>
              <a:avLst/>
              <a:gdLst/>
              <a:ahLst/>
              <a:cxnLst>
                <a:cxn ang="0">
                  <a:pos x="39" y="56"/>
                </a:cxn>
                <a:cxn ang="0">
                  <a:pos x="35" y="60"/>
                </a:cxn>
                <a:cxn ang="0">
                  <a:pos x="35" y="64"/>
                </a:cxn>
                <a:cxn ang="0">
                  <a:pos x="27" y="60"/>
                </a:cxn>
                <a:cxn ang="0">
                  <a:pos x="27" y="56"/>
                </a:cxn>
                <a:cxn ang="0">
                  <a:pos x="27" y="56"/>
                </a:cxn>
                <a:cxn ang="0">
                  <a:pos x="23" y="56"/>
                </a:cxn>
                <a:cxn ang="0">
                  <a:pos x="23" y="56"/>
                </a:cxn>
                <a:cxn ang="0">
                  <a:pos x="23" y="48"/>
                </a:cxn>
                <a:cxn ang="0">
                  <a:pos x="19" y="48"/>
                </a:cxn>
                <a:cxn ang="0">
                  <a:pos x="19" y="44"/>
                </a:cxn>
                <a:cxn ang="0">
                  <a:pos x="15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5" y="12"/>
                </a:cxn>
                <a:cxn ang="0">
                  <a:pos x="19" y="8"/>
                </a:cxn>
                <a:cxn ang="0">
                  <a:pos x="23" y="8"/>
                </a:cxn>
                <a:cxn ang="0">
                  <a:pos x="31" y="8"/>
                </a:cxn>
                <a:cxn ang="0">
                  <a:pos x="39" y="12"/>
                </a:cxn>
                <a:cxn ang="0">
                  <a:pos x="43" y="12"/>
                </a:cxn>
                <a:cxn ang="0">
                  <a:pos x="47" y="8"/>
                </a:cxn>
                <a:cxn ang="0">
                  <a:pos x="51" y="8"/>
                </a:cxn>
                <a:cxn ang="0">
                  <a:pos x="51" y="8"/>
                </a:cxn>
                <a:cxn ang="0">
                  <a:pos x="55" y="8"/>
                </a:cxn>
                <a:cxn ang="0">
                  <a:pos x="63" y="8"/>
                </a:cxn>
                <a:cxn ang="0">
                  <a:pos x="71" y="8"/>
                </a:cxn>
                <a:cxn ang="0">
                  <a:pos x="71" y="8"/>
                </a:cxn>
                <a:cxn ang="0">
                  <a:pos x="83" y="16"/>
                </a:cxn>
                <a:cxn ang="0">
                  <a:pos x="79" y="20"/>
                </a:cxn>
                <a:cxn ang="0">
                  <a:pos x="79" y="20"/>
                </a:cxn>
                <a:cxn ang="0">
                  <a:pos x="83" y="20"/>
                </a:cxn>
                <a:cxn ang="0">
                  <a:pos x="87" y="20"/>
                </a:cxn>
                <a:cxn ang="0">
                  <a:pos x="87" y="24"/>
                </a:cxn>
                <a:cxn ang="0">
                  <a:pos x="87" y="20"/>
                </a:cxn>
                <a:cxn ang="0">
                  <a:pos x="91" y="20"/>
                </a:cxn>
                <a:cxn ang="0">
                  <a:pos x="91" y="24"/>
                </a:cxn>
                <a:cxn ang="0">
                  <a:pos x="91" y="24"/>
                </a:cxn>
                <a:cxn ang="0">
                  <a:pos x="83" y="28"/>
                </a:cxn>
                <a:cxn ang="0">
                  <a:pos x="71" y="32"/>
                </a:cxn>
                <a:cxn ang="0">
                  <a:pos x="63" y="32"/>
                </a:cxn>
                <a:cxn ang="0">
                  <a:pos x="63" y="36"/>
                </a:cxn>
                <a:cxn ang="0">
                  <a:pos x="63" y="40"/>
                </a:cxn>
                <a:cxn ang="0">
                  <a:pos x="59" y="40"/>
                </a:cxn>
                <a:cxn ang="0">
                  <a:pos x="55" y="48"/>
                </a:cxn>
                <a:cxn ang="0">
                  <a:pos x="51" y="44"/>
                </a:cxn>
                <a:cxn ang="0">
                  <a:pos x="47" y="44"/>
                </a:cxn>
                <a:cxn ang="0">
                  <a:pos x="39" y="48"/>
                </a:cxn>
                <a:cxn ang="0">
                  <a:pos x="39" y="0"/>
                </a:cxn>
                <a:cxn ang="0">
                  <a:pos x="43" y="0"/>
                </a:cxn>
                <a:cxn ang="0">
                  <a:pos x="39" y="0"/>
                </a:cxn>
              </a:cxnLst>
              <a:rect l="0" t="0" r="r" b="b"/>
              <a:pathLst>
                <a:path w="95" h="64">
                  <a:moveTo>
                    <a:pt x="39" y="48"/>
                  </a:moveTo>
                  <a:lnTo>
                    <a:pt x="39" y="52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7" y="8"/>
                  </a:lnTo>
                  <a:lnTo>
                    <a:pt x="71" y="8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5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5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7" y="24"/>
                  </a:lnTo>
                  <a:lnTo>
                    <a:pt x="87" y="28"/>
                  </a:lnTo>
                  <a:lnTo>
                    <a:pt x="87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03" name="Freeform 67">
              <a:extLst>
                <a:ext uri="{FF2B5EF4-FFF2-40B4-BE49-F238E27FC236}">
                  <a16:creationId xmlns:a16="http://schemas.microsoft.com/office/drawing/2014/main" xmlns="" id="{F9DD2172-EB27-42CC-9AF5-E542DBA37750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gray">
            <a:xfrm>
              <a:off x="2618631" y="4088747"/>
              <a:ext cx="47458" cy="23729"/>
            </a:xfrm>
            <a:custGeom>
              <a:avLst/>
              <a:gdLst/>
              <a:ahLst/>
              <a:cxnLst>
                <a:cxn ang="0">
                  <a:pos x="24" y="12"/>
                </a:cxn>
                <a:cxn ang="0">
                  <a:pos x="24" y="12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2"/>
                </a:cxn>
              </a:cxnLst>
              <a:rect l="0" t="0" r="r" b="b"/>
              <a:pathLst>
                <a:path w="32" h="16"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04" name="Freeform 68">
              <a:extLst>
                <a:ext uri="{FF2B5EF4-FFF2-40B4-BE49-F238E27FC236}">
                  <a16:creationId xmlns:a16="http://schemas.microsoft.com/office/drawing/2014/main" xmlns="" id="{89D8FE52-C8ED-4E5D-85A7-3A26EED36E64}"/>
                </a:ext>
              </a:extLst>
            </p:cNvPr>
            <p:cNvSpPr>
              <a:spLocks noEditPoints="1"/>
            </p:cNvSpPr>
            <p:nvPr>
              <p:custDataLst>
                <p:tags r:id="rId68"/>
              </p:custDataLst>
            </p:nvPr>
          </p:nvSpPr>
          <p:spPr bwMode="gray">
            <a:xfrm>
              <a:off x="1719894" y="3680904"/>
              <a:ext cx="708905" cy="514623"/>
            </a:xfrm>
            <a:custGeom>
              <a:avLst/>
              <a:gdLst/>
              <a:ahLst/>
              <a:cxnLst>
                <a:cxn ang="0">
                  <a:pos x="96" y="144"/>
                </a:cxn>
                <a:cxn ang="0">
                  <a:pos x="80" y="120"/>
                </a:cxn>
                <a:cxn ang="0">
                  <a:pos x="64" y="112"/>
                </a:cxn>
                <a:cxn ang="0">
                  <a:pos x="60" y="96"/>
                </a:cxn>
                <a:cxn ang="0">
                  <a:pos x="52" y="68"/>
                </a:cxn>
                <a:cxn ang="0">
                  <a:pos x="36" y="40"/>
                </a:cxn>
                <a:cxn ang="0">
                  <a:pos x="20" y="4"/>
                </a:cxn>
                <a:cxn ang="0">
                  <a:pos x="56" y="8"/>
                </a:cxn>
                <a:cxn ang="0">
                  <a:pos x="111" y="28"/>
                </a:cxn>
                <a:cxn ang="0">
                  <a:pos x="167" y="20"/>
                </a:cxn>
                <a:cxn ang="0">
                  <a:pos x="195" y="40"/>
                </a:cxn>
                <a:cxn ang="0">
                  <a:pos x="223" y="72"/>
                </a:cxn>
                <a:cxn ang="0">
                  <a:pos x="247" y="60"/>
                </a:cxn>
                <a:cxn ang="0">
                  <a:pos x="275" y="88"/>
                </a:cxn>
                <a:cxn ang="0">
                  <a:pos x="295" y="124"/>
                </a:cxn>
                <a:cxn ang="0">
                  <a:pos x="319" y="140"/>
                </a:cxn>
                <a:cxn ang="0">
                  <a:pos x="311" y="184"/>
                </a:cxn>
                <a:cxn ang="0">
                  <a:pos x="315" y="224"/>
                </a:cxn>
                <a:cxn ang="0">
                  <a:pos x="315" y="228"/>
                </a:cxn>
                <a:cxn ang="0">
                  <a:pos x="339" y="267"/>
                </a:cxn>
                <a:cxn ang="0">
                  <a:pos x="375" y="279"/>
                </a:cxn>
                <a:cxn ang="0">
                  <a:pos x="399" y="275"/>
                </a:cxn>
                <a:cxn ang="0">
                  <a:pos x="419" y="255"/>
                </a:cxn>
                <a:cxn ang="0">
                  <a:pos x="431" y="224"/>
                </a:cxn>
                <a:cxn ang="0">
                  <a:pos x="462" y="220"/>
                </a:cxn>
                <a:cxn ang="0">
                  <a:pos x="474" y="236"/>
                </a:cxn>
                <a:cxn ang="0">
                  <a:pos x="462" y="259"/>
                </a:cxn>
                <a:cxn ang="0">
                  <a:pos x="458" y="267"/>
                </a:cxn>
                <a:cxn ang="0">
                  <a:pos x="439" y="287"/>
                </a:cxn>
                <a:cxn ang="0">
                  <a:pos x="419" y="311"/>
                </a:cxn>
                <a:cxn ang="0">
                  <a:pos x="395" y="343"/>
                </a:cxn>
                <a:cxn ang="0">
                  <a:pos x="371" y="323"/>
                </a:cxn>
                <a:cxn ang="0">
                  <a:pos x="355" y="315"/>
                </a:cxn>
                <a:cxn ang="0">
                  <a:pos x="319" y="323"/>
                </a:cxn>
                <a:cxn ang="0">
                  <a:pos x="283" y="307"/>
                </a:cxn>
                <a:cxn ang="0">
                  <a:pos x="247" y="287"/>
                </a:cxn>
                <a:cxn ang="0">
                  <a:pos x="219" y="267"/>
                </a:cxn>
                <a:cxn ang="0">
                  <a:pos x="191" y="243"/>
                </a:cxn>
                <a:cxn ang="0">
                  <a:pos x="195" y="212"/>
                </a:cxn>
                <a:cxn ang="0">
                  <a:pos x="175" y="176"/>
                </a:cxn>
                <a:cxn ang="0">
                  <a:pos x="155" y="160"/>
                </a:cxn>
                <a:cxn ang="0">
                  <a:pos x="139" y="144"/>
                </a:cxn>
                <a:cxn ang="0">
                  <a:pos x="139" y="128"/>
                </a:cxn>
                <a:cxn ang="0">
                  <a:pos x="115" y="96"/>
                </a:cxn>
                <a:cxn ang="0">
                  <a:pos x="92" y="76"/>
                </a:cxn>
                <a:cxn ang="0">
                  <a:pos x="80" y="36"/>
                </a:cxn>
                <a:cxn ang="0">
                  <a:pos x="52" y="20"/>
                </a:cxn>
                <a:cxn ang="0">
                  <a:pos x="56" y="48"/>
                </a:cxn>
                <a:cxn ang="0">
                  <a:pos x="76" y="76"/>
                </a:cxn>
                <a:cxn ang="0">
                  <a:pos x="96" y="116"/>
                </a:cxn>
                <a:cxn ang="0">
                  <a:pos x="107" y="136"/>
                </a:cxn>
                <a:cxn ang="0">
                  <a:pos x="119" y="168"/>
                </a:cxn>
                <a:cxn ang="0">
                  <a:pos x="131" y="188"/>
                </a:cxn>
                <a:cxn ang="0">
                  <a:pos x="115" y="152"/>
                </a:cxn>
                <a:cxn ang="0">
                  <a:pos x="92" y="152"/>
                </a:cxn>
                <a:cxn ang="0">
                  <a:pos x="76" y="64"/>
                </a:cxn>
                <a:cxn ang="0">
                  <a:pos x="0" y="76"/>
                </a:cxn>
                <a:cxn ang="0">
                  <a:pos x="107" y="136"/>
                </a:cxn>
                <a:cxn ang="0">
                  <a:pos x="175" y="220"/>
                </a:cxn>
                <a:cxn ang="0">
                  <a:pos x="478" y="239"/>
                </a:cxn>
              </a:cxnLst>
              <a:rect l="0" t="0" r="r" b="b"/>
              <a:pathLst>
                <a:path w="478" h="347">
                  <a:moveTo>
                    <a:pt x="103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6" y="160"/>
                  </a:lnTo>
                  <a:lnTo>
                    <a:pt x="96" y="156"/>
                  </a:lnTo>
                  <a:lnTo>
                    <a:pt x="96" y="152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32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64" y="100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4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4"/>
                  </a:lnTo>
                  <a:lnTo>
                    <a:pt x="103" y="28"/>
                  </a:lnTo>
                  <a:lnTo>
                    <a:pt x="111" y="28"/>
                  </a:lnTo>
                  <a:lnTo>
                    <a:pt x="119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31" y="28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1" y="20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87" y="32"/>
                  </a:lnTo>
                  <a:lnTo>
                    <a:pt x="191" y="32"/>
                  </a:lnTo>
                  <a:lnTo>
                    <a:pt x="191" y="36"/>
                  </a:lnTo>
                  <a:lnTo>
                    <a:pt x="195" y="36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52"/>
                  </a:lnTo>
                  <a:lnTo>
                    <a:pt x="207" y="56"/>
                  </a:lnTo>
                  <a:lnTo>
                    <a:pt x="207" y="60"/>
                  </a:lnTo>
                  <a:lnTo>
                    <a:pt x="211" y="64"/>
                  </a:lnTo>
                  <a:lnTo>
                    <a:pt x="215" y="64"/>
                  </a:lnTo>
                  <a:lnTo>
                    <a:pt x="215" y="68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5" y="68"/>
                  </a:lnTo>
                  <a:lnTo>
                    <a:pt x="235" y="64"/>
                  </a:lnTo>
                  <a:lnTo>
                    <a:pt x="235" y="60"/>
                  </a:lnTo>
                  <a:lnTo>
                    <a:pt x="239" y="60"/>
                  </a:lnTo>
                  <a:lnTo>
                    <a:pt x="243" y="60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0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3" y="68"/>
                  </a:lnTo>
                  <a:lnTo>
                    <a:pt x="267" y="72"/>
                  </a:lnTo>
                  <a:lnTo>
                    <a:pt x="267" y="76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5" y="88"/>
                  </a:lnTo>
                  <a:lnTo>
                    <a:pt x="275" y="92"/>
                  </a:lnTo>
                  <a:lnTo>
                    <a:pt x="279" y="96"/>
                  </a:lnTo>
                  <a:lnTo>
                    <a:pt x="279" y="100"/>
                  </a:lnTo>
                  <a:lnTo>
                    <a:pt x="283" y="100"/>
                  </a:lnTo>
                  <a:lnTo>
                    <a:pt x="283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7" y="112"/>
                  </a:lnTo>
                  <a:lnTo>
                    <a:pt x="287" y="116"/>
                  </a:lnTo>
                  <a:lnTo>
                    <a:pt x="291" y="120"/>
                  </a:lnTo>
                  <a:lnTo>
                    <a:pt x="291" y="124"/>
                  </a:lnTo>
                  <a:lnTo>
                    <a:pt x="295" y="124"/>
                  </a:lnTo>
                  <a:lnTo>
                    <a:pt x="295" y="128"/>
                  </a:lnTo>
                  <a:lnTo>
                    <a:pt x="299" y="128"/>
                  </a:lnTo>
                  <a:lnTo>
                    <a:pt x="303" y="128"/>
                  </a:lnTo>
                  <a:lnTo>
                    <a:pt x="303" y="132"/>
                  </a:lnTo>
                  <a:lnTo>
                    <a:pt x="307" y="132"/>
                  </a:lnTo>
                  <a:lnTo>
                    <a:pt x="311" y="132"/>
                  </a:lnTo>
                  <a:lnTo>
                    <a:pt x="315" y="132"/>
                  </a:lnTo>
                  <a:lnTo>
                    <a:pt x="315" y="136"/>
                  </a:lnTo>
                  <a:lnTo>
                    <a:pt x="319" y="136"/>
                  </a:lnTo>
                  <a:lnTo>
                    <a:pt x="319" y="132"/>
                  </a:lnTo>
                  <a:lnTo>
                    <a:pt x="319" y="136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15" y="148"/>
                  </a:lnTo>
                  <a:lnTo>
                    <a:pt x="315" y="152"/>
                  </a:lnTo>
                  <a:lnTo>
                    <a:pt x="315" y="156"/>
                  </a:lnTo>
                  <a:lnTo>
                    <a:pt x="315" y="160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1" y="176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1" y="188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5" y="212"/>
                  </a:lnTo>
                  <a:lnTo>
                    <a:pt x="315" y="216"/>
                  </a:lnTo>
                  <a:lnTo>
                    <a:pt x="319" y="216"/>
                  </a:lnTo>
                  <a:lnTo>
                    <a:pt x="319" y="220"/>
                  </a:lnTo>
                  <a:lnTo>
                    <a:pt x="315" y="224"/>
                  </a:lnTo>
                  <a:lnTo>
                    <a:pt x="315" y="220"/>
                  </a:lnTo>
                  <a:lnTo>
                    <a:pt x="319" y="220"/>
                  </a:lnTo>
                  <a:lnTo>
                    <a:pt x="315" y="220"/>
                  </a:lnTo>
                  <a:lnTo>
                    <a:pt x="315" y="216"/>
                  </a:lnTo>
                  <a:lnTo>
                    <a:pt x="315" y="212"/>
                  </a:lnTo>
                  <a:lnTo>
                    <a:pt x="311" y="212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1" y="216"/>
                  </a:lnTo>
                  <a:lnTo>
                    <a:pt x="315" y="220"/>
                  </a:lnTo>
                  <a:lnTo>
                    <a:pt x="315" y="224"/>
                  </a:lnTo>
                  <a:lnTo>
                    <a:pt x="315" y="228"/>
                  </a:lnTo>
                  <a:lnTo>
                    <a:pt x="319" y="228"/>
                  </a:lnTo>
                  <a:lnTo>
                    <a:pt x="319" y="232"/>
                  </a:lnTo>
                  <a:lnTo>
                    <a:pt x="319" y="236"/>
                  </a:lnTo>
                  <a:lnTo>
                    <a:pt x="323" y="236"/>
                  </a:lnTo>
                  <a:lnTo>
                    <a:pt x="327" y="243"/>
                  </a:lnTo>
                  <a:lnTo>
                    <a:pt x="331" y="247"/>
                  </a:lnTo>
                  <a:lnTo>
                    <a:pt x="331" y="251"/>
                  </a:lnTo>
                  <a:lnTo>
                    <a:pt x="331" y="255"/>
                  </a:lnTo>
                  <a:lnTo>
                    <a:pt x="335" y="259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39" y="271"/>
                  </a:lnTo>
                  <a:lnTo>
                    <a:pt x="343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1" y="275"/>
                  </a:lnTo>
                  <a:lnTo>
                    <a:pt x="355" y="275"/>
                  </a:lnTo>
                  <a:lnTo>
                    <a:pt x="355" y="279"/>
                  </a:ln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5" y="279"/>
                  </a:lnTo>
                  <a:lnTo>
                    <a:pt x="375" y="275"/>
                  </a:lnTo>
                  <a:lnTo>
                    <a:pt x="371" y="279"/>
                  </a:lnTo>
                  <a:lnTo>
                    <a:pt x="375" y="275"/>
                  </a:lnTo>
                  <a:lnTo>
                    <a:pt x="379" y="275"/>
                  </a:lnTo>
                  <a:lnTo>
                    <a:pt x="379" y="279"/>
                  </a:lnTo>
                  <a:lnTo>
                    <a:pt x="383" y="279"/>
                  </a:lnTo>
                  <a:lnTo>
                    <a:pt x="383" y="275"/>
                  </a:lnTo>
                  <a:lnTo>
                    <a:pt x="387" y="275"/>
                  </a:lnTo>
                  <a:lnTo>
                    <a:pt x="391" y="271"/>
                  </a:lnTo>
                  <a:lnTo>
                    <a:pt x="395" y="271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403" y="275"/>
                  </a:lnTo>
                  <a:lnTo>
                    <a:pt x="399" y="275"/>
                  </a:lnTo>
                  <a:lnTo>
                    <a:pt x="403" y="279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1"/>
                  </a:lnTo>
                  <a:lnTo>
                    <a:pt x="407" y="271"/>
                  </a:lnTo>
                  <a:lnTo>
                    <a:pt x="407" y="267"/>
                  </a:lnTo>
                  <a:lnTo>
                    <a:pt x="411" y="267"/>
                  </a:lnTo>
                  <a:lnTo>
                    <a:pt x="415" y="263"/>
                  </a:lnTo>
                  <a:lnTo>
                    <a:pt x="419" y="259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47"/>
                  </a:lnTo>
                  <a:lnTo>
                    <a:pt x="423" y="243"/>
                  </a:lnTo>
                  <a:lnTo>
                    <a:pt x="423" y="239"/>
                  </a:lnTo>
                  <a:lnTo>
                    <a:pt x="423" y="236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7" y="228"/>
                  </a:lnTo>
                  <a:lnTo>
                    <a:pt x="427" y="224"/>
                  </a:lnTo>
                  <a:lnTo>
                    <a:pt x="431" y="224"/>
                  </a:lnTo>
                  <a:lnTo>
                    <a:pt x="435" y="224"/>
                  </a:lnTo>
                  <a:lnTo>
                    <a:pt x="439" y="224"/>
                  </a:lnTo>
                  <a:lnTo>
                    <a:pt x="443" y="220"/>
                  </a:lnTo>
                  <a:lnTo>
                    <a:pt x="447" y="220"/>
                  </a:lnTo>
                  <a:lnTo>
                    <a:pt x="451" y="220"/>
                  </a:lnTo>
                  <a:lnTo>
                    <a:pt x="454" y="220"/>
                  </a:lnTo>
                  <a:lnTo>
                    <a:pt x="458" y="216"/>
                  </a:lnTo>
                  <a:lnTo>
                    <a:pt x="454" y="216"/>
                  </a:lnTo>
                  <a:lnTo>
                    <a:pt x="454" y="220"/>
                  </a:lnTo>
                  <a:lnTo>
                    <a:pt x="454" y="216"/>
                  </a:lnTo>
                  <a:lnTo>
                    <a:pt x="458" y="216"/>
                  </a:lnTo>
                  <a:lnTo>
                    <a:pt x="462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70" y="216"/>
                  </a:lnTo>
                  <a:lnTo>
                    <a:pt x="474" y="216"/>
                  </a:lnTo>
                  <a:lnTo>
                    <a:pt x="474" y="220"/>
                  </a:lnTo>
                  <a:lnTo>
                    <a:pt x="478" y="220"/>
                  </a:lnTo>
                  <a:lnTo>
                    <a:pt x="478" y="224"/>
                  </a:lnTo>
                  <a:lnTo>
                    <a:pt x="478" y="228"/>
                  </a:lnTo>
                  <a:lnTo>
                    <a:pt x="474" y="232"/>
                  </a:lnTo>
                  <a:lnTo>
                    <a:pt x="474" y="236"/>
                  </a:lnTo>
                  <a:lnTo>
                    <a:pt x="470" y="236"/>
                  </a:lnTo>
                  <a:lnTo>
                    <a:pt x="470" y="239"/>
                  </a:lnTo>
                  <a:lnTo>
                    <a:pt x="466" y="243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2" y="251"/>
                  </a:lnTo>
                  <a:lnTo>
                    <a:pt x="462" y="255"/>
                  </a:lnTo>
                  <a:lnTo>
                    <a:pt x="466" y="255"/>
                  </a:lnTo>
                  <a:lnTo>
                    <a:pt x="466" y="259"/>
                  </a:lnTo>
                  <a:lnTo>
                    <a:pt x="462" y="259"/>
                  </a:lnTo>
                  <a:lnTo>
                    <a:pt x="462" y="263"/>
                  </a:lnTo>
                  <a:lnTo>
                    <a:pt x="466" y="259"/>
                  </a:lnTo>
                  <a:lnTo>
                    <a:pt x="466" y="263"/>
                  </a:lnTo>
                  <a:lnTo>
                    <a:pt x="466" y="267"/>
                  </a:lnTo>
                  <a:lnTo>
                    <a:pt x="462" y="267"/>
                  </a:lnTo>
                  <a:lnTo>
                    <a:pt x="462" y="271"/>
                  </a:lnTo>
                  <a:lnTo>
                    <a:pt x="462" y="275"/>
                  </a:lnTo>
                  <a:lnTo>
                    <a:pt x="462" y="279"/>
                  </a:lnTo>
                  <a:lnTo>
                    <a:pt x="458" y="279"/>
                  </a:lnTo>
                  <a:lnTo>
                    <a:pt x="458" y="275"/>
                  </a:lnTo>
                  <a:lnTo>
                    <a:pt x="458" y="271"/>
                  </a:lnTo>
                  <a:lnTo>
                    <a:pt x="458" y="267"/>
                  </a:lnTo>
                  <a:lnTo>
                    <a:pt x="458" y="271"/>
                  </a:lnTo>
                  <a:lnTo>
                    <a:pt x="454" y="271"/>
                  </a:lnTo>
                  <a:lnTo>
                    <a:pt x="454" y="275"/>
                  </a:lnTo>
                  <a:lnTo>
                    <a:pt x="451" y="275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lnTo>
                    <a:pt x="447" y="287"/>
                  </a:lnTo>
                  <a:lnTo>
                    <a:pt x="443" y="287"/>
                  </a:lnTo>
                  <a:lnTo>
                    <a:pt x="443" y="283"/>
                  </a:lnTo>
                  <a:lnTo>
                    <a:pt x="443" y="287"/>
                  </a:lnTo>
                  <a:lnTo>
                    <a:pt x="439" y="287"/>
                  </a:lnTo>
                  <a:lnTo>
                    <a:pt x="431" y="287"/>
                  </a:lnTo>
                  <a:lnTo>
                    <a:pt x="427" y="287"/>
                  </a:lnTo>
                  <a:lnTo>
                    <a:pt x="419" y="287"/>
                  </a:lnTo>
                  <a:lnTo>
                    <a:pt x="415" y="287"/>
                  </a:lnTo>
                  <a:lnTo>
                    <a:pt x="415" y="291"/>
                  </a:lnTo>
                  <a:lnTo>
                    <a:pt x="415" y="299"/>
                  </a:lnTo>
                  <a:lnTo>
                    <a:pt x="407" y="299"/>
                  </a:lnTo>
                  <a:lnTo>
                    <a:pt x="411" y="299"/>
                  </a:lnTo>
                  <a:lnTo>
                    <a:pt x="411" y="303"/>
                  </a:lnTo>
                  <a:lnTo>
                    <a:pt x="415" y="307"/>
                  </a:lnTo>
                  <a:lnTo>
                    <a:pt x="419" y="307"/>
                  </a:lnTo>
                  <a:lnTo>
                    <a:pt x="419" y="311"/>
                  </a:lnTo>
                  <a:lnTo>
                    <a:pt x="419" y="315"/>
                  </a:lnTo>
                  <a:lnTo>
                    <a:pt x="423" y="315"/>
                  </a:lnTo>
                  <a:lnTo>
                    <a:pt x="423" y="319"/>
                  </a:lnTo>
                  <a:lnTo>
                    <a:pt x="419" y="319"/>
                  </a:lnTo>
                  <a:lnTo>
                    <a:pt x="415" y="319"/>
                  </a:lnTo>
                  <a:lnTo>
                    <a:pt x="407" y="319"/>
                  </a:lnTo>
                  <a:lnTo>
                    <a:pt x="403" y="319"/>
                  </a:lnTo>
                  <a:lnTo>
                    <a:pt x="403" y="323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9" y="339"/>
                  </a:lnTo>
                  <a:lnTo>
                    <a:pt x="395" y="343"/>
                  </a:lnTo>
                  <a:lnTo>
                    <a:pt x="395" y="347"/>
                  </a:lnTo>
                  <a:lnTo>
                    <a:pt x="391" y="347"/>
                  </a:lnTo>
                  <a:lnTo>
                    <a:pt x="391" y="343"/>
                  </a:lnTo>
                  <a:lnTo>
                    <a:pt x="387" y="343"/>
                  </a:lnTo>
                  <a:lnTo>
                    <a:pt x="387" y="339"/>
                  </a:lnTo>
                  <a:lnTo>
                    <a:pt x="387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79" y="331"/>
                  </a:lnTo>
                  <a:lnTo>
                    <a:pt x="379" y="327"/>
                  </a:lnTo>
                  <a:lnTo>
                    <a:pt x="375" y="327"/>
                  </a:lnTo>
                  <a:lnTo>
                    <a:pt x="371" y="323"/>
                  </a:lnTo>
                  <a:lnTo>
                    <a:pt x="371" y="319"/>
                  </a:lnTo>
                  <a:lnTo>
                    <a:pt x="367" y="319"/>
                  </a:lnTo>
                  <a:lnTo>
                    <a:pt x="363" y="319"/>
                  </a:lnTo>
                  <a:lnTo>
                    <a:pt x="363" y="315"/>
                  </a:lnTo>
                  <a:lnTo>
                    <a:pt x="363" y="319"/>
                  </a:lnTo>
                  <a:lnTo>
                    <a:pt x="367" y="319"/>
                  </a:lnTo>
                  <a:lnTo>
                    <a:pt x="367" y="323"/>
                  </a:lnTo>
                  <a:lnTo>
                    <a:pt x="363" y="319"/>
                  </a:lnTo>
                  <a:lnTo>
                    <a:pt x="359" y="319"/>
                  </a:lnTo>
                  <a:lnTo>
                    <a:pt x="359" y="315"/>
                  </a:lnTo>
                  <a:lnTo>
                    <a:pt x="355" y="319"/>
                  </a:lnTo>
                  <a:lnTo>
                    <a:pt x="355" y="315"/>
                  </a:lnTo>
                  <a:lnTo>
                    <a:pt x="351" y="315"/>
                  </a:lnTo>
                  <a:lnTo>
                    <a:pt x="351" y="319"/>
                  </a:lnTo>
                  <a:lnTo>
                    <a:pt x="355" y="319"/>
                  </a:lnTo>
                  <a:lnTo>
                    <a:pt x="351" y="319"/>
                  </a:lnTo>
                  <a:lnTo>
                    <a:pt x="347" y="323"/>
                  </a:lnTo>
                  <a:lnTo>
                    <a:pt x="343" y="323"/>
                  </a:lnTo>
                  <a:lnTo>
                    <a:pt x="339" y="327"/>
                  </a:lnTo>
                  <a:lnTo>
                    <a:pt x="335" y="327"/>
                  </a:lnTo>
                  <a:lnTo>
                    <a:pt x="331" y="327"/>
                  </a:lnTo>
                  <a:lnTo>
                    <a:pt x="327" y="327"/>
                  </a:lnTo>
                  <a:lnTo>
                    <a:pt x="323" y="323"/>
                  </a:lnTo>
                  <a:lnTo>
                    <a:pt x="319" y="323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19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5" y="315"/>
                  </a:lnTo>
                  <a:lnTo>
                    <a:pt x="295" y="311"/>
                  </a:lnTo>
                  <a:lnTo>
                    <a:pt x="291" y="311"/>
                  </a:lnTo>
                  <a:lnTo>
                    <a:pt x="287" y="311"/>
                  </a:lnTo>
                  <a:lnTo>
                    <a:pt x="283" y="311"/>
                  </a:lnTo>
                  <a:lnTo>
                    <a:pt x="283" y="307"/>
                  </a:lnTo>
                  <a:lnTo>
                    <a:pt x="279" y="307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67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1" y="291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43" y="287"/>
                  </a:lnTo>
                  <a:lnTo>
                    <a:pt x="239" y="283"/>
                  </a:lnTo>
                  <a:lnTo>
                    <a:pt x="235" y="283"/>
                  </a:lnTo>
                  <a:lnTo>
                    <a:pt x="231" y="283"/>
                  </a:lnTo>
                  <a:lnTo>
                    <a:pt x="231" y="279"/>
                  </a:lnTo>
                  <a:lnTo>
                    <a:pt x="227" y="279"/>
                  </a:lnTo>
                  <a:lnTo>
                    <a:pt x="223" y="279"/>
                  </a:lnTo>
                  <a:lnTo>
                    <a:pt x="223" y="275"/>
                  </a:lnTo>
                  <a:lnTo>
                    <a:pt x="219" y="271"/>
                  </a:lnTo>
                  <a:lnTo>
                    <a:pt x="219" y="267"/>
                  </a:lnTo>
                  <a:lnTo>
                    <a:pt x="215" y="267"/>
                  </a:lnTo>
                  <a:lnTo>
                    <a:pt x="211" y="267"/>
                  </a:lnTo>
                  <a:lnTo>
                    <a:pt x="211" y="263"/>
                  </a:lnTo>
                  <a:lnTo>
                    <a:pt x="207" y="263"/>
                  </a:lnTo>
                  <a:lnTo>
                    <a:pt x="203" y="259"/>
                  </a:lnTo>
                  <a:lnTo>
                    <a:pt x="199" y="259"/>
                  </a:lnTo>
                  <a:lnTo>
                    <a:pt x="199" y="255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5" y="247"/>
                  </a:lnTo>
                  <a:lnTo>
                    <a:pt x="191" y="247"/>
                  </a:lnTo>
                  <a:lnTo>
                    <a:pt x="191" y="243"/>
                  </a:lnTo>
                  <a:lnTo>
                    <a:pt x="191" y="239"/>
                  </a:lnTo>
                  <a:lnTo>
                    <a:pt x="195" y="239"/>
                  </a:lnTo>
                  <a:lnTo>
                    <a:pt x="195" y="236"/>
                  </a:lnTo>
                  <a:lnTo>
                    <a:pt x="199" y="236"/>
                  </a:lnTo>
                  <a:lnTo>
                    <a:pt x="195" y="232"/>
                  </a:lnTo>
                  <a:lnTo>
                    <a:pt x="195" y="228"/>
                  </a:lnTo>
                  <a:lnTo>
                    <a:pt x="199" y="228"/>
                  </a:lnTo>
                  <a:lnTo>
                    <a:pt x="199" y="224"/>
                  </a:lnTo>
                  <a:lnTo>
                    <a:pt x="199" y="220"/>
                  </a:lnTo>
                  <a:lnTo>
                    <a:pt x="195" y="220"/>
                  </a:lnTo>
                  <a:lnTo>
                    <a:pt x="195" y="216"/>
                  </a:lnTo>
                  <a:lnTo>
                    <a:pt x="195" y="212"/>
                  </a:lnTo>
                  <a:lnTo>
                    <a:pt x="191" y="212"/>
                  </a:lnTo>
                  <a:lnTo>
                    <a:pt x="191" y="208"/>
                  </a:lnTo>
                  <a:lnTo>
                    <a:pt x="191" y="204"/>
                  </a:lnTo>
                  <a:lnTo>
                    <a:pt x="191" y="200"/>
                  </a:lnTo>
                  <a:lnTo>
                    <a:pt x="191" y="196"/>
                  </a:lnTo>
                  <a:lnTo>
                    <a:pt x="187" y="196"/>
                  </a:lnTo>
                  <a:lnTo>
                    <a:pt x="183" y="192"/>
                  </a:lnTo>
                  <a:lnTo>
                    <a:pt x="183" y="188"/>
                  </a:lnTo>
                  <a:lnTo>
                    <a:pt x="179" y="188"/>
                  </a:lnTo>
                  <a:lnTo>
                    <a:pt x="179" y="184"/>
                  </a:lnTo>
                  <a:lnTo>
                    <a:pt x="175" y="180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63" y="168"/>
                  </a:lnTo>
                  <a:lnTo>
                    <a:pt x="163" y="164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3" y="160"/>
                  </a:lnTo>
                  <a:lnTo>
                    <a:pt x="159" y="164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5" y="156"/>
                  </a:lnTo>
                  <a:lnTo>
                    <a:pt x="155" y="152"/>
                  </a:lnTo>
                  <a:lnTo>
                    <a:pt x="155" y="156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1" y="148"/>
                  </a:lnTo>
                  <a:lnTo>
                    <a:pt x="147" y="148"/>
                  </a:lnTo>
                  <a:lnTo>
                    <a:pt x="147" y="144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40"/>
                  </a:lnTo>
                  <a:lnTo>
                    <a:pt x="139" y="140"/>
                  </a:lnTo>
                  <a:lnTo>
                    <a:pt x="135" y="140"/>
                  </a:lnTo>
                  <a:lnTo>
                    <a:pt x="135" y="136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5" y="124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16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08"/>
                  </a:lnTo>
                  <a:lnTo>
                    <a:pt x="115" y="104"/>
                  </a:lnTo>
                  <a:lnTo>
                    <a:pt x="115" y="100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2"/>
                  </a:lnTo>
                  <a:lnTo>
                    <a:pt x="103" y="92"/>
                  </a:lnTo>
                  <a:lnTo>
                    <a:pt x="103" y="88"/>
                  </a:lnTo>
                  <a:lnTo>
                    <a:pt x="99" y="84"/>
                  </a:lnTo>
                  <a:lnTo>
                    <a:pt x="99" y="80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4" y="56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72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6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9" y="120"/>
                  </a:lnTo>
                  <a:lnTo>
                    <a:pt x="103" y="120"/>
                  </a:lnTo>
                  <a:lnTo>
                    <a:pt x="103" y="124"/>
                  </a:lnTo>
                  <a:lnTo>
                    <a:pt x="103" y="128"/>
                  </a:lnTo>
                  <a:lnTo>
                    <a:pt x="103" y="132"/>
                  </a:lnTo>
                  <a:lnTo>
                    <a:pt x="103" y="136"/>
                  </a:lnTo>
                  <a:lnTo>
                    <a:pt x="107" y="136"/>
                  </a:lnTo>
                  <a:lnTo>
                    <a:pt x="107" y="140"/>
                  </a:lnTo>
                  <a:lnTo>
                    <a:pt x="111" y="144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5" y="168"/>
                  </a:lnTo>
                  <a:lnTo>
                    <a:pt x="119" y="168"/>
                  </a:lnTo>
                  <a:lnTo>
                    <a:pt x="123" y="168"/>
                  </a:lnTo>
                  <a:lnTo>
                    <a:pt x="119" y="168"/>
                  </a:lnTo>
                  <a:lnTo>
                    <a:pt x="119" y="164"/>
                  </a:lnTo>
                  <a:lnTo>
                    <a:pt x="123" y="164"/>
                  </a:lnTo>
                  <a:lnTo>
                    <a:pt x="123" y="168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27" y="176"/>
                  </a:lnTo>
                  <a:lnTo>
                    <a:pt x="131" y="176"/>
                  </a:lnTo>
                  <a:lnTo>
                    <a:pt x="131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5" y="188"/>
                  </a:lnTo>
                  <a:lnTo>
                    <a:pt x="131" y="188"/>
                  </a:lnTo>
                  <a:lnTo>
                    <a:pt x="131" y="192"/>
                  </a:lnTo>
                  <a:lnTo>
                    <a:pt x="127" y="192"/>
                  </a:lnTo>
                  <a:lnTo>
                    <a:pt x="123" y="192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19" y="180"/>
                  </a:lnTo>
                  <a:lnTo>
                    <a:pt x="115" y="176"/>
                  </a:lnTo>
                  <a:lnTo>
                    <a:pt x="111" y="172"/>
                  </a:lnTo>
                  <a:lnTo>
                    <a:pt x="111" y="168"/>
                  </a:lnTo>
                  <a:lnTo>
                    <a:pt x="107" y="168"/>
                  </a:lnTo>
                  <a:lnTo>
                    <a:pt x="103" y="164"/>
                  </a:lnTo>
                  <a:close/>
                  <a:moveTo>
                    <a:pt x="115" y="152"/>
                  </a:moveTo>
                  <a:lnTo>
                    <a:pt x="119" y="156"/>
                  </a:lnTo>
                  <a:lnTo>
                    <a:pt x="115" y="156"/>
                  </a:lnTo>
                  <a:lnTo>
                    <a:pt x="115" y="152"/>
                  </a:lnTo>
                  <a:close/>
                  <a:moveTo>
                    <a:pt x="92" y="148"/>
                  </a:move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close/>
                  <a:moveTo>
                    <a:pt x="111" y="271"/>
                  </a:moveTo>
                  <a:lnTo>
                    <a:pt x="107" y="271"/>
                  </a:lnTo>
                  <a:lnTo>
                    <a:pt x="111" y="271"/>
                  </a:lnTo>
                  <a:lnTo>
                    <a:pt x="111" y="267"/>
                  </a:lnTo>
                  <a:lnTo>
                    <a:pt x="111" y="271"/>
                  </a:lnTo>
                  <a:close/>
                  <a:moveTo>
                    <a:pt x="80" y="76"/>
                  </a:moveTo>
                  <a:lnTo>
                    <a:pt x="76" y="76"/>
                  </a:lnTo>
                  <a:lnTo>
                    <a:pt x="76" y="72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close/>
                  <a:moveTo>
                    <a:pt x="92" y="80"/>
                  </a:moveTo>
                  <a:lnTo>
                    <a:pt x="88" y="80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92" y="72"/>
                  </a:lnTo>
                  <a:lnTo>
                    <a:pt x="92" y="76"/>
                  </a:lnTo>
                  <a:lnTo>
                    <a:pt x="92" y="80"/>
                  </a:lnTo>
                  <a:close/>
                  <a:moveTo>
                    <a:pt x="0" y="76"/>
                  </a:moveTo>
                  <a:lnTo>
                    <a:pt x="0" y="72"/>
                  </a:lnTo>
                  <a:lnTo>
                    <a:pt x="0" y="76"/>
                  </a:lnTo>
                  <a:close/>
                  <a:moveTo>
                    <a:pt x="48" y="96"/>
                  </a:moveTo>
                  <a:lnTo>
                    <a:pt x="48" y="92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92"/>
                  </a:lnTo>
                  <a:lnTo>
                    <a:pt x="48" y="96"/>
                  </a:lnTo>
                  <a:close/>
                  <a:moveTo>
                    <a:pt x="107" y="136"/>
                  </a:moveTo>
                  <a:lnTo>
                    <a:pt x="107" y="132"/>
                  </a:lnTo>
                  <a:lnTo>
                    <a:pt x="107" y="136"/>
                  </a:lnTo>
                  <a:close/>
                  <a:moveTo>
                    <a:pt x="119" y="164"/>
                  </a:moveTo>
                  <a:lnTo>
                    <a:pt x="119" y="160"/>
                  </a:lnTo>
                  <a:lnTo>
                    <a:pt x="119" y="164"/>
                  </a:lnTo>
                  <a:close/>
                  <a:moveTo>
                    <a:pt x="99" y="164"/>
                  </a:moveTo>
                  <a:lnTo>
                    <a:pt x="96" y="164"/>
                  </a:lnTo>
                  <a:lnTo>
                    <a:pt x="96" y="160"/>
                  </a:lnTo>
                  <a:lnTo>
                    <a:pt x="99" y="160"/>
                  </a:lnTo>
                  <a:lnTo>
                    <a:pt x="99" y="164"/>
                  </a:lnTo>
                  <a:close/>
                  <a:moveTo>
                    <a:pt x="127" y="168"/>
                  </a:moveTo>
                  <a:lnTo>
                    <a:pt x="127" y="164"/>
                  </a:lnTo>
                  <a:lnTo>
                    <a:pt x="127" y="168"/>
                  </a:lnTo>
                  <a:close/>
                  <a:moveTo>
                    <a:pt x="175" y="220"/>
                  </a:moveTo>
                  <a:lnTo>
                    <a:pt x="175" y="216"/>
                  </a:lnTo>
                  <a:lnTo>
                    <a:pt x="179" y="216"/>
                  </a:lnTo>
                  <a:lnTo>
                    <a:pt x="179" y="220"/>
                  </a:lnTo>
                  <a:lnTo>
                    <a:pt x="175" y="220"/>
                  </a:lnTo>
                  <a:close/>
                  <a:moveTo>
                    <a:pt x="179" y="220"/>
                  </a:moveTo>
                  <a:lnTo>
                    <a:pt x="183" y="220"/>
                  </a:lnTo>
                  <a:lnTo>
                    <a:pt x="179" y="220"/>
                  </a:lnTo>
                  <a:close/>
                  <a:moveTo>
                    <a:pt x="474" y="243"/>
                  </a:moveTo>
                  <a:lnTo>
                    <a:pt x="474" y="239"/>
                  </a:lnTo>
                  <a:lnTo>
                    <a:pt x="474" y="236"/>
                  </a:lnTo>
                  <a:lnTo>
                    <a:pt x="478" y="236"/>
                  </a:lnTo>
                  <a:lnTo>
                    <a:pt x="478" y="239"/>
                  </a:lnTo>
                  <a:lnTo>
                    <a:pt x="474" y="239"/>
                  </a:lnTo>
                  <a:lnTo>
                    <a:pt x="474" y="243"/>
                  </a:lnTo>
                  <a:close/>
                  <a:moveTo>
                    <a:pt x="403" y="271"/>
                  </a:moveTo>
                  <a:lnTo>
                    <a:pt x="399" y="271"/>
                  </a:lnTo>
                  <a:lnTo>
                    <a:pt x="403" y="271"/>
                  </a:lnTo>
                  <a:lnTo>
                    <a:pt x="407" y="271"/>
                  </a:lnTo>
                  <a:lnTo>
                    <a:pt x="403" y="27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05" name="Freeform 69">
              <a:extLst>
                <a:ext uri="{FF2B5EF4-FFF2-40B4-BE49-F238E27FC236}">
                  <a16:creationId xmlns:a16="http://schemas.microsoft.com/office/drawing/2014/main" xmlns="" id="{EA1B971C-1C2F-4C39-BB98-C69A465B60E9}"/>
                </a:ext>
              </a:extLst>
            </p:cNvPr>
            <p:cNvSpPr>
              <a:spLocks noEditPoints="1"/>
            </p:cNvSpPr>
            <p:nvPr>
              <p:custDataLst>
                <p:tags r:id="rId69"/>
              </p:custDataLst>
            </p:nvPr>
          </p:nvSpPr>
          <p:spPr bwMode="gray">
            <a:xfrm>
              <a:off x="2826259" y="4260782"/>
              <a:ext cx="17797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06" name="Freeform 70">
              <a:extLst>
                <a:ext uri="{FF2B5EF4-FFF2-40B4-BE49-F238E27FC236}">
                  <a16:creationId xmlns:a16="http://schemas.microsoft.com/office/drawing/2014/main" xmlns="" id="{2F697ED4-BDFC-4DCD-9B3A-637CD3F6B6A2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gray">
            <a:xfrm>
              <a:off x="2405069" y="4183663"/>
              <a:ext cx="106781" cy="118645"/>
            </a:xfrm>
            <a:custGeom>
              <a:avLst/>
              <a:gdLst/>
              <a:ahLst/>
              <a:cxnLst>
                <a:cxn ang="0">
                  <a:pos x="68" y="4"/>
                </a:cxn>
                <a:cxn ang="0">
                  <a:pos x="68" y="8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64" y="24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4" y="44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4"/>
                </a:cxn>
                <a:cxn ang="0">
                  <a:pos x="60" y="48"/>
                </a:cxn>
                <a:cxn ang="0">
                  <a:pos x="60" y="56"/>
                </a:cxn>
                <a:cxn ang="0">
                  <a:pos x="60" y="60"/>
                </a:cxn>
                <a:cxn ang="0">
                  <a:pos x="60" y="60"/>
                </a:cxn>
                <a:cxn ang="0">
                  <a:pos x="64" y="64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76"/>
                </a:cxn>
                <a:cxn ang="0">
                  <a:pos x="64" y="80"/>
                </a:cxn>
                <a:cxn ang="0">
                  <a:pos x="60" y="80"/>
                </a:cxn>
                <a:cxn ang="0">
                  <a:pos x="56" y="80"/>
                </a:cxn>
                <a:cxn ang="0">
                  <a:pos x="52" y="80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2" y="72"/>
                </a:cxn>
                <a:cxn ang="0">
                  <a:pos x="28" y="72"/>
                </a:cxn>
                <a:cxn ang="0">
                  <a:pos x="24" y="68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24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2" y="24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56" y="8"/>
                </a:cxn>
                <a:cxn ang="0">
                  <a:pos x="64" y="4"/>
                </a:cxn>
                <a:cxn ang="0">
                  <a:pos x="68" y="0"/>
                </a:cxn>
              </a:cxnLst>
              <a:rect l="0" t="0" r="r" b="b"/>
              <a:pathLst>
                <a:path w="72" h="80">
                  <a:moveTo>
                    <a:pt x="72" y="0"/>
                  </a:move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07" name="Freeform 71">
              <a:extLst>
                <a:ext uri="{FF2B5EF4-FFF2-40B4-BE49-F238E27FC236}">
                  <a16:creationId xmlns:a16="http://schemas.microsoft.com/office/drawing/2014/main" xmlns="" id="{DCE9581F-47F0-4802-8B26-534DE4B4D2B8}"/>
                </a:ext>
              </a:extLst>
            </p:cNvPr>
            <p:cNvSpPr>
              <a:spLocks noEditPoints="1"/>
            </p:cNvSpPr>
            <p:nvPr>
              <p:custDataLst>
                <p:tags r:id="rId71"/>
              </p:custDataLst>
            </p:nvPr>
          </p:nvSpPr>
          <p:spPr bwMode="gray">
            <a:xfrm>
              <a:off x="2511850" y="4331969"/>
              <a:ext cx="130510" cy="65255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0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36" y="44"/>
                </a:cxn>
                <a:cxn ang="0">
                  <a:pos x="32" y="44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6" y="12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84" y="24"/>
                </a:cxn>
                <a:cxn ang="0">
                  <a:pos x="88" y="28"/>
                </a:cxn>
                <a:cxn ang="0">
                  <a:pos x="88" y="36"/>
                </a:cxn>
                <a:cxn ang="0">
                  <a:pos x="80" y="36"/>
                </a:cxn>
                <a:cxn ang="0">
                  <a:pos x="80" y="40"/>
                </a:cxn>
                <a:cxn ang="0">
                  <a:pos x="72" y="40"/>
                </a:cxn>
                <a:cxn ang="0">
                  <a:pos x="72" y="32"/>
                </a:cxn>
                <a:cxn ang="0">
                  <a:pos x="72" y="32"/>
                </a:cxn>
                <a:cxn ang="0">
                  <a:pos x="72" y="28"/>
                </a:cxn>
                <a:cxn ang="0">
                  <a:pos x="76" y="28"/>
                </a:cxn>
                <a:cxn ang="0">
                  <a:pos x="80" y="28"/>
                </a:cxn>
                <a:cxn ang="0">
                  <a:pos x="76" y="24"/>
                </a:cxn>
                <a:cxn ang="0">
                  <a:pos x="68" y="24"/>
                </a:cxn>
                <a:cxn ang="0">
                  <a:pos x="64" y="16"/>
                </a:cxn>
                <a:cxn ang="0">
                  <a:pos x="60" y="12"/>
                </a:cxn>
                <a:cxn ang="0">
                  <a:pos x="60" y="12"/>
                </a:cxn>
                <a:cxn ang="0">
                  <a:pos x="52" y="12"/>
                </a:cxn>
                <a:cxn ang="0">
                  <a:pos x="48" y="16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64" y="24"/>
                </a:cxn>
                <a:cxn ang="0">
                  <a:pos x="20" y="36"/>
                </a:cxn>
                <a:cxn ang="0">
                  <a:pos x="20" y="44"/>
                </a:cxn>
                <a:cxn ang="0">
                  <a:pos x="20" y="44"/>
                </a:cxn>
                <a:cxn ang="0">
                  <a:pos x="16" y="40"/>
                </a:cxn>
              </a:cxnLst>
              <a:rect l="0" t="0" r="r" b="b"/>
              <a:pathLst>
                <a:path w="88" h="44">
                  <a:moveTo>
                    <a:pt x="44" y="24"/>
                  </a:move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close/>
                  <a:moveTo>
                    <a:pt x="64" y="24"/>
                  </a:move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close/>
                  <a:moveTo>
                    <a:pt x="20" y="36"/>
                  </a:move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36"/>
                  </a:lnTo>
                  <a:lnTo>
                    <a:pt x="20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08" name="Freeform 72">
              <a:extLst>
                <a:ext uri="{FF2B5EF4-FFF2-40B4-BE49-F238E27FC236}">
                  <a16:creationId xmlns:a16="http://schemas.microsoft.com/office/drawing/2014/main" xmlns="" id="{01976A89-7F4D-41D4-9C27-992D12942E1E}"/>
                </a:ext>
              </a:extLst>
            </p:cNvPr>
            <p:cNvSpPr>
              <a:spLocks noEditPoints="1"/>
            </p:cNvSpPr>
            <p:nvPr>
              <p:custDataLst>
                <p:tags r:id="rId72"/>
              </p:custDataLst>
            </p:nvPr>
          </p:nvSpPr>
          <p:spPr bwMode="gray">
            <a:xfrm>
              <a:off x="2867785" y="4088747"/>
              <a:ext cx="41526" cy="17797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</a:cxnLst>
              <a:rect l="0" t="0" r="r" b="b"/>
              <a:pathLst>
                <a:path w="28" h="12">
                  <a:moveTo>
                    <a:pt x="20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8"/>
                  </a:lnTo>
                  <a:lnTo>
                    <a:pt x="20" y="8"/>
                  </a:lnTo>
                  <a:close/>
                  <a:moveTo>
                    <a:pt x="24" y="8"/>
                  </a:move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09" name="Freeform 73">
              <a:extLst>
                <a:ext uri="{FF2B5EF4-FFF2-40B4-BE49-F238E27FC236}">
                  <a16:creationId xmlns:a16="http://schemas.microsoft.com/office/drawing/2014/main" xmlns="" id="{C2FF2205-07AF-4200-BEEE-A3850A4DF98E}"/>
                </a:ext>
              </a:extLst>
            </p:cNvPr>
            <p:cNvSpPr>
              <a:spLocks noEditPoints="1"/>
            </p:cNvSpPr>
            <p:nvPr>
              <p:custDataLst>
                <p:tags r:id="rId73"/>
              </p:custDataLst>
            </p:nvPr>
          </p:nvSpPr>
          <p:spPr bwMode="gray">
            <a:xfrm>
              <a:off x="3109524" y="3243400"/>
              <a:ext cx="5932" cy="118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10" name="Freeform 74">
              <a:extLst>
                <a:ext uri="{FF2B5EF4-FFF2-40B4-BE49-F238E27FC236}">
                  <a16:creationId xmlns:a16="http://schemas.microsoft.com/office/drawing/2014/main" xmlns="" id="{27DCEF61-9340-4B8E-8D40-18EA3E6219BF}"/>
                </a:ext>
              </a:extLst>
            </p:cNvPr>
            <p:cNvSpPr>
              <a:spLocks noEditPoints="1"/>
            </p:cNvSpPr>
            <p:nvPr>
              <p:custDataLst>
                <p:tags r:id="rId74"/>
              </p:custDataLst>
            </p:nvPr>
          </p:nvSpPr>
          <p:spPr bwMode="gray">
            <a:xfrm>
              <a:off x="2600834" y="3852939"/>
              <a:ext cx="142374" cy="172035"/>
            </a:xfrm>
            <a:custGeom>
              <a:avLst/>
              <a:gdLst/>
              <a:ahLst/>
              <a:cxnLst>
                <a:cxn ang="0">
                  <a:pos x="56" y="52"/>
                </a:cxn>
                <a:cxn ang="0">
                  <a:pos x="52" y="48"/>
                </a:cxn>
                <a:cxn ang="0">
                  <a:pos x="68" y="56"/>
                </a:cxn>
                <a:cxn ang="0">
                  <a:pos x="68" y="56"/>
                </a:cxn>
                <a:cxn ang="0">
                  <a:pos x="88" y="88"/>
                </a:cxn>
                <a:cxn ang="0">
                  <a:pos x="96" y="88"/>
                </a:cxn>
                <a:cxn ang="0">
                  <a:pos x="24" y="0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12"/>
                </a:cxn>
                <a:cxn ang="0">
                  <a:pos x="24" y="4"/>
                </a:cxn>
                <a:cxn ang="0">
                  <a:pos x="16" y="0"/>
                </a:cxn>
                <a:cxn ang="0">
                  <a:pos x="4" y="4"/>
                </a:cxn>
                <a:cxn ang="0">
                  <a:pos x="16" y="4"/>
                </a:cxn>
                <a:cxn ang="0">
                  <a:pos x="4" y="8"/>
                </a:cxn>
                <a:cxn ang="0">
                  <a:pos x="40" y="28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28"/>
                </a:cxn>
                <a:cxn ang="0">
                  <a:pos x="12" y="32"/>
                </a:cxn>
                <a:cxn ang="0">
                  <a:pos x="16" y="40"/>
                </a:cxn>
                <a:cxn ang="0">
                  <a:pos x="20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24" y="36"/>
                </a:cxn>
                <a:cxn ang="0">
                  <a:pos x="20" y="52"/>
                </a:cxn>
                <a:cxn ang="0">
                  <a:pos x="24" y="52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48" y="64"/>
                </a:cxn>
                <a:cxn ang="0">
                  <a:pos x="48" y="60"/>
                </a:cxn>
                <a:cxn ang="0">
                  <a:pos x="60" y="72"/>
                </a:cxn>
                <a:cxn ang="0">
                  <a:pos x="64" y="72"/>
                </a:cxn>
                <a:cxn ang="0">
                  <a:pos x="56" y="64"/>
                </a:cxn>
                <a:cxn ang="0">
                  <a:pos x="72" y="76"/>
                </a:cxn>
                <a:cxn ang="0">
                  <a:pos x="72" y="92"/>
                </a:cxn>
                <a:cxn ang="0">
                  <a:pos x="76" y="84"/>
                </a:cxn>
                <a:cxn ang="0">
                  <a:pos x="76" y="80"/>
                </a:cxn>
                <a:cxn ang="0">
                  <a:pos x="76" y="88"/>
                </a:cxn>
                <a:cxn ang="0">
                  <a:pos x="80" y="116"/>
                </a:cxn>
                <a:cxn ang="0">
                  <a:pos x="84" y="108"/>
                </a:cxn>
                <a:cxn ang="0">
                  <a:pos x="88" y="108"/>
                </a:cxn>
                <a:cxn ang="0">
                  <a:pos x="88" y="112"/>
                </a:cxn>
                <a:cxn ang="0">
                  <a:pos x="84" y="112"/>
                </a:cxn>
              </a:cxnLst>
              <a:rect l="0" t="0" r="r" b="b"/>
              <a:pathLst>
                <a:path w="96" h="116">
                  <a:moveTo>
                    <a:pt x="56" y="52"/>
                  </a:moveTo>
                  <a:lnTo>
                    <a:pt x="52" y="52"/>
                  </a:lnTo>
                  <a:lnTo>
                    <a:pt x="56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52"/>
                  </a:lnTo>
                  <a:close/>
                  <a:moveTo>
                    <a:pt x="68" y="56"/>
                  </a:moveTo>
                  <a:lnTo>
                    <a:pt x="68" y="52"/>
                  </a:lnTo>
                  <a:lnTo>
                    <a:pt x="72" y="56"/>
                  </a:lnTo>
                  <a:lnTo>
                    <a:pt x="68" y="56"/>
                  </a:lnTo>
                  <a:close/>
                  <a:moveTo>
                    <a:pt x="96" y="88"/>
                  </a:moveTo>
                  <a:lnTo>
                    <a:pt x="92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6" y="88"/>
                  </a:lnTo>
                  <a:close/>
                  <a:moveTo>
                    <a:pt x="16" y="0"/>
                  </a:move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close/>
                  <a:moveTo>
                    <a:pt x="4" y="8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8"/>
                  </a:lnTo>
                  <a:close/>
                  <a:moveTo>
                    <a:pt x="36" y="24"/>
                  </a:move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4"/>
                  </a:lnTo>
                  <a:close/>
                  <a:moveTo>
                    <a:pt x="12" y="32"/>
                  </a:move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4" y="36"/>
                  </a:moveTo>
                  <a:lnTo>
                    <a:pt x="28" y="36"/>
                  </a:lnTo>
                  <a:lnTo>
                    <a:pt x="24" y="36"/>
                  </a:lnTo>
                  <a:close/>
                  <a:moveTo>
                    <a:pt x="20" y="52"/>
                  </a:moveTo>
                  <a:lnTo>
                    <a:pt x="20" y="56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20" y="52"/>
                  </a:lnTo>
                  <a:close/>
                  <a:moveTo>
                    <a:pt x="48" y="60"/>
                  </a:move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close/>
                  <a:moveTo>
                    <a:pt x="56" y="64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64"/>
                  </a:lnTo>
                  <a:close/>
                  <a:moveTo>
                    <a:pt x="76" y="80"/>
                  </a:move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6" y="80"/>
                  </a:lnTo>
                  <a:close/>
                  <a:moveTo>
                    <a:pt x="72" y="92"/>
                  </a:move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close/>
                  <a:moveTo>
                    <a:pt x="80" y="116"/>
                  </a:moveTo>
                  <a:lnTo>
                    <a:pt x="80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12"/>
                  </a:lnTo>
                  <a:lnTo>
                    <a:pt x="88" y="108"/>
                  </a:lnTo>
                  <a:lnTo>
                    <a:pt x="92" y="108"/>
                  </a:lnTo>
                  <a:lnTo>
                    <a:pt x="92" y="112"/>
                  </a:lnTo>
                  <a:lnTo>
                    <a:pt x="88" y="112"/>
                  </a:lnTo>
                  <a:lnTo>
                    <a:pt x="88" y="116"/>
                  </a:lnTo>
                  <a:lnTo>
                    <a:pt x="84" y="116"/>
                  </a:lnTo>
                  <a:lnTo>
                    <a:pt x="84" y="112"/>
                  </a:lnTo>
                  <a:lnTo>
                    <a:pt x="80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11" name="Freeform 75">
              <a:extLst>
                <a:ext uri="{FF2B5EF4-FFF2-40B4-BE49-F238E27FC236}">
                  <a16:creationId xmlns:a16="http://schemas.microsoft.com/office/drawing/2014/main" xmlns="" id="{892FE0AC-3119-4477-8302-B5C502250384}"/>
                </a:ext>
              </a:extLst>
            </p:cNvPr>
            <p:cNvSpPr>
              <a:spLocks noEditPoints="1"/>
            </p:cNvSpPr>
            <p:nvPr>
              <p:custDataLst>
                <p:tags r:id="rId75"/>
              </p:custDataLst>
            </p:nvPr>
          </p:nvSpPr>
          <p:spPr bwMode="gray">
            <a:xfrm>
              <a:off x="2984947" y="4284511"/>
              <a:ext cx="29661" cy="35594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</a:cxnLst>
              <a:rect l="0" t="0" r="r" b="b"/>
              <a:pathLst>
                <a:path w="20" h="24">
                  <a:moveTo>
                    <a:pt x="16" y="4"/>
                  </a:move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close/>
                  <a:moveTo>
                    <a:pt x="12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12" name="Freeform 76">
              <a:extLst>
                <a:ext uri="{FF2B5EF4-FFF2-40B4-BE49-F238E27FC236}">
                  <a16:creationId xmlns:a16="http://schemas.microsoft.com/office/drawing/2014/main" xmlns="" id="{EF561D84-1B01-4F5C-88F0-9C3CEB51F211}"/>
                </a:ext>
              </a:extLst>
            </p:cNvPr>
            <p:cNvSpPr>
              <a:spLocks noEditPoints="1"/>
            </p:cNvSpPr>
            <p:nvPr>
              <p:custDataLst>
                <p:tags r:id="rId76"/>
              </p:custDataLst>
            </p:nvPr>
          </p:nvSpPr>
          <p:spPr bwMode="gray">
            <a:xfrm>
              <a:off x="2761005" y="3995313"/>
              <a:ext cx="17797" cy="11865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13" name="Freeform 77">
              <a:extLst>
                <a:ext uri="{FF2B5EF4-FFF2-40B4-BE49-F238E27FC236}">
                  <a16:creationId xmlns:a16="http://schemas.microsoft.com/office/drawing/2014/main" xmlns="" id="{59564193-A5BD-48C0-A705-68BCF2263723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gray">
            <a:xfrm>
              <a:off x="4807633" y="3385775"/>
              <a:ext cx="41526" cy="87500"/>
            </a:xfrm>
            <a:custGeom>
              <a:avLst/>
              <a:gdLst/>
              <a:ahLst/>
              <a:cxnLst>
                <a:cxn ang="0">
                  <a:pos x="4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4" y="11"/>
                </a:cxn>
                <a:cxn ang="0">
                  <a:pos x="0" y="7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3"/>
                </a:cxn>
                <a:cxn ang="0">
                  <a:pos x="20" y="7"/>
                </a:cxn>
                <a:cxn ang="0">
                  <a:pos x="20" y="11"/>
                </a:cxn>
                <a:cxn ang="0">
                  <a:pos x="20" y="11"/>
                </a:cxn>
                <a:cxn ang="0">
                  <a:pos x="20" y="15"/>
                </a:cxn>
                <a:cxn ang="0">
                  <a:pos x="20" y="19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24" y="35"/>
                </a:cxn>
                <a:cxn ang="0">
                  <a:pos x="28" y="35"/>
                </a:cxn>
                <a:cxn ang="0">
                  <a:pos x="28" y="35"/>
                </a:cxn>
                <a:cxn ang="0">
                  <a:pos x="28" y="39"/>
                </a:cxn>
                <a:cxn ang="0">
                  <a:pos x="24" y="43"/>
                </a:cxn>
                <a:cxn ang="0">
                  <a:pos x="24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9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2" y="59"/>
                </a:cxn>
                <a:cxn ang="0">
                  <a:pos x="8" y="51"/>
                </a:cxn>
                <a:cxn ang="0">
                  <a:pos x="8" y="51"/>
                </a:cxn>
                <a:cxn ang="0">
                  <a:pos x="4" y="47"/>
                </a:cxn>
                <a:cxn ang="0">
                  <a:pos x="0" y="43"/>
                </a:cxn>
                <a:cxn ang="0">
                  <a:pos x="4" y="43"/>
                </a:cxn>
                <a:cxn ang="0">
                  <a:pos x="4" y="47"/>
                </a:cxn>
                <a:cxn ang="0">
                  <a:pos x="4" y="43"/>
                </a:cxn>
                <a:cxn ang="0">
                  <a:pos x="4" y="39"/>
                </a:cxn>
                <a:cxn ang="0">
                  <a:pos x="0" y="39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19"/>
                </a:cxn>
                <a:cxn ang="0">
                  <a:pos x="4" y="19"/>
                </a:cxn>
              </a:cxnLst>
              <a:rect l="0" t="0" r="r" b="b"/>
              <a:pathLst>
                <a:path w="28" h="59">
                  <a:moveTo>
                    <a:pt x="4" y="19"/>
                  </a:move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4" y="51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" y="43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14" name="Freeform 78">
              <a:extLst>
                <a:ext uri="{FF2B5EF4-FFF2-40B4-BE49-F238E27FC236}">
                  <a16:creationId xmlns:a16="http://schemas.microsoft.com/office/drawing/2014/main" xmlns="" id="{F3213BF8-E6C0-48AD-932B-0B0C870B6477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gray">
            <a:xfrm>
              <a:off x="4405722" y="3385775"/>
              <a:ext cx="11865" cy="44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8" h="3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15" name="Freeform 79">
              <a:extLst>
                <a:ext uri="{FF2B5EF4-FFF2-40B4-BE49-F238E27FC236}">
                  <a16:creationId xmlns:a16="http://schemas.microsoft.com/office/drawing/2014/main" xmlns="" id="{0871BBF5-3CF5-48B1-85B0-CDA367FAFE2E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gray">
            <a:xfrm>
              <a:off x="4588139" y="3178146"/>
              <a:ext cx="172035" cy="83052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8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40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2" y="28"/>
                </a:cxn>
                <a:cxn ang="0">
                  <a:pos x="52" y="24"/>
                </a:cxn>
                <a:cxn ang="0">
                  <a:pos x="48" y="20"/>
                </a:cxn>
                <a:cxn ang="0">
                  <a:pos x="56" y="16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8" y="8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84" y="4"/>
                </a:cxn>
                <a:cxn ang="0">
                  <a:pos x="88" y="0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4" y="8"/>
                </a:cxn>
                <a:cxn ang="0">
                  <a:pos x="108" y="8"/>
                </a:cxn>
                <a:cxn ang="0">
                  <a:pos x="112" y="8"/>
                </a:cxn>
                <a:cxn ang="0">
                  <a:pos x="112" y="16"/>
                </a:cxn>
                <a:cxn ang="0">
                  <a:pos x="116" y="20"/>
                </a:cxn>
                <a:cxn ang="0">
                  <a:pos x="116" y="24"/>
                </a:cxn>
                <a:cxn ang="0">
                  <a:pos x="116" y="28"/>
                </a:cxn>
                <a:cxn ang="0">
                  <a:pos x="108" y="28"/>
                </a:cxn>
                <a:cxn ang="0">
                  <a:pos x="108" y="32"/>
                </a:cxn>
                <a:cxn ang="0">
                  <a:pos x="108" y="36"/>
                </a:cxn>
                <a:cxn ang="0">
                  <a:pos x="108" y="40"/>
                </a:cxn>
                <a:cxn ang="0">
                  <a:pos x="104" y="44"/>
                </a:cxn>
                <a:cxn ang="0">
                  <a:pos x="100" y="48"/>
                </a:cxn>
                <a:cxn ang="0">
                  <a:pos x="96" y="52"/>
                </a:cxn>
                <a:cxn ang="0">
                  <a:pos x="84" y="52"/>
                </a:cxn>
                <a:cxn ang="0">
                  <a:pos x="76" y="56"/>
                </a:cxn>
                <a:cxn ang="0">
                  <a:pos x="68" y="56"/>
                </a:cxn>
                <a:cxn ang="0">
                  <a:pos x="60" y="56"/>
                </a:cxn>
                <a:cxn ang="0">
                  <a:pos x="48" y="52"/>
                </a:cxn>
                <a:cxn ang="0">
                  <a:pos x="44" y="52"/>
                </a:cxn>
                <a:cxn ang="0">
                  <a:pos x="40" y="44"/>
                </a:cxn>
                <a:cxn ang="0">
                  <a:pos x="40" y="44"/>
                </a:cxn>
                <a:cxn ang="0">
                  <a:pos x="32" y="44"/>
                </a:cxn>
                <a:cxn ang="0">
                  <a:pos x="24" y="48"/>
                </a:cxn>
                <a:cxn ang="0">
                  <a:pos x="20" y="48"/>
                </a:cxn>
                <a:cxn ang="0">
                  <a:pos x="16" y="48"/>
                </a:cxn>
              </a:cxnLst>
              <a:rect l="0" t="0" r="r" b="b"/>
              <a:pathLst>
                <a:path w="116" h="56">
                  <a:moveTo>
                    <a:pt x="16" y="48"/>
                  </a:move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16" name="Freeform 80">
              <a:extLst>
                <a:ext uri="{FF2B5EF4-FFF2-40B4-BE49-F238E27FC236}">
                  <a16:creationId xmlns:a16="http://schemas.microsoft.com/office/drawing/2014/main" xmlns="" id="{1F5B049D-93CB-4F2C-AA4B-22641C34C1ED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gray">
            <a:xfrm>
              <a:off x="4896617" y="2934923"/>
              <a:ext cx="212078" cy="172035"/>
            </a:xfrm>
            <a:custGeom>
              <a:avLst/>
              <a:gdLst/>
              <a:ahLst/>
              <a:cxnLst>
                <a:cxn ang="0">
                  <a:pos x="28" y="100"/>
                </a:cxn>
                <a:cxn ang="0">
                  <a:pos x="16" y="104"/>
                </a:cxn>
                <a:cxn ang="0">
                  <a:pos x="12" y="108"/>
                </a:cxn>
                <a:cxn ang="0">
                  <a:pos x="4" y="108"/>
                </a:cxn>
                <a:cxn ang="0">
                  <a:pos x="8" y="96"/>
                </a:cxn>
                <a:cxn ang="0">
                  <a:pos x="0" y="88"/>
                </a:cxn>
                <a:cxn ang="0">
                  <a:pos x="8" y="84"/>
                </a:cxn>
                <a:cxn ang="0">
                  <a:pos x="12" y="80"/>
                </a:cxn>
                <a:cxn ang="0">
                  <a:pos x="8" y="64"/>
                </a:cxn>
                <a:cxn ang="0">
                  <a:pos x="4" y="56"/>
                </a:cxn>
                <a:cxn ang="0">
                  <a:pos x="8" y="52"/>
                </a:cxn>
                <a:cxn ang="0">
                  <a:pos x="16" y="52"/>
                </a:cxn>
                <a:cxn ang="0">
                  <a:pos x="20" y="52"/>
                </a:cxn>
                <a:cxn ang="0">
                  <a:pos x="24" y="48"/>
                </a:cxn>
                <a:cxn ang="0">
                  <a:pos x="32" y="48"/>
                </a:cxn>
                <a:cxn ang="0">
                  <a:pos x="36" y="48"/>
                </a:cxn>
                <a:cxn ang="0">
                  <a:pos x="40" y="44"/>
                </a:cxn>
                <a:cxn ang="0">
                  <a:pos x="40" y="40"/>
                </a:cxn>
                <a:cxn ang="0">
                  <a:pos x="40" y="32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2" y="12"/>
                </a:cxn>
                <a:cxn ang="0">
                  <a:pos x="56" y="12"/>
                </a:cxn>
                <a:cxn ang="0">
                  <a:pos x="68" y="12"/>
                </a:cxn>
                <a:cxn ang="0">
                  <a:pos x="72" y="4"/>
                </a:cxn>
                <a:cxn ang="0">
                  <a:pos x="79" y="4"/>
                </a:cxn>
                <a:cxn ang="0">
                  <a:pos x="83" y="8"/>
                </a:cxn>
                <a:cxn ang="0">
                  <a:pos x="95" y="8"/>
                </a:cxn>
                <a:cxn ang="0">
                  <a:pos x="103" y="8"/>
                </a:cxn>
                <a:cxn ang="0">
                  <a:pos x="115" y="16"/>
                </a:cxn>
                <a:cxn ang="0">
                  <a:pos x="115" y="20"/>
                </a:cxn>
                <a:cxn ang="0">
                  <a:pos x="119" y="28"/>
                </a:cxn>
                <a:cxn ang="0">
                  <a:pos x="115" y="36"/>
                </a:cxn>
                <a:cxn ang="0">
                  <a:pos x="119" y="40"/>
                </a:cxn>
                <a:cxn ang="0">
                  <a:pos x="127" y="48"/>
                </a:cxn>
                <a:cxn ang="0">
                  <a:pos x="131" y="56"/>
                </a:cxn>
                <a:cxn ang="0">
                  <a:pos x="139" y="60"/>
                </a:cxn>
                <a:cxn ang="0">
                  <a:pos x="143" y="64"/>
                </a:cxn>
                <a:cxn ang="0">
                  <a:pos x="139" y="72"/>
                </a:cxn>
                <a:cxn ang="0">
                  <a:pos x="131" y="72"/>
                </a:cxn>
                <a:cxn ang="0">
                  <a:pos x="123" y="76"/>
                </a:cxn>
                <a:cxn ang="0">
                  <a:pos x="127" y="80"/>
                </a:cxn>
                <a:cxn ang="0">
                  <a:pos x="127" y="92"/>
                </a:cxn>
                <a:cxn ang="0">
                  <a:pos x="127" y="96"/>
                </a:cxn>
                <a:cxn ang="0">
                  <a:pos x="119" y="96"/>
                </a:cxn>
                <a:cxn ang="0">
                  <a:pos x="111" y="100"/>
                </a:cxn>
                <a:cxn ang="0">
                  <a:pos x="111" y="112"/>
                </a:cxn>
                <a:cxn ang="0">
                  <a:pos x="103" y="108"/>
                </a:cxn>
                <a:cxn ang="0">
                  <a:pos x="99" y="112"/>
                </a:cxn>
                <a:cxn ang="0">
                  <a:pos x="91" y="108"/>
                </a:cxn>
                <a:cxn ang="0">
                  <a:pos x="83" y="108"/>
                </a:cxn>
                <a:cxn ang="0">
                  <a:pos x="83" y="108"/>
                </a:cxn>
                <a:cxn ang="0">
                  <a:pos x="75" y="108"/>
                </a:cxn>
                <a:cxn ang="0">
                  <a:pos x="72" y="108"/>
                </a:cxn>
                <a:cxn ang="0">
                  <a:pos x="68" y="108"/>
                </a:cxn>
                <a:cxn ang="0">
                  <a:pos x="64" y="108"/>
                </a:cxn>
                <a:cxn ang="0">
                  <a:pos x="56" y="104"/>
                </a:cxn>
                <a:cxn ang="0">
                  <a:pos x="52" y="100"/>
                </a:cxn>
                <a:cxn ang="0">
                  <a:pos x="48" y="100"/>
                </a:cxn>
                <a:cxn ang="0">
                  <a:pos x="40" y="100"/>
                </a:cxn>
              </a:cxnLst>
              <a:rect l="0" t="0" r="r" b="b"/>
              <a:pathLst>
                <a:path w="143" h="116">
                  <a:moveTo>
                    <a:pt x="36" y="100"/>
                  </a:moveTo>
                  <a:lnTo>
                    <a:pt x="36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9" y="24"/>
                  </a:lnTo>
                  <a:lnTo>
                    <a:pt x="119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23" y="40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3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5" y="56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27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31" y="92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1" y="100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1" y="108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5" y="108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17" name="Freeform 81">
              <a:extLst>
                <a:ext uri="{FF2B5EF4-FFF2-40B4-BE49-F238E27FC236}">
                  <a16:creationId xmlns:a16="http://schemas.microsoft.com/office/drawing/2014/main" xmlns="" id="{100E5881-35FC-4521-87A3-034BC3D04EC9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gray">
            <a:xfrm>
              <a:off x="4435383" y="3095094"/>
              <a:ext cx="81568" cy="65255"/>
            </a:xfrm>
            <a:custGeom>
              <a:avLst/>
              <a:gdLst/>
              <a:ahLst/>
              <a:cxnLst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35" y="4"/>
                </a:cxn>
                <a:cxn ang="0">
                  <a:pos x="35" y="0"/>
                </a:cxn>
                <a:cxn ang="0">
                  <a:pos x="39" y="4"/>
                </a:cxn>
                <a:cxn ang="0">
                  <a:pos x="39" y="8"/>
                </a:cxn>
                <a:cxn ang="0">
                  <a:pos x="43" y="8"/>
                </a:cxn>
                <a:cxn ang="0">
                  <a:pos x="47" y="8"/>
                </a:cxn>
                <a:cxn ang="0">
                  <a:pos x="47" y="12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51" y="20"/>
                </a:cxn>
                <a:cxn ang="0">
                  <a:pos x="55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51" y="32"/>
                </a:cxn>
                <a:cxn ang="0">
                  <a:pos x="47" y="32"/>
                </a:cxn>
                <a:cxn ang="0">
                  <a:pos x="47" y="40"/>
                </a:cxn>
                <a:cxn ang="0">
                  <a:pos x="47" y="40"/>
                </a:cxn>
                <a:cxn ang="0">
                  <a:pos x="47" y="44"/>
                </a:cxn>
                <a:cxn ang="0">
                  <a:pos x="43" y="44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5" y="40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4" y="36"/>
                </a:cxn>
              </a:cxnLst>
              <a:rect l="0" t="0" r="r" b="b"/>
              <a:pathLst>
                <a:path w="55" h="44">
                  <a:moveTo>
                    <a:pt x="24" y="36"/>
                  </a:moveTo>
                  <a:lnTo>
                    <a:pt x="24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4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20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18" name="Freeform 82">
              <a:extLst>
                <a:ext uri="{FF2B5EF4-FFF2-40B4-BE49-F238E27FC236}">
                  <a16:creationId xmlns:a16="http://schemas.microsoft.com/office/drawing/2014/main" xmlns="" id="{ED66CE6A-2F11-41C4-A691-54BC45E150A8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gray">
            <a:xfrm>
              <a:off x="4730513" y="3302723"/>
              <a:ext cx="83052" cy="83052"/>
            </a:xfrm>
            <a:custGeom>
              <a:avLst/>
              <a:gdLst/>
              <a:ahLst/>
              <a:cxnLst>
                <a:cxn ang="0">
                  <a:pos x="28" y="48"/>
                </a:cxn>
                <a:cxn ang="0">
                  <a:pos x="28" y="44"/>
                </a:cxn>
                <a:cxn ang="0">
                  <a:pos x="24" y="40"/>
                </a:cxn>
                <a:cxn ang="0">
                  <a:pos x="20" y="36"/>
                </a:cxn>
                <a:cxn ang="0">
                  <a:pos x="20" y="36"/>
                </a:cxn>
                <a:cxn ang="0">
                  <a:pos x="16" y="32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56" y="24"/>
                </a:cxn>
                <a:cxn ang="0">
                  <a:pos x="56" y="28"/>
                </a:cxn>
                <a:cxn ang="0">
                  <a:pos x="52" y="24"/>
                </a:cxn>
                <a:cxn ang="0">
                  <a:pos x="56" y="32"/>
                </a:cxn>
                <a:cxn ang="0">
                  <a:pos x="56" y="32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8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6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32" y="52"/>
                </a:cxn>
                <a:cxn ang="0">
                  <a:pos x="32" y="48"/>
                </a:cxn>
                <a:cxn ang="0">
                  <a:pos x="28" y="48"/>
                </a:cxn>
              </a:cxnLst>
              <a:rect l="0" t="0" r="r" b="b"/>
              <a:pathLst>
                <a:path w="56" h="56"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19" name="Freeform 83">
              <a:extLst>
                <a:ext uri="{FF2B5EF4-FFF2-40B4-BE49-F238E27FC236}">
                  <a16:creationId xmlns:a16="http://schemas.microsoft.com/office/drawing/2014/main" xmlns="" id="{2B8D8572-7967-44BA-8A26-0F184650C4B2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gray">
            <a:xfrm>
              <a:off x="4878820" y="3332384"/>
              <a:ext cx="140891" cy="93433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20" name="Freeform 84">
              <a:extLst>
                <a:ext uri="{FF2B5EF4-FFF2-40B4-BE49-F238E27FC236}">
                  <a16:creationId xmlns:a16="http://schemas.microsoft.com/office/drawing/2014/main" xmlns="" id="{F9498C33-95CB-4909-8546-F711E4F32C36}"/>
                </a:ext>
              </a:extLst>
            </p:cNvPr>
            <p:cNvSpPr>
              <a:spLocks noEditPoints="1"/>
            </p:cNvSpPr>
            <p:nvPr>
              <p:custDataLst>
                <p:tags r:id="rId84"/>
              </p:custDataLst>
            </p:nvPr>
          </p:nvSpPr>
          <p:spPr bwMode="gray">
            <a:xfrm>
              <a:off x="4677123" y="3261197"/>
              <a:ext cx="136442" cy="129026"/>
            </a:xfrm>
            <a:custGeom>
              <a:avLst/>
              <a:gdLst/>
              <a:ahLst/>
              <a:cxnLst>
                <a:cxn ang="0">
                  <a:pos x="72" y="80"/>
                </a:cxn>
                <a:cxn ang="0">
                  <a:pos x="76" y="84"/>
                </a:cxn>
                <a:cxn ang="0">
                  <a:pos x="60" y="76"/>
                </a:cxn>
                <a:cxn ang="0">
                  <a:pos x="64" y="76"/>
                </a:cxn>
                <a:cxn ang="0">
                  <a:pos x="20" y="28"/>
                </a:cxn>
                <a:cxn ang="0">
                  <a:pos x="16" y="36"/>
                </a:cxn>
                <a:cxn ang="0">
                  <a:pos x="16" y="28"/>
                </a:cxn>
                <a:cxn ang="0">
                  <a:pos x="16" y="36"/>
                </a:cxn>
                <a:cxn ang="0">
                  <a:pos x="12" y="40"/>
                </a:cxn>
                <a:cxn ang="0">
                  <a:pos x="24" y="40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6"/>
                </a:cxn>
                <a:cxn ang="0">
                  <a:pos x="48" y="68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44" y="72"/>
                </a:cxn>
                <a:cxn ang="0">
                  <a:pos x="48" y="76"/>
                </a:cxn>
                <a:cxn ang="0">
                  <a:pos x="64" y="80"/>
                </a:cxn>
                <a:cxn ang="0">
                  <a:pos x="60" y="76"/>
                </a:cxn>
                <a:cxn ang="0">
                  <a:pos x="52" y="68"/>
                </a:cxn>
                <a:cxn ang="0">
                  <a:pos x="36" y="64"/>
                </a:cxn>
                <a:cxn ang="0">
                  <a:pos x="32" y="56"/>
                </a:cxn>
                <a:cxn ang="0">
                  <a:pos x="24" y="48"/>
                </a:cxn>
                <a:cxn ang="0">
                  <a:pos x="24" y="44"/>
                </a:cxn>
                <a:cxn ang="0">
                  <a:pos x="24" y="32"/>
                </a:cxn>
                <a:cxn ang="0">
                  <a:pos x="12" y="24"/>
                </a:cxn>
                <a:cxn ang="0">
                  <a:pos x="8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8" y="20"/>
                </a:cxn>
                <a:cxn ang="0">
                  <a:pos x="36" y="12"/>
                </a:cxn>
                <a:cxn ang="0">
                  <a:pos x="36" y="4"/>
                </a:cxn>
                <a:cxn ang="0">
                  <a:pos x="48" y="0"/>
                </a:cxn>
                <a:cxn ang="0">
                  <a:pos x="60" y="12"/>
                </a:cxn>
                <a:cxn ang="0">
                  <a:pos x="72" y="16"/>
                </a:cxn>
                <a:cxn ang="0">
                  <a:pos x="84" y="16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28"/>
                </a:cxn>
                <a:cxn ang="0">
                  <a:pos x="64" y="32"/>
                </a:cxn>
                <a:cxn ang="0">
                  <a:pos x="52" y="28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40" y="48"/>
                </a:cxn>
                <a:cxn ang="0">
                  <a:pos x="48" y="56"/>
                </a:cxn>
                <a:cxn ang="0">
                  <a:pos x="60" y="64"/>
                </a:cxn>
                <a:cxn ang="0">
                  <a:pos x="64" y="72"/>
                </a:cxn>
              </a:cxnLst>
              <a:rect l="0" t="0" r="r" b="b"/>
              <a:pathLst>
                <a:path w="92" h="87">
                  <a:moveTo>
                    <a:pt x="64" y="76"/>
                  </a:moveTo>
                  <a:lnTo>
                    <a:pt x="68" y="76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7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60" y="76"/>
                  </a:lnTo>
                  <a:lnTo>
                    <a:pt x="64" y="76"/>
                  </a:lnTo>
                  <a:close/>
                  <a:moveTo>
                    <a:pt x="20" y="32"/>
                  </a:move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close/>
                  <a:moveTo>
                    <a:pt x="16" y="40"/>
                  </a:moveTo>
                  <a:lnTo>
                    <a:pt x="12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close/>
                  <a:moveTo>
                    <a:pt x="16" y="44"/>
                  </a:moveTo>
                  <a:lnTo>
                    <a:pt x="16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4"/>
                  </a:lnTo>
                  <a:close/>
                  <a:moveTo>
                    <a:pt x="20" y="40"/>
                  </a:moveTo>
                  <a:lnTo>
                    <a:pt x="24" y="40"/>
                  </a:lnTo>
                  <a:lnTo>
                    <a:pt x="24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0"/>
                  </a:lnTo>
                  <a:close/>
                  <a:moveTo>
                    <a:pt x="28" y="56"/>
                  </a:moveTo>
                  <a:lnTo>
                    <a:pt x="24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8" y="56"/>
                  </a:lnTo>
                  <a:close/>
                  <a:moveTo>
                    <a:pt x="48" y="68"/>
                  </a:moveTo>
                  <a:lnTo>
                    <a:pt x="44" y="68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48" y="68"/>
                  </a:lnTo>
                  <a:close/>
                  <a:moveTo>
                    <a:pt x="56" y="72"/>
                  </a:move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0" y="76"/>
                  </a:lnTo>
                  <a:close/>
                  <a:moveTo>
                    <a:pt x="52" y="76"/>
                  </a:moveTo>
                  <a:lnTo>
                    <a:pt x="48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64" y="80"/>
                  </a:moveTo>
                  <a:lnTo>
                    <a:pt x="60" y="80"/>
                  </a:lnTo>
                  <a:lnTo>
                    <a:pt x="64" y="80"/>
                  </a:lnTo>
                  <a:close/>
                  <a:moveTo>
                    <a:pt x="64" y="76"/>
                  </a:moveTo>
                  <a:lnTo>
                    <a:pt x="60" y="76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21" name="Freeform 85">
              <a:extLst>
                <a:ext uri="{FF2B5EF4-FFF2-40B4-BE49-F238E27FC236}">
                  <a16:creationId xmlns:a16="http://schemas.microsoft.com/office/drawing/2014/main" xmlns="" id="{C0801AEF-4FD5-4AFA-B21F-5F9E5B9D2625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gray">
            <a:xfrm>
              <a:off x="4647462" y="3112891"/>
              <a:ext cx="154239" cy="83052"/>
            </a:xfrm>
            <a:custGeom>
              <a:avLst/>
              <a:gdLst/>
              <a:ahLst/>
              <a:cxnLst>
                <a:cxn ang="0">
                  <a:pos x="88" y="44"/>
                </a:cxn>
                <a:cxn ang="0">
                  <a:pos x="84" y="48"/>
                </a:cxn>
                <a:cxn ang="0">
                  <a:pos x="76" y="48"/>
                </a:cxn>
                <a:cxn ang="0">
                  <a:pos x="72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60" y="52"/>
                </a:cxn>
                <a:cxn ang="0">
                  <a:pos x="56" y="48"/>
                </a:cxn>
                <a:cxn ang="0">
                  <a:pos x="52" y="48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28" y="52"/>
                </a:cxn>
                <a:cxn ang="0">
                  <a:pos x="24" y="48"/>
                </a:cxn>
                <a:cxn ang="0">
                  <a:pos x="24" y="48"/>
                </a:cxn>
                <a:cxn ang="0">
                  <a:pos x="20" y="44"/>
                </a:cxn>
                <a:cxn ang="0">
                  <a:pos x="12" y="4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0" y="4"/>
                </a:cxn>
                <a:cxn ang="0">
                  <a:pos x="48" y="0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4" y="12"/>
                </a:cxn>
                <a:cxn ang="0">
                  <a:pos x="64" y="16"/>
                </a:cxn>
                <a:cxn ang="0">
                  <a:pos x="68" y="20"/>
                </a:cxn>
                <a:cxn ang="0">
                  <a:pos x="72" y="20"/>
                </a:cxn>
                <a:cxn ang="0">
                  <a:pos x="76" y="20"/>
                </a:cxn>
                <a:cxn ang="0">
                  <a:pos x="72" y="12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92" y="20"/>
                </a:cxn>
                <a:cxn ang="0">
                  <a:pos x="100" y="24"/>
                </a:cxn>
                <a:cxn ang="0">
                  <a:pos x="100" y="32"/>
                </a:cxn>
                <a:cxn ang="0">
                  <a:pos x="100" y="32"/>
                </a:cxn>
                <a:cxn ang="0">
                  <a:pos x="92" y="40"/>
                </a:cxn>
                <a:cxn ang="0">
                  <a:pos x="92" y="40"/>
                </a:cxn>
              </a:cxnLst>
              <a:rect l="0" t="0" r="r" b="b"/>
              <a:pathLst>
                <a:path w="104" h="56">
                  <a:moveTo>
                    <a:pt x="92" y="40"/>
                  </a:move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22" name="Denmark">
              <a:extLst>
                <a:ext uri="{FF2B5EF4-FFF2-40B4-BE49-F238E27FC236}">
                  <a16:creationId xmlns:a16="http://schemas.microsoft.com/office/drawing/2014/main" xmlns="" id="{4C20D292-F2D5-4D7D-8358-620982044026}"/>
                </a:ext>
              </a:extLst>
            </p:cNvPr>
            <p:cNvSpPr>
              <a:spLocks noEditPoints="1"/>
            </p:cNvSpPr>
            <p:nvPr>
              <p:custDataLst>
                <p:tags r:id="rId86"/>
              </p:custDataLst>
            </p:nvPr>
          </p:nvSpPr>
          <p:spPr bwMode="gray">
            <a:xfrm>
              <a:off x="4558478" y="2881533"/>
              <a:ext cx="154239" cy="112713"/>
            </a:xfrm>
            <a:custGeom>
              <a:avLst/>
              <a:gdLst/>
              <a:ahLst/>
              <a:cxnLst>
                <a:cxn ang="0">
                  <a:pos x="4" y="24"/>
                </a:cxn>
                <a:cxn ang="0">
                  <a:pos x="8" y="16"/>
                </a:cxn>
                <a:cxn ang="0">
                  <a:pos x="24" y="12"/>
                </a:cxn>
                <a:cxn ang="0">
                  <a:pos x="36" y="4"/>
                </a:cxn>
                <a:cxn ang="0">
                  <a:pos x="32" y="16"/>
                </a:cxn>
                <a:cxn ang="0">
                  <a:pos x="16" y="16"/>
                </a:cxn>
                <a:cxn ang="0">
                  <a:pos x="4" y="24"/>
                </a:cxn>
                <a:cxn ang="0">
                  <a:pos x="24" y="64"/>
                </a:cxn>
                <a:cxn ang="0">
                  <a:pos x="16" y="68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0" y="28"/>
                </a:cxn>
                <a:cxn ang="0">
                  <a:pos x="12" y="24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4" y="28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24" y="44"/>
                </a:cxn>
                <a:cxn ang="0">
                  <a:pos x="24" y="48"/>
                </a:cxn>
                <a:cxn ang="0">
                  <a:pos x="44" y="12"/>
                </a:cxn>
                <a:cxn ang="0">
                  <a:pos x="12" y="24"/>
                </a:cxn>
                <a:cxn ang="0">
                  <a:pos x="64" y="56"/>
                </a:cxn>
                <a:cxn ang="0">
                  <a:pos x="56" y="60"/>
                </a:cxn>
                <a:cxn ang="0">
                  <a:pos x="44" y="52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56" y="44"/>
                </a:cxn>
                <a:cxn ang="0">
                  <a:pos x="68" y="44"/>
                </a:cxn>
                <a:cxn ang="0">
                  <a:pos x="36" y="48"/>
                </a:cxn>
                <a:cxn ang="0">
                  <a:pos x="32" y="52"/>
                </a:cxn>
                <a:cxn ang="0">
                  <a:pos x="40" y="56"/>
                </a:cxn>
                <a:cxn ang="0">
                  <a:pos x="28" y="64"/>
                </a:cxn>
                <a:cxn ang="0">
                  <a:pos x="24" y="52"/>
                </a:cxn>
                <a:cxn ang="0">
                  <a:pos x="100" y="56"/>
                </a:cxn>
                <a:cxn ang="0">
                  <a:pos x="36" y="68"/>
                </a:cxn>
                <a:cxn ang="0">
                  <a:pos x="44" y="64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6" y="68"/>
                </a:cxn>
                <a:cxn ang="0">
                  <a:pos x="68" y="68"/>
                </a:cxn>
                <a:cxn ang="0">
                  <a:pos x="32" y="68"/>
                </a:cxn>
                <a:cxn ang="0">
                  <a:pos x="56" y="68"/>
                </a:cxn>
                <a:cxn ang="0">
                  <a:pos x="56" y="72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72"/>
                </a:cxn>
              </a:cxnLst>
              <a:rect l="0" t="0" r="r" b="b"/>
              <a:pathLst>
                <a:path w="104" h="76">
                  <a:moveTo>
                    <a:pt x="4" y="24"/>
                  </a:move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4" y="24"/>
                  </a:lnTo>
                  <a:close/>
                  <a:moveTo>
                    <a:pt x="20" y="56"/>
                  </a:moveTo>
                  <a:lnTo>
                    <a:pt x="24" y="60"/>
                  </a:lnTo>
                  <a:lnTo>
                    <a:pt x="20" y="60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32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6"/>
                  </a:lnTo>
                  <a:close/>
                  <a:moveTo>
                    <a:pt x="44" y="12"/>
                  </a:moveTo>
                  <a:lnTo>
                    <a:pt x="40" y="12"/>
                  </a:lnTo>
                  <a:lnTo>
                    <a:pt x="44" y="12"/>
                  </a:lnTo>
                  <a:close/>
                  <a:moveTo>
                    <a:pt x="8" y="24"/>
                  </a:moveTo>
                  <a:lnTo>
                    <a:pt x="4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close/>
                  <a:moveTo>
                    <a:pt x="64" y="52"/>
                  </a:moveTo>
                  <a:lnTo>
                    <a:pt x="60" y="52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2"/>
                  </a:lnTo>
                  <a:close/>
                  <a:moveTo>
                    <a:pt x="36" y="44"/>
                  </a:move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4"/>
                  </a:lnTo>
                  <a:close/>
                  <a:moveTo>
                    <a:pt x="28" y="52"/>
                  </a:moveTo>
                  <a:lnTo>
                    <a:pt x="32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8" y="52"/>
                  </a:lnTo>
                  <a:close/>
                  <a:moveTo>
                    <a:pt x="104" y="64"/>
                  </a:moveTo>
                  <a:lnTo>
                    <a:pt x="100" y="64"/>
                  </a:lnTo>
                  <a:lnTo>
                    <a:pt x="100" y="60"/>
                  </a:lnTo>
                  <a:lnTo>
                    <a:pt x="100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close/>
                  <a:moveTo>
                    <a:pt x="40" y="72"/>
                  </a:moveTo>
                  <a:lnTo>
                    <a:pt x="36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72"/>
                  </a:lnTo>
                  <a:close/>
                  <a:moveTo>
                    <a:pt x="28" y="64"/>
                  </a:move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8" y="64"/>
                  </a:lnTo>
                  <a:close/>
                  <a:moveTo>
                    <a:pt x="36" y="68"/>
                  </a:moveTo>
                  <a:lnTo>
                    <a:pt x="36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8"/>
                  </a:lnTo>
                  <a:close/>
                  <a:moveTo>
                    <a:pt x="60" y="68"/>
                  </a:move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close/>
                  <a:moveTo>
                    <a:pt x="32" y="68"/>
                  </a:moveTo>
                  <a:lnTo>
                    <a:pt x="32" y="64"/>
                  </a:lnTo>
                  <a:lnTo>
                    <a:pt x="32" y="68"/>
                  </a:lnTo>
                  <a:lnTo>
                    <a:pt x="36" y="68"/>
                  </a:lnTo>
                  <a:lnTo>
                    <a:pt x="32" y="68"/>
                  </a:lnTo>
                  <a:close/>
                  <a:moveTo>
                    <a:pt x="56" y="68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68"/>
                  </a:lnTo>
                  <a:close/>
                  <a:moveTo>
                    <a:pt x="44" y="68"/>
                  </a:moveTo>
                  <a:lnTo>
                    <a:pt x="44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close/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23" name="Freeform 87">
              <a:extLst>
                <a:ext uri="{FF2B5EF4-FFF2-40B4-BE49-F238E27FC236}">
                  <a16:creationId xmlns:a16="http://schemas.microsoft.com/office/drawing/2014/main" xmlns="" id="{D3B13106-272E-4BBF-AE28-4BA7C6FC7484}"/>
                </a:ext>
              </a:extLst>
            </p:cNvPr>
            <p:cNvSpPr>
              <a:spLocks noEditPoints="1"/>
            </p:cNvSpPr>
            <p:nvPr>
              <p:custDataLst>
                <p:tags r:id="rId87"/>
              </p:custDataLst>
            </p:nvPr>
          </p:nvSpPr>
          <p:spPr bwMode="gray">
            <a:xfrm>
              <a:off x="4866955" y="2810346"/>
              <a:ext cx="140891" cy="77119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92" y="12"/>
                </a:cxn>
                <a:cxn ang="0">
                  <a:pos x="88" y="20"/>
                </a:cxn>
                <a:cxn ang="0">
                  <a:pos x="84" y="24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92" y="44"/>
                </a:cxn>
                <a:cxn ang="0">
                  <a:pos x="88" y="48"/>
                </a:cxn>
                <a:cxn ang="0">
                  <a:pos x="80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56" y="40"/>
                </a:cxn>
                <a:cxn ang="0">
                  <a:pos x="52" y="40"/>
                </a:cxn>
                <a:cxn ang="0">
                  <a:pos x="48" y="4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8" y="24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4" y="4"/>
                </a:cxn>
                <a:cxn ang="0">
                  <a:pos x="72" y="4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92" y="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6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4" y="40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12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8" y="36"/>
                </a:cxn>
                <a:cxn ang="0">
                  <a:pos x="4" y="44"/>
                </a:cxn>
              </a:cxnLst>
              <a:rect l="0" t="0" r="r" b="b"/>
              <a:pathLst>
                <a:path w="95" h="52">
                  <a:moveTo>
                    <a:pt x="92" y="8"/>
                  </a:moveTo>
                  <a:lnTo>
                    <a:pt x="92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0" y="16"/>
                  </a:move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20" y="24"/>
                  </a:move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close/>
                  <a:moveTo>
                    <a:pt x="4" y="44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24" name="Freeform 88">
              <a:extLst>
                <a:ext uri="{FF2B5EF4-FFF2-40B4-BE49-F238E27FC236}">
                  <a16:creationId xmlns:a16="http://schemas.microsoft.com/office/drawing/2014/main" xmlns="" id="{C7843401-132C-4E4D-9405-3C450154455F}"/>
                </a:ext>
              </a:extLst>
            </p:cNvPr>
            <p:cNvSpPr>
              <a:spLocks noEditPoints="1"/>
            </p:cNvSpPr>
            <p:nvPr>
              <p:custDataLst>
                <p:tags r:id="rId88"/>
              </p:custDataLst>
            </p:nvPr>
          </p:nvSpPr>
          <p:spPr bwMode="gray">
            <a:xfrm>
              <a:off x="4209958" y="2716912"/>
              <a:ext cx="23729" cy="34110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12" y="23"/>
                </a:cxn>
                <a:cxn ang="0">
                  <a:pos x="8" y="19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2" y="19"/>
                </a:cxn>
                <a:cxn ang="0">
                  <a:pos x="12" y="23"/>
                </a:cxn>
                <a:cxn ang="0">
                  <a:pos x="12" y="23"/>
                </a:cxn>
              </a:cxnLst>
              <a:rect l="0" t="0" r="r" b="b"/>
              <a:pathLst>
                <a:path w="16" h="23">
                  <a:moveTo>
                    <a:pt x="12" y="15"/>
                  </a:move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close/>
                  <a:moveTo>
                    <a:pt x="12" y="12"/>
                  </a:move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12" y="23"/>
                  </a:moveTo>
                  <a:lnTo>
                    <a:pt x="12" y="23"/>
                  </a:lnTo>
                  <a:lnTo>
                    <a:pt x="12" y="23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25" name="Freeform 89">
              <a:extLst>
                <a:ext uri="{FF2B5EF4-FFF2-40B4-BE49-F238E27FC236}">
                  <a16:creationId xmlns:a16="http://schemas.microsoft.com/office/drawing/2014/main" xmlns="" id="{7D0A1B22-D429-4789-8594-5FFE60A571C3}"/>
                </a:ext>
              </a:extLst>
            </p:cNvPr>
            <p:cNvSpPr>
              <a:spLocks noEditPoints="1"/>
            </p:cNvSpPr>
            <p:nvPr>
              <p:custDataLst>
                <p:tags r:id="rId89"/>
              </p:custDataLst>
            </p:nvPr>
          </p:nvSpPr>
          <p:spPr bwMode="gray">
            <a:xfrm>
              <a:off x="4813565" y="2414367"/>
              <a:ext cx="271400" cy="395978"/>
            </a:xfrm>
            <a:custGeom>
              <a:avLst/>
              <a:gdLst/>
              <a:ahLst/>
              <a:cxnLst>
                <a:cxn ang="0">
                  <a:pos x="44" y="255"/>
                </a:cxn>
                <a:cxn ang="0">
                  <a:pos x="36" y="251"/>
                </a:cxn>
                <a:cxn ang="0">
                  <a:pos x="28" y="235"/>
                </a:cxn>
                <a:cxn ang="0">
                  <a:pos x="32" y="223"/>
                </a:cxn>
                <a:cxn ang="0">
                  <a:pos x="28" y="208"/>
                </a:cxn>
                <a:cxn ang="0">
                  <a:pos x="28" y="192"/>
                </a:cxn>
                <a:cxn ang="0">
                  <a:pos x="32" y="184"/>
                </a:cxn>
                <a:cxn ang="0">
                  <a:pos x="40" y="176"/>
                </a:cxn>
                <a:cxn ang="0">
                  <a:pos x="52" y="168"/>
                </a:cxn>
                <a:cxn ang="0">
                  <a:pos x="68" y="156"/>
                </a:cxn>
                <a:cxn ang="0">
                  <a:pos x="80" y="140"/>
                </a:cxn>
                <a:cxn ang="0">
                  <a:pos x="88" y="132"/>
                </a:cxn>
                <a:cxn ang="0">
                  <a:pos x="84" y="120"/>
                </a:cxn>
                <a:cxn ang="0">
                  <a:pos x="72" y="116"/>
                </a:cxn>
                <a:cxn ang="0">
                  <a:pos x="68" y="96"/>
                </a:cxn>
                <a:cxn ang="0">
                  <a:pos x="64" y="72"/>
                </a:cxn>
                <a:cxn ang="0">
                  <a:pos x="60" y="56"/>
                </a:cxn>
                <a:cxn ang="0">
                  <a:pos x="32" y="44"/>
                </a:cxn>
                <a:cxn ang="0">
                  <a:pos x="16" y="28"/>
                </a:cxn>
                <a:cxn ang="0">
                  <a:pos x="28" y="24"/>
                </a:cxn>
                <a:cxn ang="0">
                  <a:pos x="44" y="40"/>
                </a:cxn>
                <a:cxn ang="0">
                  <a:pos x="64" y="36"/>
                </a:cxn>
                <a:cxn ang="0">
                  <a:pos x="84" y="44"/>
                </a:cxn>
                <a:cxn ang="0">
                  <a:pos x="92" y="36"/>
                </a:cxn>
                <a:cxn ang="0">
                  <a:pos x="96" y="16"/>
                </a:cxn>
                <a:cxn ang="0">
                  <a:pos x="104" y="4"/>
                </a:cxn>
                <a:cxn ang="0">
                  <a:pos x="124" y="0"/>
                </a:cxn>
                <a:cxn ang="0">
                  <a:pos x="139" y="12"/>
                </a:cxn>
                <a:cxn ang="0">
                  <a:pos x="143" y="24"/>
                </a:cxn>
                <a:cxn ang="0">
                  <a:pos x="135" y="32"/>
                </a:cxn>
                <a:cxn ang="0">
                  <a:pos x="139" y="52"/>
                </a:cxn>
                <a:cxn ang="0">
                  <a:pos x="159" y="68"/>
                </a:cxn>
                <a:cxn ang="0">
                  <a:pos x="143" y="88"/>
                </a:cxn>
                <a:cxn ang="0">
                  <a:pos x="155" y="108"/>
                </a:cxn>
                <a:cxn ang="0">
                  <a:pos x="155" y="124"/>
                </a:cxn>
                <a:cxn ang="0">
                  <a:pos x="151" y="136"/>
                </a:cxn>
                <a:cxn ang="0">
                  <a:pos x="159" y="148"/>
                </a:cxn>
                <a:cxn ang="0">
                  <a:pos x="167" y="164"/>
                </a:cxn>
                <a:cxn ang="0">
                  <a:pos x="171" y="176"/>
                </a:cxn>
                <a:cxn ang="0">
                  <a:pos x="179" y="192"/>
                </a:cxn>
                <a:cxn ang="0">
                  <a:pos x="167" y="208"/>
                </a:cxn>
                <a:cxn ang="0">
                  <a:pos x="151" y="227"/>
                </a:cxn>
                <a:cxn ang="0">
                  <a:pos x="135" y="239"/>
                </a:cxn>
                <a:cxn ang="0">
                  <a:pos x="120" y="251"/>
                </a:cxn>
                <a:cxn ang="0">
                  <a:pos x="108" y="247"/>
                </a:cxn>
                <a:cxn ang="0">
                  <a:pos x="104" y="251"/>
                </a:cxn>
                <a:cxn ang="0">
                  <a:pos x="92" y="255"/>
                </a:cxn>
                <a:cxn ang="0">
                  <a:pos x="84" y="255"/>
                </a:cxn>
                <a:cxn ang="0">
                  <a:pos x="72" y="259"/>
                </a:cxn>
                <a:cxn ang="0">
                  <a:pos x="56" y="263"/>
                </a:cxn>
                <a:cxn ang="0">
                  <a:pos x="56" y="263"/>
                </a:cxn>
                <a:cxn ang="0">
                  <a:pos x="80" y="136"/>
                </a:cxn>
                <a:cxn ang="0">
                  <a:pos x="28" y="184"/>
                </a:cxn>
                <a:cxn ang="0">
                  <a:pos x="4" y="259"/>
                </a:cxn>
                <a:cxn ang="0">
                  <a:pos x="4" y="251"/>
                </a:cxn>
                <a:cxn ang="0">
                  <a:pos x="44" y="255"/>
                </a:cxn>
                <a:cxn ang="0">
                  <a:pos x="48" y="263"/>
                </a:cxn>
                <a:cxn ang="0">
                  <a:pos x="52" y="259"/>
                </a:cxn>
                <a:cxn ang="0">
                  <a:pos x="36" y="255"/>
                </a:cxn>
                <a:cxn ang="0">
                  <a:pos x="52" y="263"/>
                </a:cxn>
              </a:cxnLst>
              <a:rect l="0" t="0" r="r" b="b"/>
              <a:pathLst>
                <a:path w="183" h="267">
                  <a:moveTo>
                    <a:pt x="52" y="259"/>
                  </a:moveTo>
                  <a:lnTo>
                    <a:pt x="52" y="255"/>
                  </a:lnTo>
                  <a:lnTo>
                    <a:pt x="56" y="251"/>
                  </a:lnTo>
                  <a:lnTo>
                    <a:pt x="52" y="255"/>
                  </a:lnTo>
                  <a:lnTo>
                    <a:pt x="48" y="255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44" y="251"/>
                  </a:lnTo>
                  <a:lnTo>
                    <a:pt x="40" y="251"/>
                  </a:lnTo>
                  <a:lnTo>
                    <a:pt x="36" y="247"/>
                  </a:lnTo>
                  <a:lnTo>
                    <a:pt x="36" y="251"/>
                  </a:lnTo>
                  <a:lnTo>
                    <a:pt x="36" y="247"/>
                  </a:lnTo>
                  <a:lnTo>
                    <a:pt x="32" y="247"/>
                  </a:lnTo>
                  <a:lnTo>
                    <a:pt x="28" y="247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8" y="231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28" y="223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28" y="219"/>
                  </a:lnTo>
                  <a:lnTo>
                    <a:pt x="32" y="216"/>
                  </a:lnTo>
                  <a:lnTo>
                    <a:pt x="28" y="216"/>
                  </a:lnTo>
                  <a:lnTo>
                    <a:pt x="28" y="212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24" y="204"/>
                  </a:lnTo>
                  <a:lnTo>
                    <a:pt x="24" y="200"/>
                  </a:lnTo>
                  <a:lnTo>
                    <a:pt x="24" y="196"/>
                  </a:lnTo>
                  <a:lnTo>
                    <a:pt x="24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32" y="184"/>
                  </a:lnTo>
                  <a:lnTo>
                    <a:pt x="32" y="188"/>
                  </a:lnTo>
                  <a:lnTo>
                    <a:pt x="32" y="184"/>
                  </a:lnTo>
                  <a:lnTo>
                    <a:pt x="32" y="180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44" y="176"/>
                  </a:lnTo>
                  <a:lnTo>
                    <a:pt x="44" y="172"/>
                  </a:lnTo>
                  <a:lnTo>
                    <a:pt x="48" y="168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56" y="164"/>
                  </a:lnTo>
                  <a:lnTo>
                    <a:pt x="60" y="164"/>
                  </a:lnTo>
                  <a:lnTo>
                    <a:pt x="60" y="160"/>
                  </a:lnTo>
                  <a:lnTo>
                    <a:pt x="64" y="160"/>
                  </a:lnTo>
                  <a:lnTo>
                    <a:pt x="64" y="156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72" y="152"/>
                  </a:lnTo>
                  <a:lnTo>
                    <a:pt x="72" y="148"/>
                  </a:lnTo>
                  <a:lnTo>
                    <a:pt x="76" y="144"/>
                  </a:lnTo>
                  <a:lnTo>
                    <a:pt x="76" y="140"/>
                  </a:lnTo>
                  <a:lnTo>
                    <a:pt x="80" y="140"/>
                  </a:lnTo>
                  <a:lnTo>
                    <a:pt x="84" y="140"/>
                  </a:lnTo>
                  <a:lnTo>
                    <a:pt x="88" y="140"/>
                  </a:lnTo>
                  <a:lnTo>
                    <a:pt x="88" y="136"/>
                  </a:lnTo>
                  <a:lnTo>
                    <a:pt x="92" y="136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88" y="128"/>
                  </a:lnTo>
                  <a:lnTo>
                    <a:pt x="88" y="124"/>
                  </a:lnTo>
                  <a:lnTo>
                    <a:pt x="88" y="120"/>
                  </a:lnTo>
                  <a:lnTo>
                    <a:pt x="84" y="120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0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4" y="100"/>
                  </a:lnTo>
                  <a:lnTo>
                    <a:pt x="64" y="96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8" y="88"/>
                  </a:lnTo>
                  <a:lnTo>
                    <a:pt x="64" y="84"/>
                  </a:lnTo>
                  <a:lnTo>
                    <a:pt x="60" y="80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52" y="48"/>
                  </a:lnTo>
                  <a:lnTo>
                    <a:pt x="48" y="48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5" y="36"/>
                  </a:lnTo>
                  <a:lnTo>
                    <a:pt x="139" y="36"/>
                  </a:lnTo>
                  <a:lnTo>
                    <a:pt x="139" y="40"/>
                  </a:lnTo>
                  <a:lnTo>
                    <a:pt x="135" y="44"/>
                  </a:lnTo>
                  <a:lnTo>
                    <a:pt x="135" y="48"/>
                  </a:lnTo>
                  <a:lnTo>
                    <a:pt x="139" y="52"/>
                  </a:lnTo>
                  <a:lnTo>
                    <a:pt x="147" y="56"/>
                  </a:lnTo>
                  <a:lnTo>
                    <a:pt x="151" y="56"/>
                  </a:lnTo>
                  <a:lnTo>
                    <a:pt x="151" y="60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5" y="72"/>
                  </a:lnTo>
                  <a:lnTo>
                    <a:pt x="151" y="76"/>
                  </a:lnTo>
                  <a:lnTo>
                    <a:pt x="147" y="84"/>
                  </a:lnTo>
                  <a:lnTo>
                    <a:pt x="143" y="84"/>
                  </a:lnTo>
                  <a:lnTo>
                    <a:pt x="143" y="88"/>
                  </a:lnTo>
                  <a:lnTo>
                    <a:pt x="147" y="88"/>
                  </a:lnTo>
                  <a:lnTo>
                    <a:pt x="147" y="92"/>
                  </a:lnTo>
                  <a:lnTo>
                    <a:pt x="151" y="96"/>
                  </a:lnTo>
                  <a:lnTo>
                    <a:pt x="151" y="100"/>
                  </a:lnTo>
                  <a:lnTo>
                    <a:pt x="155" y="104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59" y="112"/>
                  </a:lnTo>
                  <a:lnTo>
                    <a:pt x="159" y="116"/>
                  </a:lnTo>
                  <a:lnTo>
                    <a:pt x="159" y="120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5" y="128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51" y="140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8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7" y="156"/>
                  </a:lnTo>
                  <a:lnTo>
                    <a:pt x="167" y="160"/>
                  </a:lnTo>
                  <a:lnTo>
                    <a:pt x="167" y="164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59" y="168"/>
                  </a:lnTo>
                  <a:lnTo>
                    <a:pt x="163" y="172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1" y="180"/>
                  </a:lnTo>
                  <a:lnTo>
                    <a:pt x="175" y="180"/>
                  </a:lnTo>
                  <a:lnTo>
                    <a:pt x="179" y="184"/>
                  </a:lnTo>
                  <a:lnTo>
                    <a:pt x="183" y="188"/>
                  </a:lnTo>
                  <a:lnTo>
                    <a:pt x="183" y="192"/>
                  </a:lnTo>
                  <a:lnTo>
                    <a:pt x="179" y="192"/>
                  </a:lnTo>
                  <a:lnTo>
                    <a:pt x="179" y="196"/>
                  </a:lnTo>
                  <a:lnTo>
                    <a:pt x="179" y="200"/>
                  </a:lnTo>
                  <a:lnTo>
                    <a:pt x="175" y="204"/>
                  </a:lnTo>
                  <a:lnTo>
                    <a:pt x="171" y="204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12"/>
                  </a:lnTo>
                  <a:lnTo>
                    <a:pt x="163" y="216"/>
                  </a:lnTo>
                  <a:lnTo>
                    <a:pt x="159" y="216"/>
                  </a:lnTo>
                  <a:lnTo>
                    <a:pt x="159" y="219"/>
                  </a:lnTo>
                  <a:lnTo>
                    <a:pt x="155" y="223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7" y="231"/>
                  </a:lnTo>
                  <a:lnTo>
                    <a:pt x="143" y="231"/>
                  </a:lnTo>
                  <a:lnTo>
                    <a:pt x="139" y="235"/>
                  </a:lnTo>
                  <a:lnTo>
                    <a:pt x="139" y="239"/>
                  </a:lnTo>
                  <a:lnTo>
                    <a:pt x="135" y="239"/>
                  </a:lnTo>
                  <a:lnTo>
                    <a:pt x="131" y="239"/>
                  </a:lnTo>
                  <a:lnTo>
                    <a:pt x="131" y="243"/>
                  </a:lnTo>
                  <a:lnTo>
                    <a:pt x="128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47"/>
                  </a:lnTo>
                  <a:lnTo>
                    <a:pt x="116" y="247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4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8" y="243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0" y="251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51"/>
                  </a:lnTo>
                  <a:lnTo>
                    <a:pt x="96" y="255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2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4" y="259"/>
                  </a:lnTo>
                  <a:lnTo>
                    <a:pt x="80" y="259"/>
                  </a:lnTo>
                  <a:lnTo>
                    <a:pt x="76" y="259"/>
                  </a:lnTo>
                  <a:lnTo>
                    <a:pt x="76" y="263"/>
                  </a:lnTo>
                  <a:lnTo>
                    <a:pt x="76" y="259"/>
                  </a:lnTo>
                  <a:lnTo>
                    <a:pt x="72" y="259"/>
                  </a:lnTo>
                  <a:lnTo>
                    <a:pt x="68" y="259"/>
                  </a:lnTo>
                  <a:lnTo>
                    <a:pt x="64" y="263"/>
                  </a:lnTo>
                  <a:lnTo>
                    <a:pt x="60" y="263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7"/>
                  </a:lnTo>
                  <a:lnTo>
                    <a:pt x="52" y="263"/>
                  </a:lnTo>
                  <a:lnTo>
                    <a:pt x="56" y="263"/>
                  </a:lnTo>
                  <a:lnTo>
                    <a:pt x="60" y="259"/>
                  </a:lnTo>
                  <a:lnTo>
                    <a:pt x="56" y="259"/>
                  </a:lnTo>
                  <a:lnTo>
                    <a:pt x="56" y="263"/>
                  </a:lnTo>
                  <a:lnTo>
                    <a:pt x="56" y="259"/>
                  </a:lnTo>
                  <a:lnTo>
                    <a:pt x="52" y="259"/>
                  </a:lnTo>
                  <a:close/>
                  <a:moveTo>
                    <a:pt x="84" y="136"/>
                  </a:moveTo>
                  <a:lnTo>
                    <a:pt x="80" y="136"/>
                  </a:lnTo>
                  <a:lnTo>
                    <a:pt x="76" y="136"/>
                  </a:lnTo>
                  <a:lnTo>
                    <a:pt x="80" y="136"/>
                  </a:lnTo>
                  <a:lnTo>
                    <a:pt x="84" y="136"/>
                  </a:lnTo>
                  <a:close/>
                  <a:moveTo>
                    <a:pt x="52" y="168"/>
                  </a:moveTo>
                  <a:lnTo>
                    <a:pt x="48" y="168"/>
                  </a:lnTo>
                  <a:lnTo>
                    <a:pt x="52" y="164"/>
                  </a:lnTo>
                  <a:lnTo>
                    <a:pt x="52" y="168"/>
                  </a:lnTo>
                  <a:close/>
                  <a:moveTo>
                    <a:pt x="28" y="184"/>
                  </a:moveTo>
                  <a:lnTo>
                    <a:pt x="24" y="184"/>
                  </a:lnTo>
                  <a:lnTo>
                    <a:pt x="24" y="180"/>
                  </a:lnTo>
                  <a:lnTo>
                    <a:pt x="28" y="180"/>
                  </a:lnTo>
                  <a:lnTo>
                    <a:pt x="28" y="184"/>
                  </a:lnTo>
                  <a:close/>
                  <a:moveTo>
                    <a:pt x="8" y="259"/>
                  </a:moveTo>
                  <a:lnTo>
                    <a:pt x="4" y="259"/>
                  </a:lnTo>
                  <a:lnTo>
                    <a:pt x="4" y="255"/>
                  </a:lnTo>
                  <a:lnTo>
                    <a:pt x="8" y="255"/>
                  </a:lnTo>
                  <a:lnTo>
                    <a:pt x="8" y="251"/>
                  </a:lnTo>
                  <a:lnTo>
                    <a:pt x="4" y="251"/>
                  </a:lnTo>
                  <a:lnTo>
                    <a:pt x="4" y="255"/>
                  </a:lnTo>
                  <a:lnTo>
                    <a:pt x="4" y="251"/>
                  </a:lnTo>
                  <a:lnTo>
                    <a:pt x="8" y="251"/>
                  </a:lnTo>
                  <a:lnTo>
                    <a:pt x="12" y="255"/>
                  </a:lnTo>
                  <a:lnTo>
                    <a:pt x="8" y="255"/>
                  </a:lnTo>
                  <a:lnTo>
                    <a:pt x="8" y="259"/>
                  </a:lnTo>
                  <a:close/>
                  <a:moveTo>
                    <a:pt x="40" y="255"/>
                  </a:moveTo>
                  <a:lnTo>
                    <a:pt x="44" y="255"/>
                  </a:lnTo>
                  <a:lnTo>
                    <a:pt x="40" y="255"/>
                  </a:lnTo>
                  <a:close/>
                  <a:moveTo>
                    <a:pt x="0" y="259"/>
                  </a:moveTo>
                  <a:lnTo>
                    <a:pt x="0" y="255"/>
                  </a:lnTo>
                  <a:lnTo>
                    <a:pt x="4" y="255"/>
                  </a:lnTo>
                  <a:lnTo>
                    <a:pt x="0" y="259"/>
                  </a:lnTo>
                  <a:close/>
                  <a:moveTo>
                    <a:pt x="48" y="263"/>
                  </a:moveTo>
                  <a:lnTo>
                    <a:pt x="48" y="259"/>
                  </a:lnTo>
                  <a:lnTo>
                    <a:pt x="44" y="259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52" y="255"/>
                  </a:lnTo>
                  <a:lnTo>
                    <a:pt x="52" y="259"/>
                  </a:lnTo>
                  <a:lnTo>
                    <a:pt x="48" y="259"/>
                  </a:lnTo>
                  <a:lnTo>
                    <a:pt x="48" y="263"/>
                  </a:lnTo>
                  <a:close/>
                  <a:moveTo>
                    <a:pt x="36" y="259"/>
                  </a:moveTo>
                  <a:lnTo>
                    <a:pt x="32" y="259"/>
                  </a:lnTo>
                  <a:lnTo>
                    <a:pt x="32" y="255"/>
                  </a:lnTo>
                  <a:lnTo>
                    <a:pt x="36" y="255"/>
                  </a:lnTo>
                  <a:lnTo>
                    <a:pt x="36" y="259"/>
                  </a:lnTo>
                  <a:close/>
                  <a:moveTo>
                    <a:pt x="8" y="259"/>
                  </a:moveTo>
                  <a:lnTo>
                    <a:pt x="12" y="259"/>
                  </a:lnTo>
                  <a:lnTo>
                    <a:pt x="12" y="263"/>
                  </a:lnTo>
                  <a:lnTo>
                    <a:pt x="8" y="259"/>
                  </a:lnTo>
                  <a:close/>
                  <a:moveTo>
                    <a:pt x="52" y="263"/>
                  </a:moveTo>
                  <a:lnTo>
                    <a:pt x="56" y="263"/>
                  </a:lnTo>
                  <a:lnTo>
                    <a:pt x="52" y="263"/>
                  </a:lnTo>
                  <a:close/>
                  <a:moveTo>
                    <a:pt x="60" y="263"/>
                  </a:moveTo>
                  <a:lnTo>
                    <a:pt x="64" y="263"/>
                  </a:lnTo>
                  <a:lnTo>
                    <a:pt x="60" y="263"/>
                  </a:lnTo>
                  <a:close/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26" name="Freeform 90">
              <a:extLst>
                <a:ext uri="{FF2B5EF4-FFF2-40B4-BE49-F238E27FC236}">
                  <a16:creationId xmlns:a16="http://schemas.microsoft.com/office/drawing/2014/main" xmlns="" id="{715E8C3E-6B07-4451-9B21-CB743C95292E}"/>
                </a:ext>
              </a:extLst>
            </p:cNvPr>
            <p:cNvSpPr>
              <a:spLocks noEditPoints="1"/>
            </p:cNvSpPr>
            <p:nvPr>
              <p:custDataLst>
                <p:tags r:id="rId90"/>
              </p:custDataLst>
            </p:nvPr>
          </p:nvSpPr>
          <p:spPr bwMode="gray">
            <a:xfrm>
              <a:off x="4269280" y="3112891"/>
              <a:ext cx="318858" cy="306994"/>
            </a:xfrm>
            <a:custGeom>
              <a:avLst/>
              <a:gdLst/>
              <a:ahLst/>
              <a:cxnLst>
                <a:cxn ang="0">
                  <a:pos x="84" y="180"/>
                </a:cxn>
                <a:cxn ang="0">
                  <a:pos x="76" y="180"/>
                </a:cxn>
                <a:cxn ang="0">
                  <a:pos x="52" y="172"/>
                </a:cxn>
                <a:cxn ang="0">
                  <a:pos x="48" y="168"/>
                </a:cxn>
                <a:cxn ang="0">
                  <a:pos x="52" y="148"/>
                </a:cxn>
                <a:cxn ang="0">
                  <a:pos x="52" y="136"/>
                </a:cxn>
                <a:cxn ang="0">
                  <a:pos x="60" y="124"/>
                </a:cxn>
                <a:cxn ang="0">
                  <a:pos x="60" y="124"/>
                </a:cxn>
                <a:cxn ang="0">
                  <a:pos x="56" y="112"/>
                </a:cxn>
                <a:cxn ang="0">
                  <a:pos x="44" y="100"/>
                </a:cxn>
                <a:cxn ang="0">
                  <a:pos x="44" y="84"/>
                </a:cxn>
                <a:cxn ang="0">
                  <a:pos x="36" y="76"/>
                </a:cxn>
                <a:cxn ang="0">
                  <a:pos x="24" y="76"/>
                </a:cxn>
                <a:cxn ang="0">
                  <a:pos x="12" y="68"/>
                </a:cxn>
                <a:cxn ang="0">
                  <a:pos x="0" y="68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16" y="52"/>
                </a:cxn>
                <a:cxn ang="0">
                  <a:pos x="36" y="52"/>
                </a:cxn>
                <a:cxn ang="0">
                  <a:pos x="48" y="5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68" y="36"/>
                </a:cxn>
                <a:cxn ang="0">
                  <a:pos x="76" y="36"/>
                </a:cxn>
                <a:cxn ang="0">
                  <a:pos x="84" y="24"/>
                </a:cxn>
                <a:cxn ang="0">
                  <a:pos x="96" y="12"/>
                </a:cxn>
                <a:cxn ang="0">
                  <a:pos x="112" y="0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47" y="20"/>
                </a:cxn>
                <a:cxn ang="0">
                  <a:pos x="155" y="32"/>
                </a:cxn>
                <a:cxn ang="0">
                  <a:pos x="167" y="36"/>
                </a:cxn>
                <a:cxn ang="0">
                  <a:pos x="183" y="44"/>
                </a:cxn>
                <a:cxn ang="0">
                  <a:pos x="191" y="52"/>
                </a:cxn>
                <a:cxn ang="0">
                  <a:pos x="187" y="72"/>
                </a:cxn>
                <a:cxn ang="0">
                  <a:pos x="179" y="80"/>
                </a:cxn>
                <a:cxn ang="0">
                  <a:pos x="171" y="92"/>
                </a:cxn>
                <a:cxn ang="0">
                  <a:pos x="163" y="104"/>
                </a:cxn>
                <a:cxn ang="0">
                  <a:pos x="175" y="100"/>
                </a:cxn>
                <a:cxn ang="0">
                  <a:pos x="175" y="120"/>
                </a:cxn>
                <a:cxn ang="0">
                  <a:pos x="171" y="132"/>
                </a:cxn>
                <a:cxn ang="0">
                  <a:pos x="179" y="148"/>
                </a:cxn>
                <a:cxn ang="0">
                  <a:pos x="183" y="156"/>
                </a:cxn>
                <a:cxn ang="0">
                  <a:pos x="175" y="164"/>
                </a:cxn>
                <a:cxn ang="0">
                  <a:pos x="155" y="172"/>
                </a:cxn>
                <a:cxn ang="0">
                  <a:pos x="147" y="164"/>
                </a:cxn>
                <a:cxn ang="0">
                  <a:pos x="136" y="164"/>
                </a:cxn>
                <a:cxn ang="0">
                  <a:pos x="116" y="176"/>
                </a:cxn>
                <a:cxn ang="0">
                  <a:pos x="112" y="187"/>
                </a:cxn>
                <a:cxn ang="0">
                  <a:pos x="52" y="112"/>
                </a:cxn>
                <a:cxn ang="0">
                  <a:pos x="24" y="84"/>
                </a:cxn>
                <a:cxn ang="0">
                  <a:pos x="52" y="108"/>
                </a:cxn>
                <a:cxn ang="0">
                  <a:pos x="207" y="180"/>
                </a:cxn>
                <a:cxn ang="0">
                  <a:pos x="215" y="191"/>
                </a:cxn>
                <a:cxn ang="0">
                  <a:pos x="207" y="207"/>
                </a:cxn>
              </a:cxnLst>
              <a:rect l="0" t="0" r="r" b="b"/>
              <a:pathLst>
                <a:path w="215" h="207">
                  <a:moveTo>
                    <a:pt x="100" y="184"/>
                  </a:moveTo>
                  <a:lnTo>
                    <a:pt x="96" y="184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80"/>
                  </a:lnTo>
                  <a:lnTo>
                    <a:pt x="84" y="180"/>
                  </a:lnTo>
                  <a:lnTo>
                    <a:pt x="84" y="176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2" y="172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4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52" y="160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40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56" y="120"/>
                  </a:lnTo>
                  <a:lnTo>
                    <a:pt x="56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32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0" y="128"/>
                  </a:lnTo>
                  <a:lnTo>
                    <a:pt x="60" y="124"/>
                  </a:lnTo>
                  <a:lnTo>
                    <a:pt x="60" y="120"/>
                  </a:lnTo>
                  <a:lnTo>
                    <a:pt x="56" y="120"/>
                  </a:lnTo>
                  <a:lnTo>
                    <a:pt x="56" y="116"/>
                  </a:lnTo>
                  <a:lnTo>
                    <a:pt x="52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2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36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7" y="20"/>
                  </a:lnTo>
                  <a:lnTo>
                    <a:pt x="144" y="20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7" y="28"/>
                  </a:lnTo>
                  <a:lnTo>
                    <a:pt x="151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40"/>
                  </a:lnTo>
                  <a:lnTo>
                    <a:pt x="175" y="40"/>
                  </a:lnTo>
                  <a:lnTo>
                    <a:pt x="179" y="40"/>
                  </a:lnTo>
                  <a:lnTo>
                    <a:pt x="179" y="44"/>
                  </a:lnTo>
                  <a:lnTo>
                    <a:pt x="183" y="44"/>
                  </a:lnTo>
                  <a:lnTo>
                    <a:pt x="183" y="40"/>
                  </a:lnTo>
                  <a:lnTo>
                    <a:pt x="187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64"/>
                  </a:lnTo>
                  <a:lnTo>
                    <a:pt x="187" y="68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3" y="76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1" y="88"/>
                  </a:lnTo>
                  <a:lnTo>
                    <a:pt x="171" y="92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67" y="104"/>
                  </a:lnTo>
                  <a:lnTo>
                    <a:pt x="16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9" y="112"/>
                  </a:lnTo>
                  <a:lnTo>
                    <a:pt x="175" y="112"/>
                  </a:lnTo>
                  <a:lnTo>
                    <a:pt x="175" y="116"/>
                  </a:lnTo>
                  <a:lnTo>
                    <a:pt x="175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9" y="128"/>
                  </a:lnTo>
                  <a:lnTo>
                    <a:pt x="175" y="128"/>
                  </a:lnTo>
                  <a:lnTo>
                    <a:pt x="171" y="128"/>
                  </a:lnTo>
                  <a:lnTo>
                    <a:pt x="171" y="132"/>
                  </a:lnTo>
                  <a:lnTo>
                    <a:pt x="175" y="136"/>
                  </a:lnTo>
                  <a:lnTo>
                    <a:pt x="179" y="136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48"/>
                  </a:lnTo>
                  <a:lnTo>
                    <a:pt x="179" y="148"/>
                  </a:lnTo>
                  <a:lnTo>
                    <a:pt x="183" y="152"/>
                  </a:lnTo>
                  <a:lnTo>
                    <a:pt x="187" y="152"/>
                  </a:lnTo>
                  <a:lnTo>
                    <a:pt x="187" y="148"/>
                  </a:lnTo>
                  <a:lnTo>
                    <a:pt x="187" y="152"/>
                  </a:lnTo>
                  <a:lnTo>
                    <a:pt x="187" y="156"/>
                  </a:lnTo>
                  <a:lnTo>
                    <a:pt x="183" y="156"/>
                  </a:lnTo>
                  <a:lnTo>
                    <a:pt x="187" y="156"/>
                  </a:lnTo>
                  <a:lnTo>
                    <a:pt x="187" y="160"/>
                  </a:lnTo>
                  <a:lnTo>
                    <a:pt x="183" y="160"/>
                  </a:lnTo>
                  <a:lnTo>
                    <a:pt x="179" y="160"/>
                  </a:lnTo>
                  <a:lnTo>
                    <a:pt x="179" y="164"/>
                  </a:lnTo>
                  <a:lnTo>
                    <a:pt x="175" y="164"/>
                  </a:lnTo>
                  <a:lnTo>
                    <a:pt x="171" y="168"/>
                  </a:lnTo>
                  <a:lnTo>
                    <a:pt x="171" y="172"/>
                  </a:lnTo>
                  <a:lnTo>
                    <a:pt x="167" y="172"/>
                  </a:lnTo>
                  <a:lnTo>
                    <a:pt x="163" y="172"/>
                  </a:lnTo>
                  <a:lnTo>
                    <a:pt x="159" y="172"/>
                  </a:lnTo>
                  <a:lnTo>
                    <a:pt x="155" y="172"/>
                  </a:lnTo>
                  <a:lnTo>
                    <a:pt x="151" y="172"/>
                  </a:lnTo>
                  <a:lnTo>
                    <a:pt x="151" y="168"/>
                  </a:lnTo>
                  <a:lnTo>
                    <a:pt x="147" y="168"/>
                  </a:lnTo>
                  <a:lnTo>
                    <a:pt x="151" y="168"/>
                  </a:lnTo>
                  <a:lnTo>
                    <a:pt x="151" y="164"/>
                  </a:lnTo>
                  <a:lnTo>
                    <a:pt x="147" y="164"/>
                  </a:lnTo>
                  <a:lnTo>
                    <a:pt x="144" y="168"/>
                  </a:lnTo>
                  <a:lnTo>
                    <a:pt x="144" y="164"/>
                  </a:lnTo>
                  <a:lnTo>
                    <a:pt x="144" y="168"/>
                  </a:lnTo>
                  <a:lnTo>
                    <a:pt x="140" y="168"/>
                  </a:lnTo>
                  <a:lnTo>
                    <a:pt x="140" y="164"/>
                  </a:lnTo>
                  <a:lnTo>
                    <a:pt x="136" y="164"/>
                  </a:lnTo>
                  <a:lnTo>
                    <a:pt x="132" y="164"/>
                  </a:lnTo>
                  <a:lnTo>
                    <a:pt x="128" y="168"/>
                  </a:lnTo>
                  <a:lnTo>
                    <a:pt x="124" y="168"/>
                  </a:lnTo>
                  <a:lnTo>
                    <a:pt x="120" y="172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6" y="184"/>
                  </a:lnTo>
                  <a:lnTo>
                    <a:pt x="112" y="187"/>
                  </a:lnTo>
                  <a:lnTo>
                    <a:pt x="108" y="187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100" y="184"/>
                  </a:lnTo>
                  <a:close/>
                  <a:moveTo>
                    <a:pt x="52" y="116"/>
                  </a:moveTo>
                  <a:lnTo>
                    <a:pt x="52" y="112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56" y="112"/>
                  </a:lnTo>
                  <a:lnTo>
                    <a:pt x="56" y="116"/>
                  </a:lnTo>
                  <a:lnTo>
                    <a:pt x="52" y="116"/>
                  </a:lnTo>
                  <a:close/>
                  <a:moveTo>
                    <a:pt x="24" y="84"/>
                  </a:moveTo>
                  <a:lnTo>
                    <a:pt x="24" y="80"/>
                  </a:lnTo>
                  <a:lnTo>
                    <a:pt x="24" y="84"/>
                  </a:lnTo>
                  <a:close/>
                  <a:moveTo>
                    <a:pt x="52" y="108"/>
                  </a:moveTo>
                  <a:lnTo>
                    <a:pt x="48" y="108"/>
                  </a:lnTo>
                  <a:lnTo>
                    <a:pt x="48" y="104"/>
                  </a:lnTo>
                  <a:lnTo>
                    <a:pt x="52" y="108"/>
                  </a:lnTo>
                  <a:close/>
                  <a:moveTo>
                    <a:pt x="203" y="195"/>
                  </a:moveTo>
                  <a:lnTo>
                    <a:pt x="203" y="191"/>
                  </a:lnTo>
                  <a:lnTo>
                    <a:pt x="203" y="187"/>
                  </a:lnTo>
                  <a:lnTo>
                    <a:pt x="203" y="184"/>
                  </a:lnTo>
                  <a:lnTo>
                    <a:pt x="207" y="184"/>
                  </a:lnTo>
                  <a:lnTo>
                    <a:pt x="207" y="180"/>
                  </a:lnTo>
                  <a:lnTo>
                    <a:pt x="211" y="180"/>
                  </a:lnTo>
                  <a:lnTo>
                    <a:pt x="211" y="176"/>
                  </a:lnTo>
                  <a:lnTo>
                    <a:pt x="215" y="176"/>
                  </a:lnTo>
                  <a:lnTo>
                    <a:pt x="215" y="180"/>
                  </a:lnTo>
                  <a:lnTo>
                    <a:pt x="215" y="184"/>
                  </a:lnTo>
                  <a:lnTo>
                    <a:pt x="215" y="191"/>
                  </a:lnTo>
                  <a:lnTo>
                    <a:pt x="215" y="195"/>
                  </a:lnTo>
                  <a:lnTo>
                    <a:pt x="215" y="199"/>
                  </a:lnTo>
                  <a:lnTo>
                    <a:pt x="215" y="203"/>
                  </a:lnTo>
                  <a:lnTo>
                    <a:pt x="211" y="203"/>
                  </a:lnTo>
                  <a:lnTo>
                    <a:pt x="211" y="207"/>
                  </a:lnTo>
                  <a:lnTo>
                    <a:pt x="207" y="207"/>
                  </a:lnTo>
                  <a:lnTo>
                    <a:pt x="203" y="203"/>
                  </a:lnTo>
                  <a:lnTo>
                    <a:pt x="207" y="203"/>
                  </a:lnTo>
                  <a:lnTo>
                    <a:pt x="203" y="203"/>
                  </a:lnTo>
                  <a:lnTo>
                    <a:pt x="203" y="199"/>
                  </a:lnTo>
                  <a:lnTo>
                    <a:pt x="203" y="19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27" name="Freeform 91">
              <a:extLst>
                <a:ext uri="{FF2B5EF4-FFF2-40B4-BE49-F238E27FC236}">
                  <a16:creationId xmlns:a16="http://schemas.microsoft.com/office/drawing/2014/main" xmlns="" id="{4B5C29DF-E80E-4FC7-A51B-2C2F4F7E69A2}"/>
                </a:ext>
              </a:extLst>
            </p:cNvPr>
            <p:cNvSpPr>
              <a:spLocks noEditPoints="1"/>
            </p:cNvSpPr>
            <p:nvPr>
              <p:custDataLst>
                <p:tags r:id="rId91"/>
              </p:custDataLst>
            </p:nvPr>
          </p:nvSpPr>
          <p:spPr bwMode="gray">
            <a:xfrm>
              <a:off x="4505088" y="2976449"/>
              <a:ext cx="207629" cy="261019"/>
            </a:xfrm>
            <a:custGeom>
              <a:avLst/>
              <a:gdLst/>
              <a:ahLst/>
              <a:cxnLst>
                <a:cxn ang="0">
                  <a:pos x="28" y="152"/>
                </a:cxn>
                <a:cxn ang="0">
                  <a:pos x="36" y="136"/>
                </a:cxn>
                <a:cxn ang="0">
                  <a:pos x="20" y="136"/>
                </a:cxn>
                <a:cxn ang="0">
                  <a:pos x="8" y="128"/>
                </a:cxn>
                <a:cxn ang="0">
                  <a:pos x="4" y="116"/>
                </a:cxn>
                <a:cxn ang="0">
                  <a:pos x="8" y="100"/>
                </a:cxn>
                <a:cxn ang="0">
                  <a:pos x="4" y="92"/>
                </a:cxn>
                <a:cxn ang="0">
                  <a:pos x="4" y="80"/>
                </a:cxn>
                <a:cxn ang="0">
                  <a:pos x="16" y="72"/>
                </a:cxn>
                <a:cxn ang="0">
                  <a:pos x="16" y="60"/>
                </a:cxn>
                <a:cxn ang="0">
                  <a:pos x="20" y="52"/>
                </a:cxn>
                <a:cxn ang="0">
                  <a:pos x="20" y="40"/>
                </a:cxn>
                <a:cxn ang="0">
                  <a:pos x="32" y="32"/>
                </a:cxn>
                <a:cxn ang="0">
                  <a:pos x="36" y="3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56" y="32"/>
                </a:cxn>
                <a:cxn ang="0">
                  <a:pos x="48" y="20"/>
                </a:cxn>
                <a:cxn ang="0">
                  <a:pos x="48" y="16"/>
                </a:cxn>
                <a:cxn ang="0">
                  <a:pos x="40" y="4"/>
                </a:cxn>
                <a:cxn ang="0">
                  <a:pos x="40" y="0"/>
                </a:cxn>
                <a:cxn ang="0">
                  <a:pos x="56" y="4"/>
                </a:cxn>
                <a:cxn ang="0">
                  <a:pos x="60" y="12"/>
                </a:cxn>
                <a:cxn ang="0">
                  <a:pos x="80" y="16"/>
                </a:cxn>
                <a:cxn ang="0">
                  <a:pos x="80" y="24"/>
                </a:cxn>
                <a:cxn ang="0">
                  <a:pos x="92" y="20"/>
                </a:cxn>
                <a:cxn ang="0">
                  <a:pos x="108" y="12"/>
                </a:cxn>
                <a:cxn ang="0">
                  <a:pos x="100" y="16"/>
                </a:cxn>
                <a:cxn ang="0">
                  <a:pos x="116" y="20"/>
                </a:cxn>
                <a:cxn ang="0">
                  <a:pos x="124" y="28"/>
                </a:cxn>
                <a:cxn ang="0">
                  <a:pos x="132" y="40"/>
                </a:cxn>
                <a:cxn ang="0">
                  <a:pos x="132" y="56"/>
                </a:cxn>
                <a:cxn ang="0">
                  <a:pos x="136" y="64"/>
                </a:cxn>
                <a:cxn ang="0">
                  <a:pos x="136" y="80"/>
                </a:cxn>
                <a:cxn ang="0">
                  <a:pos x="136" y="96"/>
                </a:cxn>
                <a:cxn ang="0">
                  <a:pos x="132" y="92"/>
                </a:cxn>
                <a:cxn ang="0">
                  <a:pos x="112" y="100"/>
                </a:cxn>
                <a:cxn ang="0">
                  <a:pos x="100" y="112"/>
                </a:cxn>
                <a:cxn ang="0">
                  <a:pos x="104" y="116"/>
                </a:cxn>
                <a:cxn ang="0">
                  <a:pos x="108" y="128"/>
                </a:cxn>
                <a:cxn ang="0">
                  <a:pos x="120" y="144"/>
                </a:cxn>
                <a:cxn ang="0">
                  <a:pos x="108" y="152"/>
                </a:cxn>
                <a:cxn ang="0">
                  <a:pos x="108" y="164"/>
                </a:cxn>
                <a:cxn ang="0">
                  <a:pos x="108" y="168"/>
                </a:cxn>
                <a:cxn ang="0">
                  <a:pos x="88" y="168"/>
                </a:cxn>
                <a:cxn ang="0">
                  <a:pos x="72" y="168"/>
                </a:cxn>
                <a:cxn ang="0">
                  <a:pos x="64" y="168"/>
                </a:cxn>
                <a:cxn ang="0">
                  <a:pos x="48" y="164"/>
                </a:cxn>
                <a:cxn ang="0">
                  <a:pos x="44" y="164"/>
                </a:cxn>
                <a:cxn ang="0">
                  <a:pos x="36" y="168"/>
                </a:cxn>
                <a:cxn ang="0">
                  <a:pos x="120" y="28"/>
                </a:cxn>
                <a:cxn ang="0">
                  <a:pos x="124" y="20"/>
                </a:cxn>
                <a:cxn ang="0">
                  <a:pos x="84" y="16"/>
                </a:cxn>
                <a:cxn ang="0">
                  <a:pos x="40" y="8"/>
                </a:cxn>
                <a:cxn ang="0">
                  <a:pos x="116" y="12"/>
                </a:cxn>
                <a:cxn ang="0">
                  <a:pos x="120" y="12"/>
                </a:cxn>
              </a:cxnLst>
              <a:rect l="0" t="0" r="r" b="b"/>
              <a:pathLst>
                <a:path w="140" h="176">
                  <a:moveTo>
                    <a:pt x="28" y="168"/>
                  </a:moveTo>
                  <a:lnTo>
                    <a:pt x="28" y="164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44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28" y="136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2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0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0" y="24"/>
                  </a:ln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32" y="40"/>
                  </a:lnTo>
                  <a:lnTo>
                    <a:pt x="132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36" y="76"/>
                  </a:lnTo>
                  <a:lnTo>
                    <a:pt x="136" y="80"/>
                  </a:lnTo>
                  <a:lnTo>
                    <a:pt x="140" y="80"/>
                  </a:lnTo>
                  <a:lnTo>
                    <a:pt x="140" y="84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36" y="96"/>
                  </a:lnTo>
                  <a:lnTo>
                    <a:pt x="132" y="92"/>
                  </a:lnTo>
                  <a:lnTo>
                    <a:pt x="128" y="92"/>
                  </a:lnTo>
                  <a:lnTo>
                    <a:pt x="132" y="92"/>
                  </a:lnTo>
                  <a:lnTo>
                    <a:pt x="128" y="96"/>
                  </a:lnTo>
                  <a:lnTo>
                    <a:pt x="124" y="96"/>
                  </a:lnTo>
                  <a:lnTo>
                    <a:pt x="120" y="100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4" y="104"/>
                  </a:lnTo>
                  <a:lnTo>
                    <a:pt x="100" y="108"/>
                  </a:lnTo>
                  <a:lnTo>
                    <a:pt x="100" y="112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0" y="120"/>
                  </a:lnTo>
                  <a:lnTo>
                    <a:pt x="100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12" y="132"/>
                  </a:lnTo>
                  <a:lnTo>
                    <a:pt x="116" y="136"/>
                  </a:lnTo>
                  <a:lnTo>
                    <a:pt x="120" y="140"/>
                  </a:lnTo>
                  <a:lnTo>
                    <a:pt x="120" y="144"/>
                  </a:lnTo>
                  <a:lnTo>
                    <a:pt x="120" y="148"/>
                  </a:lnTo>
                  <a:lnTo>
                    <a:pt x="116" y="148"/>
                  </a:lnTo>
                  <a:lnTo>
                    <a:pt x="116" y="152"/>
                  </a:lnTo>
                  <a:lnTo>
                    <a:pt x="112" y="152"/>
                  </a:lnTo>
                  <a:lnTo>
                    <a:pt x="108" y="152"/>
                  </a:lnTo>
                  <a:lnTo>
                    <a:pt x="108" y="156"/>
                  </a:lnTo>
                  <a:lnTo>
                    <a:pt x="104" y="156"/>
                  </a:lnTo>
                  <a:lnTo>
                    <a:pt x="108" y="156"/>
                  </a:lnTo>
                  <a:lnTo>
                    <a:pt x="108" y="160"/>
                  </a:lnTo>
                  <a:lnTo>
                    <a:pt x="108" y="164"/>
                  </a:lnTo>
                  <a:lnTo>
                    <a:pt x="112" y="164"/>
                  </a:lnTo>
                  <a:lnTo>
                    <a:pt x="112" y="168"/>
                  </a:lnTo>
                  <a:lnTo>
                    <a:pt x="112" y="172"/>
                  </a:lnTo>
                  <a:lnTo>
                    <a:pt x="108" y="172"/>
                  </a:lnTo>
                  <a:lnTo>
                    <a:pt x="108" y="168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96" y="168"/>
                  </a:lnTo>
                  <a:lnTo>
                    <a:pt x="92" y="168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68" y="176"/>
                  </a:lnTo>
                  <a:lnTo>
                    <a:pt x="68" y="172"/>
                  </a:lnTo>
                  <a:lnTo>
                    <a:pt x="64" y="172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56" y="168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4" y="168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2" y="168"/>
                  </a:lnTo>
                  <a:lnTo>
                    <a:pt x="28" y="168"/>
                  </a:lnTo>
                  <a:close/>
                  <a:moveTo>
                    <a:pt x="128" y="28"/>
                  </a:move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close/>
                  <a:moveTo>
                    <a:pt x="84" y="12"/>
                  </a:moveTo>
                  <a:lnTo>
                    <a:pt x="84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2"/>
                  </a:lnTo>
                  <a:close/>
                  <a:moveTo>
                    <a:pt x="44" y="8"/>
                  </a:moveTo>
                  <a:lnTo>
                    <a:pt x="40" y="8"/>
                  </a:lnTo>
                  <a:lnTo>
                    <a:pt x="44" y="8"/>
                  </a:lnTo>
                  <a:close/>
                  <a:moveTo>
                    <a:pt x="112" y="20"/>
                  </a:moveTo>
                  <a:lnTo>
                    <a:pt x="112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8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6" y="16"/>
                  </a:lnTo>
                  <a:lnTo>
                    <a:pt x="116" y="20"/>
                  </a:lnTo>
                  <a:lnTo>
                    <a:pt x="112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28" name="Freeform 92">
              <a:extLst>
                <a:ext uri="{FF2B5EF4-FFF2-40B4-BE49-F238E27FC236}">
                  <a16:creationId xmlns:a16="http://schemas.microsoft.com/office/drawing/2014/main" xmlns="" id="{E9E6CE95-130E-4A40-BDE9-A0197F283356}"/>
                </a:ext>
              </a:extLst>
            </p:cNvPr>
            <p:cNvSpPr>
              <a:spLocks noEditPoints="1"/>
            </p:cNvSpPr>
            <p:nvPr>
              <p:custDataLst>
                <p:tags r:id="rId92"/>
              </p:custDataLst>
            </p:nvPr>
          </p:nvSpPr>
          <p:spPr bwMode="gray">
            <a:xfrm>
              <a:off x="4819497" y="3408020"/>
              <a:ext cx="188349" cy="207629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29" name="Freeform 93">
              <a:extLst>
                <a:ext uri="{FF2B5EF4-FFF2-40B4-BE49-F238E27FC236}">
                  <a16:creationId xmlns:a16="http://schemas.microsoft.com/office/drawing/2014/main" xmlns="" id="{54328821-9B26-433F-B603-0CE20FA5AFB0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gray">
            <a:xfrm>
              <a:off x="4316738" y="3160349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30" name="Freeform 94">
              <a:extLst>
                <a:ext uri="{FF2B5EF4-FFF2-40B4-BE49-F238E27FC236}">
                  <a16:creationId xmlns:a16="http://schemas.microsoft.com/office/drawing/2014/main" xmlns="" id="{F885270D-DFCE-4AD0-9EFA-226BFBD07F56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gray">
            <a:xfrm>
              <a:off x="4736446" y="3195942"/>
              <a:ext cx="154239" cy="88984"/>
            </a:xfrm>
            <a:custGeom>
              <a:avLst/>
              <a:gdLst/>
              <a:ahLst/>
              <a:cxnLst>
                <a:cxn ang="0">
                  <a:pos x="80" y="44"/>
                </a:cxn>
                <a:cxn ang="0">
                  <a:pos x="76" y="48"/>
                </a:cxn>
                <a:cxn ang="0">
                  <a:pos x="72" y="48"/>
                </a:cxn>
                <a:cxn ang="0">
                  <a:pos x="72" y="48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2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32" y="60"/>
                </a:cxn>
                <a:cxn ang="0">
                  <a:pos x="24" y="56"/>
                </a:cxn>
                <a:cxn ang="0">
                  <a:pos x="20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2" y="48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4"/>
                </a:cxn>
                <a:cxn ang="0">
                  <a:pos x="68" y="0"/>
                </a:cxn>
                <a:cxn ang="0">
                  <a:pos x="72" y="0"/>
                </a:cxn>
                <a:cxn ang="0">
                  <a:pos x="76" y="0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0"/>
                </a:cxn>
                <a:cxn ang="0">
                  <a:pos x="96" y="4"/>
                </a:cxn>
                <a:cxn ang="0">
                  <a:pos x="100" y="8"/>
                </a:cxn>
                <a:cxn ang="0">
                  <a:pos x="104" y="8"/>
                </a:cxn>
                <a:cxn ang="0">
                  <a:pos x="100" y="16"/>
                </a:cxn>
                <a:cxn ang="0">
                  <a:pos x="96" y="16"/>
                </a:cxn>
                <a:cxn ang="0">
                  <a:pos x="92" y="20"/>
                </a:cxn>
                <a:cxn ang="0">
                  <a:pos x="92" y="20"/>
                </a:cxn>
                <a:cxn ang="0">
                  <a:pos x="92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84" y="36"/>
                </a:cxn>
              </a:cxnLst>
              <a:rect l="0" t="0" r="r" b="b"/>
              <a:pathLst>
                <a:path w="104" h="60">
                  <a:moveTo>
                    <a:pt x="84" y="40"/>
                  </a:move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31" name="Freeform 95">
              <a:extLst>
                <a:ext uri="{FF2B5EF4-FFF2-40B4-BE49-F238E27FC236}">
                  <a16:creationId xmlns:a16="http://schemas.microsoft.com/office/drawing/2014/main" xmlns="" id="{E67A4860-9B7D-4A5D-81BD-0ED2B6A89A57}"/>
                </a:ext>
              </a:extLst>
            </p:cNvPr>
            <p:cNvSpPr>
              <a:spLocks/>
            </p:cNvSpPr>
            <p:nvPr>
              <p:custDataLst>
                <p:tags r:id="rId95"/>
              </p:custDataLst>
            </p:nvPr>
          </p:nvSpPr>
          <p:spPr bwMode="gray">
            <a:xfrm>
              <a:off x="3825844" y="2556741"/>
              <a:ext cx="247671" cy="118645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2" y="48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32" y="40"/>
                </a:cxn>
                <a:cxn ang="0">
                  <a:pos x="36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20" y="28"/>
                </a:cxn>
                <a:cxn ang="0">
                  <a:pos x="0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8" y="20"/>
                </a:cxn>
                <a:cxn ang="0">
                  <a:pos x="32" y="12"/>
                </a:cxn>
                <a:cxn ang="0">
                  <a:pos x="32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8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16"/>
                </a:cxn>
                <a:cxn ang="0">
                  <a:pos x="72" y="20"/>
                </a:cxn>
                <a:cxn ang="0">
                  <a:pos x="84" y="12"/>
                </a:cxn>
                <a:cxn ang="0">
                  <a:pos x="91" y="16"/>
                </a:cxn>
                <a:cxn ang="0">
                  <a:pos x="95" y="20"/>
                </a:cxn>
                <a:cxn ang="0">
                  <a:pos x="99" y="12"/>
                </a:cxn>
                <a:cxn ang="0">
                  <a:pos x="111" y="8"/>
                </a:cxn>
                <a:cxn ang="0">
                  <a:pos x="123" y="8"/>
                </a:cxn>
                <a:cxn ang="0">
                  <a:pos x="131" y="0"/>
                </a:cxn>
                <a:cxn ang="0">
                  <a:pos x="139" y="8"/>
                </a:cxn>
                <a:cxn ang="0">
                  <a:pos x="143" y="12"/>
                </a:cxn>
                <a:cxn ang="0">
                  <a:pos x="147" y="16"/>
                </a:cxn>
                <a:cxn ang="0">
                  <a:pos x="151" y="24"/>
                </a:cxn>
                <a:cxn ang="0">
                  <a:pos x="163" y="32"/>
                </a:cxn>
                <a:cxn ang="0">
                  <a:pos x="167" y="36"/>
                </a:cxn>
                <a:cxn ang="0">
                  <a:pos x="163" y="44"/>
                </a:cxn>
                <a:cxn ang="0">
                  <a:pos x="155" y="48"/>
                </a:cxn>
                <a:cxn ang="0">
                  <a:pos x="151" y="56"/>
                </a:cxn>
                <a:cxn ang="0">
                  <a:pos x="139" y="60"/>
                </a:cxn>
                <a:cxn ang="0">
                  <a:pos x="127" y="64"/>
                </a:cxn>
                <a:cxn ang="0">
                  <a:pos x="115" y="68"/>
                </a:cxn>
                <a:cxn ang="0">
                  <a:pos x="99" y="72"/>
                </a:cxn>
                <a:cxn ang="0">
                  <a:pos x="88" y="80"/>
                </a:cxn>
                <a:cxn ang="0">
                  <a:pos x="68" y="76"/>
                </a:cxn>
                <a:cxn ang="0">
                  <a:pos x="60" y="72"/>
                </a:cxn>
                <a:cxn ang="0">
                  <a:pos x="52" y="72"/>
                </a:cxn>
                <a:cxn ang="0">
                  <a:pos x="40" y="68"/>
                </a:cxn>
                <a:cxn ang="0">
                  <a:pos x="28" y="72"/>
                </a:cxn>
                <a:cxn ang="0">
                  <a:pos x="32" y="64"/>
                </a:cxn>
                <a:cxn ang="0">
                  <a:pos x="40" y="60"/>
                </a:cxn>
                <a:cxn ang="0">
                  <a:pos x="48" y="56"/>
                </a:cxn>
                <a:cxn ang="0">
                  <a:pos x="36" y="56"/>
                </a:cxn>
              </a:cxnLst>
              <a:rect l="0" t="0" r="r" b="b"/>
              <a:pathLst>
                <a:path w="167" h="80">
                  <a:moveTo>
                    <a:pt x="36" y="56"/>
                  </a:moveTo>
                  <a:lnTo>
                    <a:pt x="40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28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1" y="12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103" y="12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9" y="12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19" y="4"/>
                  </a:lnTo>
                  <a:lnTo>
                    <a:pt x="119" y="0"/>
                  </a:lnTo>
                  <a:lnTo>
                    <a:pt x="123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3" y="8"/>
                  </a:lnTo>
                  <a:lnTo>
                    <a:pt x="143" y="12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6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5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63" y="28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3" y="36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7" y="36"/>
                  </a:lnTo>
                  <a:lnTo>
                    <a:pt x="167" y="40"/>
                  </a:lnTo>
                  <a:lnTo>
                    <a:pt x="163" y="40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8"/>
                  </a:lnTo>
                  <a:lnTo>
                    <a:pt x="155" y="48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51" y="56"/>
                  </a:lnTo>
                  <a:lnTo>
                    <a:pt x="147" y="56"/>
                  </a:lnTo>
                  <a:lnTo>
                    <a:pt x="143" y="60"/>
                  </a:lnTo>
                  <a:lnTo>
                    <a:pt x="147" y="60"/>
                  </a:lnTo>
                  <a:lnTo>
                    <a:pt x="143" y="60"/>
                  </a:lnTo>
                  <a:lnTo>
                    <a:pt x="139" y="60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5" y="60"/>
                  </a:lnTo>
                  <a:lnTo>
                    <a:pt x="131" y="60"/>
                  </a:lnTo>
                  <a:lnTo>
                    <a:pt x="127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19" y="68"/>
                  </a:lnTo>
                  <a:lnTo>
                    <a:pt x="115" y="72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07" y="72"/>
                  </a:lnTo>
                  <a:lnTo>
                    <a:pt x="103" y="72"/>
                  </a:lnTo>
                  <a:lnTo>
                    <a:pt x="99" y="72"/>
                  </a:lnTo>
                  <a:lnTo>
                    <a:pt x="99" y="76"/>
                  </a:lnTo>
                  <a:lnTo>
                    <a:pt x="99" y="80"/>
                  </a:lnTo>
                  <a:lnTo>
                    <a:pt x="95" y="80"/>
                  </a:lnTo>
                  <a:lnTo>
                    <a:pt x="91" y="80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32" name="Freeform 96">
              <a:extLst>
                <a:ext uri="{FF2B5EF4-FFF2-40B4-BE49-F238E27FC236}">
                  <a16:creationId xmlns:a16="http://schemas.microsoft.com/office/drawing/2014/main" xmlns="" id="{5C530C73-3119-46B7-A1D4-6DF73151E796}"/>
                </a:ext>
              </a:extLst>
            </p:cNvPr>
            <p:cNvSpPr>
              <a:spLocks noEditPoints="1"/>
            </p:cNvSpPr>
            <p:nvPr>
              <p:custDataLst>
                <p:tags r:id="rId96"/>
              </p:custDataLst>
            </p:nvPr>
          </p:nvSpPr>
          <p:spPr bwMode="gray">
            <a:xfrm>
              <a:off x="4138771" y="2964584"/>
              <a:ext cx="100848" cy="136442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2" y="20"/>
                </a:cxn>
                <a:cxn ang="0">
                  <a:pos x="32" y="16"/>
                </a:cxn>
                <a:cxn ang="0">
                  <a:pos x="32" y="12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64" y="40"/>
                </a:cxn>
                <a:cxn ang="0">
                  <a:pos x="68" y="48"/>
                </a:cxn>
                <a:cxn ang="0">
                  <a:pos x="68" y="52"/>
                </a:cxn>
                <a:cxn ang="0">
                  <a:pos x="64" y="64"/>
                </a:cxn>
                <a:cxn ang="0">
                  <a:pos x="64" y="72"/>
                </a:cxn>
                <a:cxn ang="0">
                  <a:pos x="56" y="76"/>
                </a:cxn>
                <a:cxn ang="0">
                  <a:pos x="56" y="72"/>
                </a:cxn>
                <a:cxn ang="0">
                  <a:pos x="48" y="76"/>
                </a:cxn>
                <a:cxn ang="0">
                  <a:pos x="40" y="80"/>
                </a:cxn>
                <a:cxn ang="0">
                  <a:pos x="32" y="80"/>
                </a:cxn>
                <a:cxn ang="0">
                  <a:pos x="32" y="88"/>
                </a:cxn>
                <a:cxn ang="0">
                  <a:pos x="20" y="88"/>
                </a:cxn>
                <a:cxn ang="0">
                  <a:pos x="12" y="92"/>
                </a:cxn>
                <a:cxn ang="0">
                  <a:pos x="12" y="88"/>
                </a:cxn>
                <a:cxn ang="0">
                  <a:pos x="8" y="88"/>
                </a:cxn>
                <a:cxn ang="0">
                  <a:pos x="16" y="80"/>
                </a:cxn>
                <a:cxn ang="0">
                  <a:pos x="4" y="84"/>
                </a:cxn>
                <a:cxn ang="0">
                  <a:pos x="4" y="80"/>
                </a:cxn>
                <a:cxn ang="0">
                  <a:pos x="8" y="76"/>
                </a:cxn>
                <a:cxn ang="0">
                  <a:pos x="0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12" y="64"/>
                </a:cxn>
                <a:cxn ang="0">
                  <a:pos x="16" y="60"/>
                </a:cxn>
                <a:cxn ang="0">
                  <a:pos x="24" y="52"/>
                </a:cxn>
                <a:cxn ang="0">
                  <a:pos x="8" y="32"/>
                </a:cxn>
              </a:cxnLst>
              <a:rect l="0" t="0" r="r" b="b"/>
              <a:pathLst>
                <a:path w="68" h="92">
                  <a:moveTo>
                    <a:pt x="24" y="52"/>
                  </a:moveTo>
                  <a:lnTo>
                    <a:pt x="24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6"/>
                  </a:lnTo>
                  <a:lnTo>
                    <a:pt x="68" y="60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2"/>
                  </a:lnTo>
                  <a:lnTo>
                    <a:pt x="24" y="52"/>
                  </a:lnTo>
                  <a:close/>
                  <a:moveTo>
                    <a:pt x="8" y="32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33" name="Freeform 97">
              <a:extLst>
                <a:ext uri="{FF2B5EF4-FFF2-40B4-BE49-F238E27FC236}">
                  <a16:creationId xmlns:a16="http://schemas.microsoft.com/office/drawing/2014/main" xmlns="" id="{127FEF53-2713-4C1C-84A1-40359A3A9682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gray">
            <a:xfrm>
              <a:off x="4269280" y="3000178"/>
              <a:ext cx="11865" cy="1186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34" name="Freeform 98">
              <a:extLst>
                <a:ext uri="{FF2B5EF4-FFF2-40B4-BE49-F238E27FC236}">
                  <a16:creationId xmlns:a16="http://schemas.microsoft.com/office/drawing/2014/main" xmlns="" id="{253C4F36-A0F6-4DEF-ABD5-183F729881AB}"/>
                </a:ext>
              </a:extLst>
            </p:cNvPr>
            <p:cNvSpPr>
              <a:spLocks noEditPoints="1"/>
            </p:cNvSpPr>
            <p:nvPr>
              <p:custDataLst>
                <p:tags r:id="rId98"/>
              </p:custDataLst>
            </p:nvPr>
          </p:nvSpPr>
          <p:spPr bwMode="gray">
            <a:xfrm>
              <a:off x="4522885" y="3243400"/>
              <a:ext cx="266951" cy="324791"/>
            </a:xfrm>
            <a:custGeom>
              <a:avLst/>
              <a:gdLst/>
              <a:ahLst/>
              <a:cxnLst>
                <a:cxn ang="0">
                  <a:pos x="104" y="76"/>
                </a:cxn>
                <a:cxn ang="0">
                  <a:pos x="112" y="96"/>
                </a:cxn>
                <a:cxn ang="0">
                  <a:pos x="132" y="107"/>
                </a:cxn>
                <a:cxn ang="0">
                  <a:pos x="144" y="115"/>
                </a:cxn>
                <a:cxn ang="0">
                  <a:pos x="160" y="127"/>
                </a:cxn>
                <a:cxn ang="0">
                  <a:pos x="176" y="139"/>
                </a:cxn>
                <a:cxn ang="0">
                  <a:pos x="176" y="151"/>
                </a:cxn>
                <a:cxn ang="0">
                  <a:pos x="160" y="139"/>
                </a:cxn>
                <a:cxn ang="0">
                  <a:pos x="152" y="151"/>
                </a:cxn>
                <a:cxn ang="0">
                  <a:pos x="160" y="167"/>
                </a:cxn>
                <a:cxn ang="0">
                  <a:pos x="152" y="183"/>
                </a:cxn>
                <a:cxn ang="0">
                  <a:pos x="136" y="187"/>
                </a:cxn>
                <a:cxn ang="0">
                  <a:pos x="148" y="171"/>
                </a:cxn>
                <a:cxn ang="0">
                  <a:pos x="140" y="155"/>
                </a:cxn>
                <a:cxn ang="0">
                  <a:pos x="128" y="139"/>
                </a:cxn>
                <a:cxn ang="0">
                  <a:pos x="112" y="123"/>
                </a:cxn>
                <a:cxn ang="0">
                  <a:pos x="92" y="119"/>
                </a:cxn>
                <a:cxn ang="0">
                  <a:pos x="80" y="103"/>
                </a:cxn>
                <a:cxn ang="0">
                  <a:pos x="68" y="92"/>
                </a:cxn>
                <a:cxn ang="0">
                  <a:pos x="56" y="76"/>
                </a:cxn>
                <a:cxn ang="0">
                  <a:pos x="40" y="60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4" y="56"/>
                </a:cxn>
                <a:cxn ang="0">
                  <a:pos x="4" y="40"/>
                </a:cxn>
                <a:cxn ang="0">
                  <a:pos x="4" y="24"/>
                </a:cxn>
                <a:cxn ang="0">
                  <a:pos x="24" y="16"/>
                </a:cxn>
                <a:cxn ang="0">
                  <a:pos x="36" y="24"/>
                </a:cxn>
                <a:cxn ang="0">
                  <a:pos x="40" y="12"/>
                </a:cxn>
                <a:cxn ang="0">
                  <a:pos x="52" y="12"/>
                </a:cxn>
                <a:cxn ang="0">
                  <a:pos x="60" y="4"/>
                </a:cxn>
                <a:cxn ang="0">
                  <a:pos x="80" y="0"/>
                </a:cxn>
                <a:cxn ang="0">
                  <a:pos x="96" y="8"/>
                </a:cxn>
                <a:cxn ang="0">
                  <a:pos x="104" y="16"/>
                </a:cxn>
                <a:cxn ang="0">
                  <a:pos x="108" y="28"/>
                </a:cxn>
                <a:cxn ang="0">
                  <a:pos x="100" y="28"/>
                </a:cxn>
                <a:cxn ang="0">
                  <a:pos x="92" y="32"/>
                </a:cxn>
                <a:cxn ang="0">
                  <a:pos x="92" y="44"/>
                </a:cxn>
                <a:cxn ang="0">
                  <a:pos x="92" y="64"/>
                </a:cxn>
                <a:cxn ang="0">
                  <a:pos x="88" y="64"/>
                </a:cxn>
                <a:cxn ang="0">
                  <a:pos x="56" y="88"/>
                </a:cxn>
                <a:cxn ang="0">
                  <a:pos x="28" y="151"/>
                </a:cxn>
                <a:cxn ang="0">
                  <a:pos x="24" y="131"/>
                </a:cxn>
                <a:cxn ang="0">
                  <a:pos x="44" y="127"/>
                </a:cxn>
                <a:cxn ang="0">
                  <a:pos x="48" y="143"/>
                </a:cxn>
                <a:cxn ang="0">
                  <a:pos x="44" y="167"/>
                </a:cxn>
                <a:cxn ang="0">
                  <a:pos x="28" y="167"/>
                </a:cxn>
                <a:cxn ang="0">
                  <a:pos x="124" y="215"/>
                </a:cxn>
                <a:cxn ang="0">
                  <a:pos x="108" y="207"/>
                </a:cxn>
                <a:cxn ang="0">
                  <a:pos x="88" y="199"/>
                </a:cxn>
                <a:cxn ang="0">
                  <a:pos x="96" y="187"/>
                </a:cxn>
                <a:cxn ang="0">
                  <a:pos x="120" y="191"/>
                </a:cxn>
                <a:cxn ang="0">
                  <a:pos x="136" y="191"/>
                </a:cxn>
                <a:cxn ang="0">
                  <a:pos x="132" y="207"/>
                </a:cxn>
              </a:cxnLst>
              <a:rect l="0" t="0" r="r" b="b"/>
              <a:pathLst>
                <a:path w="180" h="219">
                  <a:moveTo>
                    <a:pt x="92" y="68"/>
                  </a:moveTo>
                  <a:lnTo>
                    <a:pt x="96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20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8" y="107"/>
                  </a:lnTo>
                  <a:lnTo>
                    <a:pt x="132" y="107"/>
                  </a:lnTo>
                  <a:lnTo>
                    <a:pt x="132" y="111"/>
                  </a:lnTo>
                  <a:lnTo>
                    <a:pt x="136" y="107"/>
                  </a:lnTo>
                  <a:lnTo>
                    <a:pt x="140" y="107"/>
                  </a:lnTo>
                  <a:lnTo>
                    <a:pt x="144" y="107"/>
                  </a:lnTo>
                  <a:lnTo>
                    <a:pt x="144" y="111"/>
                  </a:lnTo>
                  <a:lnTo>
                    <a:pt x="144" y="115"/>
                  </a:lnTo>
                  <a:lnTo>
                    <a:pt x="140" y="115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60" y="127"/>
                  </a:lnTo>
                  <a:lnTo>
                    <a:pt x="164" y="127"/>
                  </a:lnTo>
                  <a:lnTo>
                    <a:pt x="164" y="131"/>
                  </a:lnTo>
                  <a:lnTo>
                    <a:pt x="168" y="135"/>
                  </a:lnTo>
                  <a:lnTo>
                    <a:pt x="172" y="135"/>
                  </a:lnTo>
                  <a:lnTo>
                    <a:pt x="172" y="139"/>
                  </a:lnTo>
                  <a:lnTo>
                    <a:pt x="176" y="139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0" y="151"/>
                  </a:lnTo>
                  <a:lnTo>
                    <a:pt x="180" y="155"/>
                  </a:lnTo>
                  <a:lnTo>
                    <a:pt x="180" y="151"/>
                  </a:lnTo>
                  <a:lnTo>
                    <a:pt x="176" y="151"/>
                  </a:lnTo>
                  <a:lnTo>
                    <a:pt x="172" y="151"/>
                  </a:lnTo>
                  <a:lnTo>
                    <a:pt x="172" y="147"/>
                  </a:lnTo>
                  <a:lnTo>
                    <a:pt x="172" y="143"/>
                  </a:lnTo>
                  <a:lnTo>
                    <a:pt x="168" y="143"/>
                  </a:lnTo>
                  <a:lnTo>
                    <a:pt x="164" y="143"/>
                  </a:lnTo>
                  <a:lnTo>
                    <a:pt x="160" y="139"/>
                  </a:lnTo>
                  <a:lnTo>
                    <a:pt x="164" y="139"/>
                  </a:lnTo>
                  <a:lnTo>
                    <a:pt x="160" y="139"/>
                  </a:lnTo>
                  <a:lnTo>
                    <a:pt x="156" y="139"/>
                  </a:lnTo>
                  <a:lnTo>
                    <a:pt x="156" y="143"/>
                  </a:lnTo>
                  <a:lnTo>
                    <a:pt x="152" y="147"/>
                  </a:lnTo>
                  <a:lnTo>
                    <a:pt x="152" y="151"/>
                  </a:lnTo>
                  <a:lnTo>
                    <a:pt x="152" y="155"/>
                  </a:lnTo>
                  <a:lnTo>
                    <a:pt x="156" y="155"/>
                  </a:lnTo>
                  <a:lnTo>
                    <a:pt x="156" y="159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2" y="171"/>
                  </a:lnTo>
                  <a:lnTo>
                    <a:pt x="152" y="175"/>
                  </a:lnTo>
                  <a:lnTo>
                    <a:pt x="152" y="179"/>
                  </a:lnTo>
                  <a:lnTo>
                    <a:pt x="152" y="183"/>
                  </a:lnTo>
                  <a:lnTo>
                    <a:pt x="148" y="183"/>
                  </a:lnTo>
                  <a:lnTo>
                    <a:pt x="144" y="187"/>
                  </a:lnTo>
                  <a:lnTo>
                    <a:pt x="144" y="191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40" y="183"/>
                  </a:lnTo>
                  <a:lnTo>
                    <a:pt x="140" y="179"/>
                  </a:lnTo>
                  <a:lnTo>
                    <a:pt x="140" y="175"/>
                  </a:lnTo>
                  <a:lnTo>
                    <a:pt x="144" y="175"/>
                  </a:lnTo>
                  <a:lnTo>
                    <a:pt x="148" y="175"/>
                  </a:lnTo>
                  <a:lnTo>
                    <a:pt x="148" y="171"/>
                  </a:lnTo>
                  <a:lnTo>
                    <a:pt x="144" y="171"/>
                  </a:lnTo>
                  <a:lnTo>
                    <a:pt x="144" y="167"/>
                  </a:lnTo>
                  <a:lnTo>
                    <a:pt x="144" y="163"/>
                  </a:lnTo>
                  <a:lnTo>
                    <a:pt x="144" y="159"/>
                  </a:lnTo>
                  <a:lnTo>
                    <a:pt x="140" y="159"/>
                  </a:lnTo>
                  <a:lnTo>
                    <a:pt x="140" y="155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7"/>
                  </a:lnTo>
                  <a:lnTo>
                    <a:pt x="128" y="147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5"/>
                  </a:lnTo>
                  <a:lnTo>
                    <a:pt x="120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96" y="123"/>
                  </a:lnTo>
                  <a:lnTo>
                    <a:pt x="96" y="119"/>
                  </a:lnTo>
                  <a:lnTo>
                    <a:pt x="92" y="119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1"/>
                  </a:lnTo>
                  <a:lnTo>
                    <a:pt x="84" y="107"/>
                  </a:lnTo>
                  <a:lnTo>
                    <a:pt x="80" y="107"/>
                  </a:lnTo>
                  <a:lnTo>
                    <a:pt x="80" y="103"/>
                  </a:lnTo>
                  <a:lnTo>
                    <a:pt x="76" y="103"/>
                  </a:lnTo>
                  <a:lnTo>
                    <a:pt x="76" y="99"/>
                  </a:lnTo>
                  <a:lnTo>
                    <a:pt x="72" y="99"/>
                  </a:lnTo>
                  <a:lnTo>
                    <a:pt x="68" y="99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32" y="56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92" y="32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close/>
                  <a:moveTo>
                    <a:pt x="88" y="107"/>
                  </a:moveTo>
                  <a:lnTo>
                    <a:pt x="88" y="111"/>
                  </a:lnTo>
                  <a:lnTo>
                    <a:pt x="88" y="107"/>
                  </a:lnTo>
                  <a:close/>
                  <a:moveTo>
                    <a:pt x="88" y="68"/>
                  </a:moveTo>
                  <a:lnTo>
                    <a:pt x="88" y="64"/>
                  </a:lnTo>
                  <a:lnTo>
                    <a:pt x="88" y="68"/>
                  </a:lnTo>
                  <a:close/>
                  <a:moveTo>
                    <a:pt x="60" y="92"/>
                  </a:moveTo>
                  <a:lnTo>
                    <a:pt x="56" y="92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92"/>
                  </a:lnTo>
                  <a:close/>
                  <a:moveTo>
                    <a:pt x="28" y="163"/>
                  </a:moveTo>
                  <a:lnTo>
                    <a:pt x="28" y="159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8" y="147"/>
                  </a:lnTo>
                  <a:lnTo>
                    <a:pt x="28" y="143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31"/>
                  </a:lnTo>
                  <a:lnTo>
                    <a:pt x="36" y="127"/>
                  </a:lnTo>
                  <a:lnTo>
                    <a:pt x="40" y="123"/>
                  </a:lnTo>
                  <a:lnTo>
                    <a:pt x="44" y="123"/>
                  </a:lnTo>
                  <a:lnTo>
                    <a:pt x="44" y="127"/>
                  </a:lnTo>
                  <a:lnTo>
                    <a:pt x="48" y="127"/>
                  </a:lnTo>
                  <a:lnTo>
                    <a:pt x="44" y="131"/>
                  </a:lnTo>
                  <a:lnTo>
                    <a:pt x="48" y="131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43"/>
                  </a:lnTo>
                  <a:lnTo>
                    <a:pt x="48" y="147"/>
                  </a:lnTo>
                  <a:lnTo>
                    <a:pt x="48" y="151"/>
                  </a:lnTo>
                  <a:lnTo>
                    <a:pt x="48" y="155"/>
                  </a:lnTo>
                  <a:lnTo>
                    <a:pt x="48" y="159"/>
                  </a:lnTo>
                  <a:lnTo>
                    <a:pt x="44" y="163"/>
                  </a:lnTo>
                  <a:lnTo>
                    <a:pt x="44" y="167"/>
                  </a:lnTo>
                  <a:lnTo>
                    <a:pt x="40" y="167"/>
                  </a:lnTo>
                  <a:lnTo>
                    <a:pt x="36" y="163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32" y="171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67"/>
                  </a:lnTo>
                  <a:lnTo>
                    <a:pt x="28" y="163"/>
                  </a:lnTo>
                  <a:close/>
                  <a:moveTo>
                    <a:pt x="128" y="219"/>
                  </a:moveTo>
                  <a:lnTo>
                    <a:pt x="128" y="215"/>
                  </a:lnTo>
                  <a:lnTo>
                    <a:pt x="124" y="215"/>
                  </a:lnTo>
                  <a:lnTo>
                    <a:pt x="120" y="215"/>
                  </a:lnTo>
                  <a:lnTo>
                    <a:pt x="120" y="211"/>
                  </a:lnTo>
                  <a:lnTo>
                    <a:pt x="116" y="211"/>
                  </a:lnTo>
                  <a:lnTo>
                    <a:pt x="116" y="207"/>
                  </a:lnTo>
                  <a:lnTo>
                    <a:pt x="112" y="207"/>
                  </a:lnTo>
                  <a:lnTo>
                    <a:pt x="108" y="207"/>
                  </a:lnTo>
                  <a:lnTo>
                    <a:pt x="104" y="203"/>
                  </a:lnTo>
                  <a:lnTo>
                    <a:pt x="100" y="203"/>
                  </a:lnTo>
                  <a:lnTo>
                    <a:pt x="100" y="199"/>
                  </a:lnTo>
                  <a:lnTo>
                    <a:pt x="96" y="199"/>
                  </a:lnTo>
                  <a:lnTo>
                    <a:pt x="92" y="199"/>
                  </a:lnTo>
                  <a:lnTo>
                    <a:pt x="88" y="199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92" y="187"/>
                  </a:lnTo>
                  <a:lnTo>
                    <a:pt x="96" y="187"/>
                  </a:lnTo>
                  <a:lnTo>
                    <a:pt x="96" y="191"/>
                  </a:lnTo>
                  <a:lnTo>
                    <a:pt x="96" y="187"/>
                  </a:lnTo>
                  <a:lnTo>
                    <a:pt x="100" y="187"/>
                  </a:lnTo>
                  <a:lnTo>
                    <a:pt x="104" y="187"/>
                  </a:lnTo>
                  <a:lnTo>
                    <a:pt x="108" y="191"/>
                  </a:lnTo>
                  <a:lnTo>
                    <a:pt x="112" y="191"/>
                  </a:lnTo>
                  <a:lnTo>
                    <a:pt x="116" y="191"/>
                  </a:lnTo>
                  <a:lnTo>
                    <a:pt x="120" y="191"/>
                  </a:ln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6" y="183"/>
                  </a:lnTo>
                  <a:lnTo>
                    <a:pt x="136" y="187"/>
                  </a:lnTo>
                  <a:lnTo>
                    <a:pt x="136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32" y="199"/>
                  </a:lnTo>
                  <a:lnTo>
                    <a:pt x="128" y="199"/>
                  </a:lnTo>
                  <a:lnTo>
                    <a:pt x="128" y="203"/>
                  </a:lnTo>
                  <a:lnTo>
                    <a:pt x="132" y="207"/>
                  </a:lnTo>
                  <a:lnTo>
                    <a:pt x="132" y="211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8" y="2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35" name="Freeform 99">
              <a:extLst>
                <a:ext uri="{FF2B5EF4-FFF2-40B4-BE49-F238E27FC236}">
                  <a16:creationId xmlns:a16="http://schemas.microsoft.com/office/drawing/2014/main" xmlns="" id="{9B0A6792-813C-4559-9118-CC1B4767A3A9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gray">
            <a:xfrm>
              <a:off x="4168432" y="2372841"/>
              <a:ext cx="29661" cy="1186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</a:cxnLst>
              <a:rect l="0" t="0" r="r" b="b"/>
              <a:pathLst>
                <a:path w="20" h="8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36" name="Freeform 100">
              <a:extLst>
                <a:ext uri="{FF2B5EF4-FFF2-40B4-BE49-F238E27FC236}">
                  <a16:creationId xmlns:a16="http://schemas.microsoft.com/office/drawing/2014/main" xmlns="" id="{20C03A36-1FB9-49ED-B011-3AF4323C8474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gray">
            <a:xfrm>
              <a:off x="4849159" y="2869668"/>
              <a:ext cx="158687" cy="83052"/>
            </a:xfrm>
            <a:custGeom>
              <a:avLst/>
              <a:gdLst/>
              <a:ahLst/>
              <a:cxnLst>
                <a:cxn ang="0">
                  <a:pos x="52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84" y="12"/>
                </a:cxn>
                <a:cxn ang="0">
                  <a:pos x="88" y="12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20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7" y="40"/>
                </a:cxn>
                <a:cxn ang="0">
                  <a:pos x="107" y="44"/>
                </a:cxn>
                <a:cxn ang="0">
                  <a:pos x="100" y="52"/>
                </a:cxn>
                <a:cxn ang="0">
                  <a:pos x="100" y="56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6" y="52"/>
                </a:cxn>
                <a:cxn ang="0">
                  <a:pos x="72" y="48"/>
                </a:cxn>
                <a:cxn ang="0">
                  <a:pos x="64" y="44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52" y="44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36" y="40"/>
                </a:cxn>
                <a:cxn ang="0">
                  <a:pos x="36" y="40"/>
                </a:cxn>
                <a:cxn ang="0">
                  <a:pos x="32" y="44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16" y="40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4" y="8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24"/>
                </a:cxn>
                <a:cxn ang="0">
                  <a:pos x="40" y="28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48" y="8"/>
                </a:cxn>
              </a:cxnLst>
              <a:rect l="0" t="0" r="r" b="b"/>
              <a:pathLst>
                <a:path w="107" h="56"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8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37" name="Freeform 101">
              <a:extLst>
                <a:ext uri="{FF2B5EF4-FFF2-40B4-BE49-F238E27FC236}">
                  <a16:creationId xmlns:a16="http://schemas.microsoft.com/office/drawing/2014/main" xmlns="" id="{7340DD68-05A9-44EC-BF37-F30806C26745}"/>
                </a:ext>
              </a:extLst>
            </p:cNvPr>
            <p:cNvSpPr>
              <a:spLocks noEditPoints="1"/>
            </p:cNvSpPr>
            <p:nvPr>
              <p:custDataLst>
                <p:tags r:id="rId101"/>
              </p:custDataLst>
            </p:nvPr>
          </p:nvSpPr>
          <p:spPr bwMode="gray">
            <a:xfrm>
              <a:off x="4843226" y="2928991"/>
              <a:ext cx="136442" cy="88984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6" y="48"/>
                </a:cxn>
                <a:cxn ang="0">
                  <a:pos x="28" y="48"/>
                </a:cxn>
                <a:cxn ang="0">
                  <a:pos x="28" y="44"/>
                </a:cxn>
                <a:cxn ang="0">
                  <a:pos x="32" y="40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8" y="0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4"/>
                </a:cxn>
                <a:cxn ang="0">
                  <a:pos x="72" y="8"/>
                </a:cxn>
                <a:cxn ang="0">
                  <a:pos x="80" y="12"/>
                </a:cxn>
                <a:cxn ang="0">
                  <a:pos x="84" y="16"/>
                </a:cxn>
                <a:cxn ang="0">
                  <a:pos x="88" y="16"/>
                </a:cxn>
                <a:cxn ang="0">
                  <a:pos x="84" y="24"/>
                </a:cxn>
                <a:cxn ang="0">
                  <a:pos x="88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72" y="44"/>
                </a:cxn>
                <a:cxn ang="0">
                  <a:pos x="72" y="48"/>
                </a:cxn>
                <a:cxn ang="0">
                  <a:pos x="76" y="52"/>
                </a:cxn>
                <a:cxn ang="0">
                  <a:pos x="72" y="52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4" y="52"/>
                </a:cxn>
                <a:cxn ang="0">
                  <a:pos x="60" y="56"/>
                </a:cxn>
                <a:cxn ang="0">
                  <a:pos x="56" y="56"/>
                </a:cxn>
                <a:cxn ang="0">
                  <a:pos x="52" y="56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20"/>
                </a:cxn>
              </a:cxnLst>
              <a:rect l="0" t="0" r="r" b="b"/>
              <a:pathLst>
                <a:path w="92" h="60">
                  <a:moveTo>
                    <a:pt x="40" y="56"/>
                  </a:move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close/>
                  <a:moveTo>
                    <a:pt x="4" y="28"/>
                  </a:move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38" name="Freeform 102">
              <a:extLst>
                <a:ext uri="{FF2B5EF4-FFF2-40B4-BE49-F238E27FC236}">
                  <a16:creationId xmlns:a16="http://schemas.microsoft.com/office/drawing/2014/main" xmlns="" id="{3FDDD64E-1D93-462E-973D-39232E38F676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gray">
            <a:xfrm>
              <a:off x="4505088" y="3142552"/>
              <a:ext cx="17797" cy="23729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12" h="16">
                  <a:moveTo>
                    <a:pt x="8" y="12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39" name="Freeform 103">
              <a:extLst>
                <a:ext uri="{FF2B5EF4-FFF2-40B4-BE49-F238E27FC236}">
                  <a16:creationId xmlns:a16="http://schemas.microsoft.com/office/drawing/2014/main" xmlns="" id="{5BBC120F-F86B-4A75-B494-49565CFB0D1B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gray">
            <a:xfrm>
              <a:off x="4837294" y="3390223"/>
              <a:ext cx="53390" cy="4745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32" y="28"/>
                </a:cxn>
                <a:cxn ang="0">
                  <a:pos x="28" y="28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36" h="32"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40" name="Freeform 104">
              <a:extLst>
                <a:ext uri="{FF2B5EF4-FFF2-40B4-BE49-F238E27FC236}">
                  <a16:creationId xmlns:a16="http://schemas.microsoft.com/office/drawing/2014/main" xmlns="" id="{70C4D12D-555A-4D80-8EF9-65FF91257CD4}"/>
                </a:ext>
              </a:extLst>
            </p:cNvPr>
            <p:cNvSpPr>
              <a:spLocks/>
            </p:cNvSpPr>
            <p:nvPr>
              <p:custDataLst>
                <p:tags r:id="rId104"/>
              </p:custDataLst>
            </p:nvPr>
          </p:nvSpPr>
          <p:spPr bwMode="gray">
            <a:xfrm>
              <a:off x="4973736" y="3195942"/>
              <a:ext cx="75636" cy="100848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23" y="40"/>
                </a:cxn>
                <a:cxn ang="0">
                  <a:pos x="23" y="36"/>
                </a:cxn>
                <a:cxn ang="0">
                  <a:pos x="23" y="36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4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3" y="4"/>
                </a:cxn>
                <a:cxn ang="0">
                  <a:pos x="23" y="8"/>
                </a:cxn>
                <a:cxn ang="0">
                  <a:pos x="23" y="4"/>
                </a:cxn>
                <a:cxn ang="0">
                  <a:pos x="27" y="8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9" y="16"/>
                </a:cxn>
                <a:cxn ang="0">
                  <a:pos x="39" y="20"/>
                </a:cxn>
                <a:cxn ang="0">
                  <a:pos x="39" y="24"/>
                </a:cxn>
                <a:cxn ang="0">
                  <a:pos x="39" y="24"/>
                </a:cxn>
                <a:cxn ang="0">
                  <a:pos x="43" y="28"/>
                </a:cxn>
                <a:cxn ang="0">
                  <a:pos x="43" y="24"/>
                </a:cxn>
                <a:cxn ang="0">
                  <a:pos x="43" y="28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8"/>
                </a:cxn>
                <a:cxn ang="0">
                  <a:pos x="51" y="48"/>
                </a:cxn>
                <a:cxn ang="0">
                  <a:pos x="47" y="48"/>
                </a:cxn>
                <a:cxn ang="0">
                  <a:pos x="43" y="48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9" y="48"/>
                </a:cxn>
                <a:cxn ang="0">
                  <a:pos x="39" y="44"/>
                </a:cxn>
                <a:cxn ang="0">
                  <a:pos x="35" y="44"/>
                </a:cxn>
                <a:cxn ang="0">
                  <a:pos x="35" y="44"/>
                </a:cxn>
                <a:cxn ang="0">
                  <a:pos x="35" y="52"/>
                </a:cxn>
                <a:cxn ang="0">
                  <a:pos x="31" y="56"/>
                </a:cxn>
                <a:cxn ang="0">
                  <a:pos x="31" y="56"/>
                </a:cxn>
                <a:cxn ang="0">
                  <a:pos x="31" y="60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3" y="64"/>
                </a:cxn>
                <a:cxn ang="0">
                  <a:pos x="23" y="68"/>
                </a:cxn>
                <a:cxn ang="0">
                  <a:pos x="23" y="68"/>
                </a:cxn>
                <a:cxn ang="0">
                  <a:pos x="23" y="64"/>
                </a:cxn>
                <a:cxn ang="0">
                  <a:pos x="23" y="56"/>
                </a:cxn>
                <a:cxn ang="0">
                  <a:pos x="23" y="52"/>
                </a:cxn>
              </a:cxnLst>
              <a:rect l="0" t="0" r="r" b="b"/>
              <a:pathLst>
                <a:path w="51" h="68">
                  <a:moveTo>
                    <a:pt x="23" y="52"/>
                  </a:moveTo>
                  <a:lnTo>
                    <a:pt x="23" y="52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32"/>
                  </a:lnTo>
                  <a:lnTo>
                    <a:pt x="43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4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8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41" name="Freeform 105">
              <a:extLst>
                <a:ext uri="{FF2B5EF4-FFF2-40B4-BE49-F238E27FC236}">
                  <a16:creationId xmlns:a16="http://schemas.microsoft.com/office/drawing/2014/main" xmlns="" id="{32601660-5B98-48A9-BBD9-CC227B591BD1}"/>
                </a:ext>
              </a:extLst>
            </p:cNvPr>
            <p:cNvSpPr>
              <a:spLocks noEditPoints="1"/>
            </p:cNvSpPr>
            <p:nvPr>
              <p:custDataLst>
                <p:tags r:id="rId105"/>
              </p:custDataLst>
            </p:nvPr>
          </p:nvSpPr>
          <p:spPr bwMode="gray">
            <a:xfrm>
              <a:off x="4453180" y="3029839"/>
              <a:ext cx="81568" cy="94916"/>
            </a:xfrm>
            <a:custGeom>
              <a:avLst/>
              <a:gdLst/>
              <a:ahLst/>
              <a:cxnLst>
                <a:cxn ang="0">
                  <a:pos x="31" y="28"/>
                </a:cxn>
                <a:cxn ang="0">
                  <a:pos x="35" y="24"/>
                </a:cxn>
                <a:cxn ang="0">
                  <a:pos x="31" y="16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20"/>
                </a:cxn>
                <a:cxn ang="0">
                  <a:pos x="23" y="20"/>
                </a:cxn>
                <a:cxn ang="0">
                  <a:pos x="23" y="24"/>
                </a:cxn>
                <a:cxn ang="0">
                  <a:pos x="20" y="20"/>
                </a:cxn>
                <a:cxn ang="0">
                  <a:pos x="23" y="12"/>
                </a:cxn>
                <a:cxn ang="0">
                  <a:pos x="27" y="8"/>
                </a:cxn>
                <a:cxn ang="0">
                  <a:pos x="31" y="4"/>
                </a:cxn>
                <a:cxn ang="0">
                  <a:pos x="43" y="0"/>
                </a:cxn>
                <a:cxn ang="0">
                  <a:pos x="51" y="4"/>
                </a:cxn>
                <a:cxn ang="0">
                  <a:pos x="55" y="12"/>
                </a:cxn>
                <a:cxn ang="0">
                  <a:pos x="51" y="20"/>
                </a:cxn>
                <a:cxn ang="0">
                  <a:pos x="47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47" y="36"/>
                </a:cxn>
                <a:cxn ang="0">
                  <a:pos x="39" y="40"/>
                </a:cxn>
                <a:cxn ang="0">
                  <a:pos x="43" y="48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35" y="60"/>
                </a:cxn>
                <a:cxn ang="0">
                  <a:pos x="31" y="60"/>
                </a:cxn>
                <a:cxn ang="0">
                  <a:pos x="31" y="52"/>
                </a:cxn>
                <a:cxn ang="0">
                  <a:pos x="27" y="48"/>
                </a:cxn>
                <a:cxn ang="0">
                  <a:pos x="23" y="48"/>
                </a:cxn>
                <a:cxn ang="0">
                  <a:pos x="20" y="44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0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6" y="28"/>
                </a:cxn>
                <a:cxn ang="0">
                  <a:pos x="20" y="24"/>
                </a:cxn>
                <a:cxn ang="0">
                  <a:pos x="27" y="28"/>
                </a:cxn>
                <a:cxn ang="0">
                  <a:pos x="23" y="20"/>
                </a:cxn>
                <a:cxn ang="0">
                  <a:pos x="27" y="20"/>
                </a:cxn>
                <a:cxn ang="0">
                  <a:pos x="27" y="24"/>
                </a:cxn>
                <a:cxn ang="0">
                  <a:pos x="23" y="24"/>
                </a:cxn>
                <a:cxn ang="0">
                  <a:pos x="31" y="28"/>
                </a:cxn>
                <a:cxn ang="0">
                  <a:pos x="27" y="28"/>
                </a:cxn>
                <a:cxn ang="0">
                  <a:pos x="31" y="24"/>
                </a:cxn>
                <a:cxn ang="0">
                  <a:pos x="35" y="24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48"/>
                </a:cxn>
                <a:cxn ang="0">
                  <a:pos x="12" y="52"/>
                </a:cxn>
                <a:cxn ang="0">
                  <a:pos x="0" y="52"/>
                </a:cxn>
                <a:cxn ang="0">
                  <a:pos x="27" y="4"/>
                </a:cxn>
                <a:cxn ang="0">
                  <a:pos x="31" y="0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0" y="12"/>
                </a:cxn>
              </a:cxnLst>
              <a:rect l="0" t="0" r="r" b="b"/>
              <a:pathLst>
                <a:path w="55" h="64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1" y="20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8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47" y="20"/>
                  </a:lnTo>
                  <a:lnTo>
                    <a:pt x="47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3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48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  <a:moveTo>
                    <a:pt x="23" y="24"/>
                  </a:moveTo>
                  <a:lnTo>
                    <a:pt x="23" y="24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close/>
                  <a:moveTo>
                    <a:pt x="31" y="24"/>
                  </a:moveTo>
                  <a:lnTo>
                    <a:pt x="31" y="24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3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close/>
                  <a:moveTo>
                    <a:pt x="8" y="40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7" y="4"/>
                  </a:move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close/>
                  <a:moveTo>
                    <a:pt x="20" y="12"/>
                  </a:move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42" name="Freeform 106">
              <a:extLst>
                <a:ext uri="{FF2B5EF4-FFF2-40B4-BE49-F238E27FC236}">
                  <a16:creationId xmlns:a16="http://schemas.microsoft.com/office/drawing/2014/main" xmlns="" id="{B87B713B-4D56-4955-A9D5-8A0F4973B2AD}"/>
                </a:ext>
              </a:extLst>
            </p:cNvPr>
            <p:cNvSpPr>
              <a:spLocks noEditPoints="1"/>
            </p:cNvSpPr>
            <p:nvPr>
              <p:custDataLst>
                <p:tags r:id="rId106"/>
              </p:custDataLst>
            </p:nvPr>
          </p:nvSpPr>
          <p:spPr bwMode="gray">
            <a:xfrm>
              <a:off x="4482841" y="2372841"/>
              <a:ext cx="590259" cy="502758"/>
            </a:xfrm>
            <a:custGeom>
              <a:avLst/>
              <a:gdLst/>
              <a:ahLst/>
              <a:cxnLst>
                <a:cxn ang="0">
                  <a:pos x="103" y="164"/>
                </a:cxn>
                <a:cxn ang="0">
                  <a:pos x="119" y="140"/>
                </a:cxn>
                <a:cxn ang="0">
                  <a:pos x="131" y="132"/>
                </a:cxn>
                <a:cxn ang="0">
                  <a:pos x="131" y="116"/>
                </a:cxn>
                <a:cxn ang="0">
                  <a:pos x="151" y="108"/>
                </a:cxn>
                <a:cxn ang="0">
                  <a:pos x="159" y="92"/>
                </a:cxn>
                <a:cxn ang="0">
                  <a:pos x="163" y="80"/>
                </a:cxn>
                <a:cxn ang="0">
                  <a:pos x="171" y="80"/>
                </a:cxn>
                <a:cxn ang="0">
                  <a:pos x="179" y="72"/>
                </a:cxn>
                <a:cxn ang="0">
                  <a:pos x="203" y="44"/>
                </a:cxn>
                <a:cxn ang="0">
                  <a:pos x="227" y="40"/>
                </a:cxn>
                <a:cxn ang="0">
                  <a:pos x="247" y="36"/>
                </a:cxn>
                <a:cxn ang="0">
                  <a:pos x="275" y="28"/>
                </a:cxn>
                <a:cxn ang="0">
                  <a:pos x="295" y="12"/>
                </a:cxn>
                <a:cxn ang="0">
                  <a:pos x="307" y="32"/>
                </a:cxn>
                <a:cxn ang="0">
                  <a:pos x="339" y="12"/>
                </a:cxn>
                <a:cxn ang="0">
                  <a:pos x="351" y="20"/>
                </a:cxn>
                <a:cxn ang="0">
                  <a:pos x="382" y="12"/>
                </a:cxn>
                <a:cxn ang="0">
                  <a:pos x="374" y="32"/>
                </a:cxn>
                <a:cxn ang="0">
                  <a:pos x="378" y="48"/>
                </a:cxn>
                <a:cxn ang="0">
                  <a:pos x="335" y="32"/>
                </a:cxn>
                <a:cxn ang="0">
                  <a:pos x="291" y="64"/>
                </a:cxn>
                <a:cxn ang="0">
                  <a:pos x="235" y="72"/>
                </a:cxn>
                <a:cxn ang="0">
                  <a:pos x="175" y="112"/>
                </a:cxn>
                <a:cxn ang="0">
                  <a:pos x="143" y="180"/>
                </a:cxn>
                <a:cxn ang="0">
                  <a:pos x="123" y="255"/>
                </a:cxn>
                <a:cxn ang="0">
                  <a:pos x="95" y="311"/>
                </a:cxn>
                <a:cxn ang="0">
                  <a:pos x="71" y="311"/>
                </a:cxn>
                <a:cxn ang="0">
                  <a:pos x="15" y="327"/>
                </a:cxn>
                <a:cxn ang="0">
                  <a:pos x="23" y="299"/>
                </a:cxn>
                <a:cxn ang="0">
                  <a:pos x="19" y="283"/>
                </a:cxn>
                <a:cxn ang="0">
                  <a:pos x="11" y="279"/>
                </a:cxn>
                <a:cxn ang="0">
                  <a:pos x="7" y="267"/>
                </a:cxn>
                <a:cxn ang="0">
                  <a:pos x="27" y="259"/>
                </a:cxn>
                <a:cxn ang="0">
                  <a:pos x="7" y="251"/>
                </a:cxn>
                <a:cxn ang="0">
                  <a:pos x="11" y="236"/>
                </a:cxn>
                <a:cxn ang="0">
                  <a:pos x="39" y="236"/>
                </a:cxn>
                <a:cxn ang="0">
                  <a:pos x="43" y="224"/>
                </a:cxn>
                <a:cxn ang="0">
                  <a:pos x="47" y="216"/>
                </a:cxn>
                <a:cxn ang="0">
                  <a:pos x="67" y="200"/>
                </a:cxn>
                <a:cxn ang="0">
                  <a:pos x="87" y="196"/>
                </a:cxn>
                <a:cxn ang="0">
                  <a:pos x="287" y="16"/>
                </a:cxn>
                <a:cxn ang="0">
                  <a:pos x="211" y="32"/>
                </a:cxn>
                <a:cxn ang="0">
                  <a:pos x="179" y="60"/>
                </a:cxn>
                <a:cxn ang="0">
                  <a:pos x="131" y="80"/>
                </a:cxn>
                <a:cxn ang="0">
                  <a:pos x="107" y="148"/>
                </a:cxn>
                <a:cxn ang="0">
                  <a:pos x="95" y="176"/>
                </a:cxn>
                <a:cxn ang="0">
                  <a:pos x="43" y="212"/>
                </a:cxn>
                <a:cxn ang="0">
                  <a:pos x="0" y="244"/>
                </a:cxn>
                <a:cxn ang="0">
                  <a:pos x="319" y="4"/>
                </a:cxn>
                <a:cxn ang="0">
                  <a:pos x="279" y="8"/>
                </a:cxn>
                <a:cxn ang="0">
                  <a:pos x="227" y="28"/>
                </a:cxn>
                <a:cxn ang="0">
                  <a:pos x="223" y="32"/>
                </a:cxn>
                <a:cxn ang="0">
                  <a:pos x="187" y="52"/>
                </a:cxn>
                <a:cxn ang="0">
                  <a:pos x="187" y="60"/>
                </a:cxn>
                <a:cxn ang="0">
                  <a:pos x="159" y="60"/>
                </a:cxn>
                <a:cxn ang="0">
                  <a:pos x="159" y="72"/>
                </a:cxn>
                <a:cxn ang="0">
                  <a:pos x="155" y="76"/>
                </a:cxn>
                <a:cxn ang="0">
                  <a:pos x="119" y="136"/>
                </a:cxn>
                <a:cxn ang="0">
                  <a:pos x="47" y="208"/>
                </a:cxn>
                <a:cxn ang="0">
                  <a:pos x="11" y="287"/>
                </a:cxn>
              </a:cxnLst>
              <a:rect l="0" t="0" r="r" b="b"/>
              <a:pathLst>
                <a:path w="398" h="339">
                  <a:moveTo>
                    <a:pt x="87" y="180"/>
                  </a:moveTo>
                  <a:lnTo>
                    <a:pt x="91" y="180"/>
                  </a:lnTo>
                  <a:lnTo>
                    <a:pt x="87" y="180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9" y="180"/>
                  </a:lnTo>
                  <a:lnTo>
                    <a:pt x="99" y="176"/>
                  </a:lnTo>
                  <a:lnTo>
                    <a:pt x="103" y="176"/>
                  </a:lnTo>
                  <a:lnTo>
                    <a:pt x="107" y="176"/>
                  </a:lnTo>
                  <a:lnTo>
                    <a:pt x="103" y="176"/>
                  </a:lnTo>
                  <a:lnTo>
                    <a:pt x="99" y="176"/>
                  </a:lnTo>
                  <a:lnTo>
                    <a:pt x="99" y="172"/>
                  </a:lnTo>
                  <a:lnTo>
                    <a:pt x="103" y="172"/>
                  </a:lnTo>
                  <a:lnTo>
                    <a:pt x="107" y="172"/>
                  </a:lnTo>
                  <a:lnTo>
                    <a:pt x="107" y="168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11" y="164"/>
                  </a:lnTo>
                  <a:lnTo>
                    <a:pt x="107" y="164"/>
                  </a:lnTo>
                  <a:lnTo>
                    <a:pt x="107" y="168"/>
                  </a:lnTo>
                  <a:lnTo>
                    <a:pt x="99" y="172"/>
                  </a:lnTo>
                  <a:lnTo>
                    <a:pt x="99" y="168"/>
                  </a:lnTo>
                  <a:lnTo>
                    <a:pt x="103" y="168"/>
                  </a:lnTo>
                  <a:lnTo>
                    <a:pt x="99" y="168"/>
                  </a:lnTo>
                  <a:lnTo>
                    <a:pt x="103" y="164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23" y="156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9" y="160"/>
                  </a:lnTo>
                  <a:lnTo>
                    <a:pt x="119" y="156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1" y="160"/>
                  </a:lnTo>
                  <a:lnTo>
                    <a:pt x="115" y="156"/>
                  </a:lnTo>
                  <a:lnTo>
                    <a:pt x="119" y="156"/>
                  </a:lnTo>
                  <a:lnTo>
                    <a:pt x="115" y="152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44"/>
                  </a:lnTo>
                  <a:lnTo>
                    <a:pt x="119" y="144"/>
                  </a:lnTo>
                  <a:lnTo>
                    <a:pt x="119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44"/>
                  </a:lnTo>
                  <a:lnTo>
                    <a:pt x="119" y="140"/>
                  </a:lnTo>
                  <a:lnTo>
                    <a:pt x="123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23" y="136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35" y="132"/>
                  </a:lnTo>
                  <a:lnTo>
                    <a:pt x="139" y="132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39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32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28"/>
                  </a:lnTo>
                  <a:lnTo>
                    <a:pt x="127" y="128"/>
                  </a:lnTo>
                  <a:lnTo>
                    <a:pt x="127" y="124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31" y="124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1" y="116"/>
                  </a:lnTo>
                  <a:lnTo>
                    <a:pt x="135" y="116"/>
                  </a:lnTo>
                  <a:lnTo>
                    <a:pt x="139" y="116"/>
                  </a:lnTo>
                  <a:lnTo>
                    <a:pt x="135" y="116"/>
                  </a:lnTo>
                  <a:lnTo>
                    <a:pt x="131" y="116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63" y="112"/>
                  </a:lnTo>
                  <a:lnTo>
                    <a:pt x="163" y="108"/>
                  </a:lnTo>
                  <a:lnTo>
                    <a:pt x="159" y="108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59" y="108"/>
                  </a:lnTo>
                  <a:lnTo>
                    <a:pt x="159" y="104"/>
                  </a:lnTo>
                  <a:lnTo>
                    <a:pt x="159" y="108"/>
                  </a:lnTo>
                  <a:lnTo>
                    <a:pt x="155" y="104"/>
                  </a:lnTo>
                  <a:lnTo>
                    <a:pt x="159" y="104"/>
                  </a:lnTo>
                  <a:lnTo>
                    <a:pt x="155" y="104"/>
                  </a:lnTo>
                  <a:lnTo>
                    <a:pt x="151" y="104"/>
                  </a:lnTo>
                  <a:lnTo>
                    <a:pt x="151" y="108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7" y="100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1" y="100"/>
                  </a:lnTo>
                  <a:lnTo>
                    <a:pt x="155" y="96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7" y="104"/>
                  </a:lnTo>
                  <a:lnTo>
                    <a:pt x="163" y="104"/>
                  </a:lnTo>
                  <a:lnTo>
                    <a:pt x="163" y="100"/>
                  </a:lnTo>
                  <a:lnTo>
                    <a:pt x="167" y="100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59" y="100"/>
                  </a:lnTo>
                  <a:lnTo>
                    <a:pt x="159" y="96"/>
                  </a:lnTo>
                  <a:lnTo>
                    <a:pt x="159" y="92"/>
                  </a:lnTo>
                  <a:lnTo>
                    <a:pt x="163" y="96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63" y="92"/>
                  </a:lnTo>
                  <a:lnTo>
                    <a:pt x="167" y="96"/>
                  </a:lnTo>
                  <a:lnTo>
                    <a:pt x="167" y="92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55" y="96"/>
                  </a:lnTo>
                  <a:lnTo>
                    <a:pt x="151" y="96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5" y="88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55" y="88"/>
                  </a:lnTo>
                  <a:lnTo>
                    <a:pt x="159" y="88"/>
                  </a:lnTo>
                  <a:lnTo>
                    <a:pt x="163" y="88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0"/>
                  </a:lnTo>
                  <a:lnTo>
                    <a:pt x="171" y="80"/>
                  </a:lnTo>
                  <a:lnTo>
                    <a:pt x="171" y="84"/>
                  </a:lnTo>
                  <a:lnTo>
                    <a:pt x="171" y="88"/>
                  </a:lnTo>
                  <a:lnTo>
                    <a:pt x="175" y="88"/>
                  </a:lnTo>
                  <a:lnTo>
                    <a:pt x="175" y="92"/>
                  </a:lnTo>
                  <a:lnTo>
                    <a:pt x="179" y="92"/>
                  </a:lnTo>
                  <a:lnTo>
                    <a:pt x="175" y="88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9" y="88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1" y="76"/>
                  </a:lnTo>
                  <a:lnTo>
                    <a:pt x="179" y="80"/>
                  </a:lnTo>
                  <a:lnTo>
                    <a:pt x="183" y="84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83" y="76"/>
                  </a:lnTo>
                  <a:lnTo>
                    <a:pt x="187" y="76"/>
                  </a:lnTo>
                  <a:lnTo>
                    <a:pt x="191" y="80"/>
                  </a:lnTo>
                  <a:lnTo>
                    <a:pt x="191" y="76"/>
                  </a:lnTo>
                  <a:lnTo>
                    <a:pt x="187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5" y="72"/>
                  </a:lnTo>
                  <a:lnTo>
                    <a:pt x="191" y="72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7" y="72"/>
                  </a:lnTo>
                  <a:lnTo>
                    <a:pt x="183" y="72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1" y="68"/>
                  </a:lnTo>
                  <a:lnTo>
                    <a:pt x="187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5" y="60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0"/>
                  </a:lnTo>
                  <a:lnTo>
                    <a:pt x="191" y="60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199" y="52"/>
                  </a:lnTo>
                  <a:lnTo>
                    <a:pt x="203" y="52"/>
                  </a:lnTo>
                  <a:lnTo>
                    <a:pt x="203" y="48"/>
                  </a:lnTo>
                  <a:lnTo>
                    <a:pt x="203" y="44"/>
                  </a:lnTo>
                  <a:lnTo>
                    <a:pt x="207" y="48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1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52"/>
                  </a:lnTo>
                  <a:lnTo>
                    <a:pt x="219" y="52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15" y="44"/>
                  </a:lnTo>
                  <a:lnTo>
                    <a:pt x="219" y="44"/>
                  </a:lnTo>
                  <a:lnTo>
                    <a:pt x="215" y="44"/>
                  </a:lnTo>
                  <a:lnTo>
                    <a:pt x="215" y="40"/>
                  </a:lnTo>
                  <a:lnTo>
                    <a:pt x="219" y="40"/>
                  </a:lnTo>
                  <a:lnTo>
                    <a:pt x="219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27" y="44"/>
                  </a:lnTo>
                  <a:lnTo>
                    <a:pt x="227" y="40"/>
                  </a:lnTo>
                  <a:lnTo>
                    <a:pt x="231" y="36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5" y="36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5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5" y="48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39" y="44"/>
                  </a:lnTo>
                  <a:lnTo>
                    <a:pt x="239" y="40"/>
                  </a:lnTo>
                  <a:lnTo>
                    <a:pt x="243" y="36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7" y="36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36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59" y="32"/>
                  </a:lnTo>
                  <a:lnTo>
                    <a:pt x="263" y="32"/>
                  </a:lnTo>
                  <a:lnTo>
                    <a:pt x="263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5" y="32"/>
                  </a:lnTo>
                  <a:lnTo>
                    <a:pt x="251" y="28"/>
                  </a:lnTo>
                  <a:lnTo>
                    <a:pt x="251" y="24"/>
                  </a:lnTo>
                  <a:lnTo>
                    <a:pt x="255" y="24"/>
                  </a:lnTo>
                  <a:lnTo>
                    <a:pt x="259" y="24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32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79" y="32"/>
                  </a:lnTo>
                  <a:lnTo>
                    <a:pt x="279" y="28"/>
                  </a:lnTo>
                  <a:lnTo>
                    <a:pt x="283" y="28"/>
                  </a:lnTo>
                  <a:lnTo>
                    <a:pt x="283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1" y="16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5" y="12"/>
                  </a:lnTo>
                  <a:lnTo>
                    <a:pt x="299" y="12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3" y="12"/>
                  </a:lnTo>
                  <a:lnTo>
                    <a:pt x="299" y="12"/>
                  </a:lnTo>
                  <a:lnTo>
                    <a:pt x="295" y="12"/>
                  </a:lnTo>
                  <a:lnTo>
                    <a:pt x="295" y="8"/>
                  </a:lnTo>
                  <a:lnTo>
                    <a:pt x="299" y="8"/>
                  </a:lnTo>
                  <a:lnTo>
                    <a:pt x="299" y="12"/>
                  </a:lnTo>
                  <a:lnTo>
                    <a:pt x="303" y="8"/>
                  </a:lnTo>
                  <a:lnTo>
                    <a:pt x="299" y="8"/>
                  </a:lnTo>
                  <a:lnTo>
                    <a:pt x="299" y="4"/>
                  </a:lnTo>
                  <a:lnTo>
                    <a:pt x="303" y="4"/>
                  </a:lnTo>
                  <a:lnTo>
                    <a:pt x="303" y="8"/>
                  </a:lnTo>
                  <a:lnTo>
                    <a:pt x="307" y="8"/>
                  </a:lnTo>
                  <a:lnTo>
                    <a:pt x="307" y="4"/>
                  </a:lnTo>
                  <a:lnTo>
                    <a:pt x="307" y="8"/>
                  </a:lnTo>
                  <a:lnTo>
                    <a:pt x="311" y="8"/>
                  </a:lnTo>
                  <a:lnTo>
                    <a:pt x="311" y="4"/>
                  </a:lnTo>
                  <a:lnTo>
                    <a:pt x="315" y="4"/>
                  </a:lnTo>
                  <a:lnTo>
                    <a:pt x="315" y="8"/>
                  </a:lnTo>
                  <a:lnTo>
                    <a:pt x="319" y="8"/>
                  </a:lnTo>
                  <a:lnTo>
                    <a:pt x="315" y="12"/>
                  </a:lnTo>
                  <a:lnTo>
                    <a:pt x="311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1" y="20"/>
                  </a:lnTo>
                  <a:lnTo>
                    <a:pt x="307" y="20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07" y="32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5" y="24"/>
                  </a:lnTo>
                  <a:lnTo>
                    <a:pt x="315" y="20"/>
                  </a:lnTo>
                  <a:lnTo>
                    <a:pt x="319" y="16"/>
                  </a:lnTo>
                  <a:lnTo>
                    <a:pt x="323" y="16"/>
                  </a:lnTo>
                  <a:lnTo>
                    <a:pt x="327" y="12"/>
                  </a:lnTo>
                  <a:lnTo>
                    <a:pt x="327" y="8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1" y="8"/>
                  </a:lnTo>
                  <a:lnTo>
                    <a:pt x="331" y="12"/>
                  </a:lnTo>
                  <a:lnTo>
                    <a:pt x="327" y="12"/>
                  </a:lnTo>
                  <a:lnTo>
                    <a:pt x="327" y="16"/>
                  </a:lnTo>
                  <a:lnTo>
                    <a:pt x="327" y="12"/>
                  </a:lnTo>
                  <a:lnTo>
                    <a:pt x="331" y="12"/>
                  </a:lnTo>
                  <a:lnTo>
                    <a:pt x="331" y="16"/>
                  </a:lnTo>
                  <a:lnTo>
                    <a:pt x="331" y="20"/>
                  </a:lnTo>
                  <a:lnTo>
                    <a:pt x="331" y="24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5" y="16"/>
                  </a:lnTo>
                  <a:lnTo>
                    <a:pt x="339" y="16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3" y="8"/>
                  </a:lnTo>
                  <a:lnTo>
                    <a:pt x="339" y="8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47" y="0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4" y="4"/>
                  </a:lnTo>
                  <a:lnTo>
                    <a:pt x="358" y="4"/>
                  </a:lnTo>
                  <a:lnTo>
                    <a:pt x="358" y="8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2"/>
                  </a:lnTo>
                  <a:lnTo>
                    <a:pt x="351" y="12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54" y="12"/>
                  </a:lnTo>
                  <a:lnTo>
                    <a:pt x="354" y="16"/>
                  </a:lnTo>
                  <a:lnTo>
                    <a:pt x="351" y="16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4" y="16"/>
                  </a:lnTo>
                  <a:lnTo>
                    <a:pt x="358" y="20"/>
                  </a:lnTo>
                  <a:lnTo>
                    <a:pt x="354" y="20"/>
                  </a:lnTo>
                  <a:lnTo>
                    <a:pt x="354" y="24"/>
                  </a:lnTo>
                  <a:lnTo>
                    <a:pt x="354" y="28"/>
                  </a:lnTo>
                  <a:lnTo>
                    <a:pt x="351" y="32"/>
                  </a:lnTo>
                  <a:lnTo>
                    <a:pt x="354" y="32"/>
                  </a:lnTo>
                  <a:lnTo>
                    <a:pt x="354" y="28"/>
                  </a:lnTo>
                  <a:lnTo>
                    <a:pt x="354" y="24"/>
                  </a:lnTo>
                  <a:lnTo>
                    <a:pt x="354" y="20"/>
                  </a:lnTo>
                  <a:lnTo>
                    <a:pt x="358" y="20"/>
                  </a:lnTo>
                  <a:lnTo>
                    <a:pt x="358" y="16"/>
                  </a:lnTo>
                  <a:lnTo>
                    <a:pt x="358" y="12"/>
                  </a:lnTo>
                  <a:lnTo>
                    <a:pt x="362" y="8"/>
                  </a:lnTo>
                  <a:lnTo>
                    <a:pt x="366" y="8"/>
                  </a:lnTo>
                  <a:lnTo>
                    <a:pt x="370" y="8"/>
                  </a:lnTo>
                  <a:lnTo>
                    <a:pt x="370" y="12"/>
                  </a:lnTo>
                  <a:lnTo>
                    <a:pt x="374" y="12"/>
                  </a:lnTo>
                  <a:lnTo>
                    <a:pt x="378" y="12"/>
                  </a:lnTo>
                  <a:lnTo>
                    <a:pt x="378" y="16"/>
                  </a:lnTo>
                  <a:lnTo>
                    <a:pt x="378" y="12"/>
                  </a:lnTo>
                  <a:lnTo>
                    <a:pt x="382" y="12"/>
                  </a:lnTo>
                  <a:lnTo>
                    <a:pt x="386" y="12"/>
                  </a:lnTo>
                  <a:lnTo>
                    <a:pt x="386" y="16"/>
                  </a:lnTo>
                  <a:lnTo>
                    <a:pt x="382" y="16"/>
                  </a:lnTo>
                  <a:lnTo>
                    <a:pt x="386" y="16"/>
                  </a:lnTo>
                  <a:lnTo>
                    <a:pt x="390" y="16"/>
                  </a:lnTo>
                  <a:lnTo>
                    <a:pt x="390" y="20"/>
                  </a:lnTo>
                  <a:lnTo>
                    <a:pt x="394" y="20"/>
                  </a:lnTo>
                  <a:lnTo>
                    <a:pt x="398" y="20"/>
                  </a:lnTo>
                  <a:lnTo>
                    <a:pt x="398" y="24"/>
                  </a:lnTo>
                  <a:lnTo>
                    <a:pt x="394" y="24"/>
                  </a:lnTo>
                  <a:lnTo>
                    <a:pt x="390" y="24"/>
                  </a:lnTo>
                  <a:lnTo>
                    <a:pt x="386" y="28"/>
                  </a:lnTo>
                  <a:lnTo>
                    <a:pt x="382" y="28"/>
                  </a:lnTo>
                  <a:lnTo>
                    <a:pt x="382" y="32"/>
                  </a:lnTo>
                  <a:lnTo>
                    <a:pt x="378" y="32"/>
                  </a:lnTo>
                  <a:lnTo>
                    <a:pt x="378" y="28"/>
                  </a:lnTo>
                  <a:lnTo>
                    <a:pt x="374" y="28"/>
                  </a:lnTo>
                  <a:lnTo>
                    <a:pt x="370" y="28"/>
                  </a:lnTo>
                  <a:lnTo>
                    <a:pt x="366" y="28"/>
                  </a:lnTo>
                  <a:lnTo>
                    <a:pt x="362" y="28"/>
                  </a:lnTo>
                  <a:lnTo>
                    <a:pt x="366" y="32"/>
                  </a:lnTo>
                  <a:lnTo>
                    <a:pt x="370" y="32"/>
                  </a:lnTo>
                  <a:lnTo>
                    <a:pt x="374" y="32"/>
                  </a:lnTo>
                  <a:lnTo>
                    <a:pt x="378" y="32"/>
                  </a:lnTo>
                  <a:lnTo>
                    <a:pt x="374" y="32"/>
                  </a:lnTo>
                  <a:lnTo>
                    <a:pt x="374" y="36"/>
                  </a:lnTo>
                  <a:lnTo>
                    <a:pt x="370" y="36"/>
                  </a:lnTo>
                  <a:lnTo>
                    <a:pt x="374" y="36"/>
                  </a:lnTo>
                  <a:lnTo>
                    <a:pt x="378" y="36"/>
                  </a:lnTo>
                  <a:lnTo>
                    <a:pt x="374" y="40"/>
                  </a:lnTo>
                  <a:lnTo>
                    <a:pt x="378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36"/>
                  </a:lnTo>
                  <a:lnTo>
                    <a:pt x="386" y="36"/>
                  </a:lnTo>
                  <a:lnTo>
                    <a:pt x="386" y="40"/>
                  </a:lnTo>
                  <a:lnTo>
                    <a:pt x="390" y="40"/>
                  </a:lnTo>
                  <a:lnTo>
                    <a:pt x="390" y="36"/>
                  </a:lnTo>
                  <a:lnTo>
                    <a:pt x="394" y="36"/>
                  </a:lnTo>
                  <a:lnTo>
                    <a:pt x="394" y="40"/>
                  </a:lnTo>
                  <a:lnTo>
                    <a:pt x="394" y="44"/>
                  </a:lnTo>
                  <a:lnTo>
                    <a:pt x="390" y="44"/>
                  </a:lnTo>
                  <a:lnTo>
                    <a:pt x="386" y="44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4"/>
                  </a:lnTo>
                  <a:lnTo>
                    <a:pt x="382" y="44"/>
                  </a:lnTo>
                  <a:lnTo>
                    <a:pt x="378" y="48"/>
                  </a:lnTo>
                  <a:lnTo>
                    <a:pt x="374" y="48"/>
                  </a:lnTo>
                  <a:lnTo>
                    <a:pt x="370" y="52"/>
                  </a:lnTo>
                  <a:lnTo>
                    <a:pt x="370" y="56"/>
                  </a:lnTo>
                  <a:lnTo>
                    <a:pt x="366" y="56"/>
                  </a:lnTo>
                  <a:lnTo>
                    <a:pt x="366" y="60"/>
                  </a:lnTo>
                  <a:lnTo>
                    <a:pt x="366" y="56"/>
                  </a:lnTo>
                  <a:lnTo>
                    <a:pt x="362" y="56"/>
                  </a:lnTo>
                  <a:lnTo>
                    <a:pt x="362" y="52"/>
                  </a:lnTo>
                  <a:lnTo>
                    <a:pt x="366" y="52"/>
                  </a:lnTo>
                  <a:lnTo>
                    <a:pt x="366" y="48"/>
                  </a:lnTo>
                  <a:lnTo>
                    <a:pt x="370" y="48"/>
                  </a:lnTo>
                  <a:lnTo>
                    <a:pt x="370" y="44"/>
                  </a:lnTo>
                  <a:lnTo>
                    <a:pt x="370" y="40"/>
                  </a:lnTo>
                  <a:lnTo>
                    <a:pt x="366" y="40"/>
                  </a:lnTo>
                  <a:lnTo>
                    <a:pt x="362" y="40"/>
                  </a:lnTo>
                  <a:lnTo>
                    <a:pt x="358" y="36"/>
                  </a:lnTo>
                  <a:lnTo>
                    <a:pt x="354" y="36"/>
                  </a:lnTo>
                  <a:lnTo>
                    <a:pt x="354" y="32"/>
                  </a:lnTo>
                  <a:lnTo>
                    <a:pt x="351" y="32"/>
                  </a:lnTo>
                  <a:lnTo>
                    <a:pt x="351" y="28"/>
                  </a:lnTo>
                  <a:lnTo>
                    <a:pt x="347" y="28"/>
                  </a:lnTo>
                  <a:lnTo>
                    <a:pt x="343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5" y="32"/>
                  </a:lnTo>
                  <a:lnTo>
                    <a:pt x="331" y="32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3" y="40"/>
                  </a:lnTo>
                  <a:lnTo>
                    <a:pt x="319" y="40"/>
                  </a:lnTo>
                  <a:lnTo>
                    <a:pt x="323" y="40"/>
                  </a:lnTo>
                  <a:lnTo>
                    <a:pt x="323" y="44"/>
                  </a:lnTo>
                  <a:lnTo>
                    <a:pt x="319" y="44"/>
                  </a:lnTo>
                  <a:lnTo>
                    <a:pt x="319" y="48"/>
                  </a:lnTo>
                  <a:lnTo>
                    <a:pt x="319" y="52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5" y="60"/>
                  </a:lnTo>
                  <a:lnTo>
                    <a:pt x="315" y="64"/>
                  </a:lnTo>
                  <a:lnTo>
                    <a:pt x="315" y="60"/>
                  </a:lnTo>
                  <a:lnTo>
                    <a:pt x="311" y="60"/>
                  </a:lnTo>
                  <a:lnTo>
                    <a:pt x="311" y="64"/>
                  </a:lnTo>
                  <a:lnTo>
                    <a:pt x="307" y="64"/>
                  </a:lnTo>
                  <a:lnTo>
                    <a:pt x="307" y="68"/>
                  </a:lnTo>
                  <a:lnTo>
                    <a:pt x="307" y="72"/>
                  </a:lnTo>
                  <a:lnTo>
                    <a:pt x="303" y="68"/>
                  </a:lnTo>
                  <a:lnTo>
                    <a:pt x="299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1" y="64"/>
                  </a:lnTo>
                  <a:lnTo>
                    <a:pt x="287" y="64"/>
                  </a:lnTo>
                  <a:lnTo>
                    <a:pt x="287" y="68"/>
                  </a:lnTo>
                  <a:lnTo>
                    <a:pt x="283" y="68"/>
                  </a:lnTo>
                  <a:lnTo>
                    <a:pt x="279" y="68"/>
                  </a:lnTo>
                  <a:lnTo>
                    <a:pt x="275" y="68"/>
                  </a:lnTo>
                  <a:lnTo>
                    <a:pt x="271" y="64"/>
                  </a:lnTo>
                  <a:lnTo>
                    <a:pt x="267" y="68"/>
                  </a:lnTo>
                  <a:lnTo>
                    <a:pt x="267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59" y="56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47" y="60"/>
                  </a:lnTo>
                  <a:lnTo>
                    <a:pt x="247" y="56"/>
                  </a:lnTo>
                  <a:lnTo>
                    <a:pt x="243" y="56"/>
                  </a:lnTo>
                  <a:lnTo>
                    <a:pt x="239" y="56"/>
                  </a:lnTo>
                  <a:lnTo>
                    <a:pt x="231" y="56"/>
                  </a:lnTo>
                  <a:lnTo>
                    <a:pt x="235" y="60"/>
                  </a:lnTo>
                  <a:lnTo>
                    <a:pt x="235" y="64"/>
                  </a:lnTo>
                  <a:lnTo>
                    <a:pt x="235" y="68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1" y="76"/>
                  </a:lnTo>
                  <a:lnTo>
                    <a:pt x="227" y="76"/>
                  </a:lnTo>
                  <a:lnTo>
                    <a:pt x="223" y="76"/>
                  </a:lnTo>
                  <a:lnTo>
                    <a:pt x="215" y="72"/>
                  </a:lnTo>
                  <a:lnTo>
                    <a:pt x="211" y="72"/>
                  </a:lnTo>
                  <a:lnTo>
                    <a:pt x="207" y="72"/>
                  </a:lnTo>
                  <a:lnTo>
                    <a:pt x="203" y="72"/>
                  </a:lnTo>
                  <a:lnTo>
                    <a:pt x="199" y="76"/>
                  </a:lnTo>
                  <a:lnTo>
                    <a:pt x="203" y="76"/>
                  </a:lnTo>
                  <a:lnTo>
                    <a:pt x="203" y="80"/>
                  </a:lnTo>
                  <a:lnTo>
                    <a:pt x="199" y="84"/>
                  </a:lnTo>
                  <a:lnTo>
                    <a:pt x="199" y="88"/>
                  </a:lnTo>
                  <a:lnTo>
                    <a:pt x="195" y="88"/>
                  </a:lnTo>
                  <a:lnTo>
                    <a:pt x="195" y="84"/>
                  </a:lnTo>
                  <a:lnTo>
                    <a:pt x="191" y="84"/>
                  </a:lnTo>
                  <a:lnTo>
                    <a:pt x="187" y="84"/>
                  </a:lnTo>
                  <a:lnTo>
                    <a:pt x="179" y="88"/>
                  </a:lnTo>
                  <a:lnTo>
                    <a:pt x="179" y="92"/>
                  </a:lnTo>
                  <a:lnTo>
                    <a:pt x="179" y="96"/>
                  </a:lnTo>
                  <a:lnTo>
                    <a:pt x="175" y="100"/>
                  </a:lnTo>
                  <a:lnTo>
                    <a:pt x="171" y="100"/>
                  </a:lnTo>
                  <a:lnTo>
                    <a:pt x="171" y="104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5" y="112"/>
                  </a:lnTo>
                  <a:lnTo>
                    <a:pt x="171" y="116"/>
                  </a:lnTo>
                  <a:lnTo>
                    <a:pt x="167" y="120"/>
                  </a:lnTo>
                  <a:lnTo>
                    <a:pt x="163" y="124"/>
                  </a:lnTo>
                  <a:lnTo>
                    <a:pt x="159" y="124"/>
                  </a:lnTo>
                  <a:lnTo>
                    <a:pt x="159" y="128"/>
                  </a:lnTo>
                  <a:lnTo>
                    <a:pt x="163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47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3" y="160"/>
                  </a:lnTo>
                  <a:lnTo>
                    <a:pt x="143" y="164"/>
                  </a:lnTo>
                  <a:lnTo>
                    <a:pt x="139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lnTo>
                    <a:pt x="135" y="176"/>
                  </a:lnTo>
                  <a:lnTo>
                    <a:pt x="139" y="176"/>
                  </a:lnTo>
                  <a:lnTo>
                    <a:pt x="143" y="176"/>
                  </a:lnTo>
                  <a:lnTo>
                    <a:pt x="143" y="180"/>
                  </a:lnTo>
                  <a:lnTo>
                    <a:pt x="143" y="184"/>
                  </a:lnTo>
                  <a:lnTo>
                    <a:pt x="139" y="188"/>
                  </a:lnTo>
                  <a:lnTo>
                    <a:pt x="127" y="188"/>
                  </a:lnTo>
                  <a:lnTo>
                    <a:pt x="123" y="188"/>
                  </a:lnTo>
                  <a:lnTo>
                    <a:pt x="119" y="192"/>
                  </a:lnTo>
                  <a:lnTo>
                    <a:pt x="115" y="196"/>
                  </a:lnTo>
                  <a:lnTo>
                    <a:pt x="111" y="200"/>
                  </a:lnTo>
                  <a:lnTo>
                    <a:pt x="111" y="204"/>
                  </a:lnTo>
                  <a:lnTo>
                    <a:pt x="111" y="208"/>
                  </a:lnTo>
                  <a:lnTo>
                    <a:pt x="107" y="208"/>
                  </a:lnTo>
                  <a:lnTo>
                    <a:pt x="111" y="212"/>
                  </a:lnTo>
                  <a:lnTo>
                    <a:pt x="111" y="216"/>
                  </a:lnTo>
                  <a:lnTo>
                    <a:pt x="111" y="220"/>
                  </a:lnTo>
                  <a:lnTo>
                    <a:pt x="111" y="224"/>
                  </a:lnTo>
                  <a:lnTo>
                    <a:pt x="111" y="228"/>
                  </a:lnTo>
                  <a:lnTo>
                    <a:pt x="111" y="232"/>
                  </a:lnTo>
                  <a:lnTo>
                    <a:pt x="115" y="232"/>
                  </a:lnTo>
                  <a:lnTo>
                    <a:pt x="115" y="236"/>
                  </a:lnTo>
                  <a:lnTo>
                    <a:pt x="111" y="240"/>
                  </a:lnTo>
                  <a:lnTo>
                    <a:pt x="111" y="244"/>
                  </a:lnTo>
                  <a:lnTo>
                    <a:pt x="111" y="247"/>
                  </a:lnTo>
                  <a:lnTo>
                    <a:pt x="115" y="251"/>
                  </a:lnTo>
                  <a:lnTo>
                    <a:pt x="119" y="251"/>
                  </a:lnTo>
                  <a:lnTo>
                    <a:pt x="119" y="255"/>
                  </a:lnTo>
                  <a:lnTo>
                    <a:pt x="123" y="255"/>
                  </a:lnTo>
                  <a:lnTo>
                    <a:pt x="123" y="259"/>
                  </a:lnTo>
                  <a:lnTo>
                    <a:pt x="119" y="259"/>
                  </a:lnTo>
                  <a:lnTo>
                    <a:pt x="119" y="263"/>
                  </a:lnTo>
                  <a:lnTo>
                    <a:pt x="115" y="263"/>
                  </a:lnTo>
                  <a:lnTo>
                    <a:pt x="111" y="263"/>
                  </a:lnTo>
                  <a:lnTo>
                    <a:pt x="115" y="267"/>
                  </a:lnTo>
                  <a:lnTo>
                    <a:pt x="115" y="271"/>
                  </a:lnTo>
                  <a:lnTo>
                    <a:pt x="115" y="275"/>
                  </a:lnTo>
                  <a:lnTo>
                    <a:pt x="119" y="275"/>
                  </a:lnTo>
                  <a:lnTo>
                    <a:pt x="119" y="279"/>
                  </a:lnTo>
                  <a:lnTo>
                    <a:pt x="115" y="283"/>
                  </a:lnTo>
                  <a:lnTo>
                    <a:pt x="115" y="287"/>
                  </a:lnTo>
                  <a:lnTo>
                    <a:pt x="115" y="291"/>
                  </a:lnTo>
                  <a:lnTo>
                    <a:pt x="111" y="291"/>
                  </a:lnTo>
                  <a:lnTo>
                    <a:pt x="107" y="291"/>
                  </a:lnTo>
                  <a:lnTo>
                    <a:pt x="107" y="295"/>
                  </a:lnTo>
                  <a:lnTo>
                    <a:pt x="107" y="299"/>
                  </a:lnTo>
                  <a:lnTo>
                    <a:pt x="103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07" y="311"/>
                  </a:lnTo>
                  <a:lnTo>
                    <a:pt x="103" y="315"/>
                  </a:lnTo>
                  <a:lnTo>
                    <a:pt x="99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1" y="311"/>
                  </a:lnTo>
                  <a:lnTo>
                    <a:pt x="91" y="307"/>
                  </a:lnTo>
                  <a:lnTo>
                    <a:pt x="87" y="303"/>
                  </a:lnTo>
                  <a:lnTo>
                    <a:pt x="91" y="303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7" y="291"/>
                  </a:lnTo>
                  <a:lnTo>
                    <a:pt x="91" y="295"/>
                  </a:lnTo>
                  <a:lnTo>
                    <a:pt x="91" y="291"/>
                  </a:lnTo>
                  <a:lnTo>
                    <a:pt x="87" y="291"/>
                  </a:lnTo>
                  <a:lnTo>
                    <a:pt x="87" y="295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3" y="295"/>
                  </a:lnTo>
                  <a:lnTo>
                    <a:pt x="83" y="299"/>
                  </a:lnTo>
                  <a:lnTo>
                    <a:pt x="83" y="303"/>
                  </a:lnTo>
                  <a:lnTo>
                    <a:pt x="87" y="303"/>
                  </a:lnTo>
                  <a:lnTo>
                    <a:pt x="87" y="307"/>
                  </a:lnTo>
                  <a:lnTo>
                    <a:pt x="83" y="307"/>
                  </a:lnTo>
                  <a:lnTo>
                    <a:pt x="83" y="311"/>
                  </a:lnTo>
                  <a:lnTo>
                    <a:pt x="79" y="311"/>
                  </a:lnTo>
                  <a:lnTo>
                    <a:pt x="79" y="315"/>
                  </a:lnTo>
                  <a:lnTo>
                    <a:pt x="75" y="315"/>
                  </a:lnTo>
                  <a:lnTo>
                    <a:pt x="75" y="311"/>
                  </a:lnTo>
                  <a:lnTo>
                    <a:pt x="71" y="311"/>
                  </a:lnTo>
                  <a:lnTo>
                    <a:pt x="75" y="311"/>
                  </a:lnTo>
                  <a:lnTo>
                    <a:pt x="75" y="315"/>
                  </a:lnTo>
                  <a:lnTo>
                    <a:pt x="71" y="315"/>
                  </a:lnTo>
                  <a:lnTo>
                    <a:pt x="67" y="319"/>
                  </a:lnTo>
                  <a:lnTo>
                    <a:pt x="67" y="323"/>
                  </a:lnTo>
                  <a:lnTo>
                    <a:pt x="63" y="323"/>
                  </a:lnTo>
                  <a:lnTo>
                    <a:pt x="63" y="327"/>
                  </a:lnTo>
                  <a:lnTo>
                    <a:pt x="59" y="327"/>
                  </a:lnTo>
                  <a:lnTo>
                    <a:pt x="55" y="331"/>
                  </a:lnTo>
                  <a:lnTo>
                    <a:pt x="51" y="331"/>
                  </a:lnTo>
                  <a:lnTo>
                    <a:pt x="51" y="335"/>
                  </a:lnTo>
                  <a:lnTo>
                    <a:pt x="47" y="335"/>
                  </a:lnTo>
                  <a:lnTo>
                    <a:pt x="43" y="335"/>
                  </a:lnTo>
                  <a:lnTo>
                    <a:pt x="39" y="335"/>
                  </a:lnTo>
                  <a:lnTo>
                    <a:pt x="35" y="335"/>
                  </a:lnTo>
                  <a:lnTo>
                    <a:pt x="35" y="339"/>
                  </a:lnTo>
                  <a:lnTo>
                    <a:pt x="31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31" y="331"/>
                  </a:lnTo>
                  <a:lnTo>
                    <a:pt x="27" y="331"/>
                  </a:lnTo>
                  <a:lnTo>
                    <a:pt x="23" y="331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5" y="327"/>
                  </a:lnTo>
                  <a:lnTo>
                    <a:pt x="11" y="323"/>
                  </a:lnTo>
                  <a:lnTo>
                    <a:pt x="11" y="319"/>
                  </a:lnTo>
                  <a:lnTo>
                    <a:pt x="11" y="315"/>
                  </a:lnTo>
                  <a:lnTo>
                    <a:pt x="11" y="311"/>
                  </a:lnTo>
                  <a:lnTo>
                    <a:pt x="15" y="315"/>
                  </a:lnTo>
                  <a:lnTo>
                    <a:pt x="19" y="315"/>
                  </a:lnTo>
                  <a:lnTo>
                    <a:pt x="19" y="319"/>
                  </a:lnTo>
                  <a:lnTo>
                    <a:pt x="23" y="315"/>
                  </a:lnTo>
                  <a:lnTo>
                    <a:pt x="19" y="315"/>
                  </a:lnTo>
                  <a:lnTo>
                    <a:pt x="23" y="315"/>
                  </a:lnTo>
                  <a:lnTo>
                    <a:pt x="23" y="311"/>
                  </a:lnTo>
                  <a:lnTo>
                    <a:pt x="27" y="311"/>
                  </a:lnTo>
                  <a:lnTo>
                    <a:pt x="23" y="311"/>
                  </a:lnTo>
                  <a:lnTo>
                    <a:pt x="19" y="315"/>
                  </a:lnTo>
                  <a:lnTo>
                    <a:pt x="19" y="311"/>
                  </a:lnTo>
                  <a:lnTo>
                    <a:pt x="15" y="311"/>
                  </a:lnTo>
                  <a:lnTo>
                    <a:pt x="19" y="311"/>
                  </a:lnTo>
                  <a:lnTo>
                    <a:pt x="19" y="307"/>
                  </a:lnTo>
                  <a:lnTo>
                    <a:pt x="23" y="307"/>
                  </a:lnTo>
                  <a:lnTo>
                    <a:pt x="27" y="307"/>
                  </a:lnTo>
                  <a:lnTo>
                    <a:pt x="23" y="307"/>
                  </a:lnTo>
                  <a:lnTo>
                    <a:pt x="19" y="307"/>
                  </a:lnTo>
                  <a:lnTo>
                    <a:pt x="19" y="303"/>
                  </a:lnTo>
                  <a:lnTo>
                    <a:pt x="23" y="303"/>
                  </a:lnTo>
                  <a:lnTo>
                    <a:pt x="23" y="299"/>
                  </a:lnTo>
                  <a:lnTo>
                    <a:pt x="27" y="299"/>
                  </a:lnTo>
                  <a:lnTo>
                    <a:pt x="23" y="299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5" y="307"/>
                  </a:lnTo>
                  <a:lnTo>
                    <a:pt x="11" y="307"/>
                  </a:lnTo>
                  <a:lnTo>
                    <a:pt x="11" y="303"/>
                  </a:lnTo>
                  <a:lnTo>
                    <a:pt x="11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299"/>
                  </a:lnTo>
                  <a:lnTo>
                    <a:pt x="11" y="295"/>
                  </a:lnTo>
                  <a:lnTo>
                    <a:pt x="11" y="299"/>
                  </a:lnTo>
                  <a:lnTo>
                    <a:pt x="11" y="295"/>
                  </a:lnTo>
                  <a:lnTo>
                    <a:pt x="15" y="295"/>
                  </a:lnTo>
                  <a:lnTo>
                    <a:pt x="19" y="295"/>
                  </a:lnTo>
                  <a:lnTo>
                    <a:pt x="23" y="291"/>
                  </a:lnTo>
                  <a:lnTo>
                    <a:pt x="19" y="295"/>
                  </a:lnTo>
                  <a:lnTo>
                    <a:pt x="15" y="295"/>
                  </a:lnTo>
                  <a:lnTo>
                    <a:pt x="15" y="291"/>
                  </a:lnTo>
                  <a:lnTo>
                    <a:pt x="19" y="291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3" y="279"/>
                  </a:lnTo>
                  <a:lnTo>
                    <a:pt x="27" y="279"/>
                  </a:lnTo>
                  <a:lnTo>
                    <a:pt x="27" y="283"/>
                  </a:lnTo>
                  <a:lnTo>
                    <a:pt x="27" y="287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75"/>
                  </a:lnTo>
                  <a:lnTo>
                    <a:pt x="35" y="279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27" y="279"/>
                  </a:lnTo>
                  <a:lnTo>
                    <a:pt x="23" y="279"/>
                  </a:lnTo>
                  <a:lnTo>
                    <a:pt x="19" y="279"/>
                  </a:lnTo>
                  <a:lnTo>
                    <a:pt x="19" y="283"/>
                  </a:lnTo>
                  <a:lnTo>
                    <a:pt x="15" y="287"/>
                  </a:lnTo>
                  <a:lnTo>
                    <a:pt x="15" y="291"/>
                  </a:lnTo>
                  <a:lnTo>
                    <a:pt x="15" y="287"/>
                  </a:lnTo>
                  <a:lnTo>
                    <a:pt x="11" y="287"/>
                  </a:lnTo>
                  <a:lnTo>
                    <a:pt x="11" y="283"/>
                  </a:lnTo>
                  <a:lnTo>
                    <a:pt x="15" y="279"/>
                  </a:lnTo>
                  <a:lnTo>
                    <a:pt x="11" y="279"/>
                  </a:lnTo>
                  <a:lnTo>
                    <a:pt x="11" y="283"/>
                  </a:lnTo>
                  <a:lnTo>
                    <a:pt x="11" y="287"/>
                  </a:lnTo>
                  <a:lnTo>
                    <a:pt x="7" y="287"/>
                  </a:lnTo>
                  <a:lnTo>
                    <a:pt x="7" y="283"/>
                  </a:lnTo>
                  <a:lnTo>
                    <a:pt x="7" y="279"/>
                  </a:lnTo>
                  <a:lnTo>
                    <a:pt x="7" y="275"/>
                  </a:lnTo>
                  <a:lnTo>
                    <a:pt x="7" y="279"/>
                  </a:lnTo>
                  <a:lnTo>
                    <a:pt x="11" y="279"/>
                  </a:lnTo>
                  <a:lnTo>
                    <a:pt x="15" y="279"/>
                  </a:lnTo>
                  <a:lnTo>
                    <a:pt x="15" y="275"/>
                  </a:lnTo>
                  <a:lnTo>
                    <a:pt x="15" y="271"/>
                  </a:lnTo>
                  <a:lnTo>
                    <a:pt x="11" y="271"/>
                  </a:lnTo>
                  <a:lnTo>
                    <a:pt x="11" y="275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1"/>
                  </a:ln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7" y="271"/>
                  </a:lnTo>
                  <a:lnTo>
                    <a:pt x="7" y="267"/>
                  </a:lnTo>
                  <a:lnTo>
                    <a:pt x="11" y="267"/>
                  </a:lnTo>
                  <a:lnTo>
                    <a:pt x="7" y="267"/>
                  </a:lnTo>
                  <a:lnTo>
                    <a:pt x="3" y="267"/>
                  </a:lnTo>
                  <a:lnTo>
                    <a:pt x="3" y="263"/>
                  </a:lnTo>
                  <a:lnTo>
                    <a:pt x="7" y="263"/>
                  </a:lnTo>
                  <a:lnTo>
                    <a:pt x="11" y="263"/>
                  </a:lnTo>
                  <a:lnTo>
                    <a:pt x="15" y="263"/>
                  </a:lnTo>
                  <a:lnTo>
                    <a:pt x="19" y="263"/>
                  </a:lnTo>
                  <a:lnTo>
                    <a:pt x="23" y="263"/>
                  </a:lnTo>
                  <a:lnTo>
                    <a:pt x="27" y="263"/>
                  </a:lnTo>
                  <a:lnTo>
                    <a:pt x="27" y="259"/>
                  </a:lnTo>
                  <a:lnTo>
                    <a:pt x="31" y="259"/>
                  </a:lnTo>
                  <a:lnTo>
                    <a:pt x="31" y="263"/>
                  </a:lnTo>
                  <a:lnTo>
                    <a:pt x="35" y="263"/>
                  </a:lnTo>
                  <a:lnTo>
                    <a:pt x="35" y="267"/>
                  </a:lnTo>
                  <a:lnTo>
                    <a:pt x="35" y="263"/>
                  </a:lnTo>
                  <a:lnTo>
                    <a:pt x="39" y="263"/>
                  </a:lnTo>
                  <a:lnTo>
                    <a:pt x="39" y="259"/>
                  </a:lnTo>
                  <a:lnTo>
                    <a:pt x="39" y="255"/>
                  </a:lnTo>
                  <a:lnTo>
                    <a:pt x="43" y="255"/>
                  </a:lnTo>
                  <a:lnTo>
                    <a:pt x="43" y="251"/>
                  </a:lnTo>
                  <a:lnTo>
                    <a:pt x="39" y="255"/>
                  </a:lnTo>
                  <a:lnTo>
                    <a:pt x="39" y="259"/>
                  </a:lnTo>
                  <a:lnTo>
                    <a:pt x="35" y="259"/>
                  </a:lnTo>
                  <a:lnTo>
                    <a:pt x="31" y="263"/>
                  </a:lnTo>
                  <a:lnTo>
                    <a:pt x="31" y="259"/>
                  </a:lnTo>
                  <a:lnTo>
                    <a:pt x="27" y="259"/>
                  </a:lnTo>
                  <a:lnTo>
                    <a:pt x="27" y="255"/>
                  </a:lnTo>
                  <a:lnTo>
                    <a:pt x="27" y="259"/>
                  </a:lnTo>
                  <a:lnTo>
                    <a:pt x="23" y="263"/>
                  </a:lnTo>
                  <a:lnTo>
                    <a:pt x="23" y="259"/>
                  </a:lnTo>
                  <a:lnTo>
                    <a:pt x="19" y="259"/>
                  </a:lnTo>
                  <a:lnTo>
                    <a:pt x="15" y="259"/>
                  </a:lnTo>
                  <a:lnTo>
                    <a:pt x="11" y="259"/>
                  </a:lnTo>
                  <a:lnTo>
                    <a:pt x="11" y="263"/>
                  </a:lnTo>
                  <a:lnTo>
                    <a:pt x="7" y="263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7" y="255"/>
                  </a:lnTo>
                  <a:lnTo>
                    <a:pt x="3" y="255"/>
                  </a:lnTo>
                  <a:lnTo>
                    <a:pt x="7" y="251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15" y="255"/>
                  </a:lnTo>
                  <a:lnTo>
                    <a:pt x="15" y="251"/>
                  </a:lnTo>
                  <a:lnTo>
                    <a:pt x="11" y="251"/>
                  </a:lnTo>
                  <a:lnTo>
                    <a:pt x="11" y="255"/>
                  </a:lnTo>
                  <a:lnTo>
                    <a:pt x="7" y="251"/>
                  </a:lnTo>
                  <a:lnTo>
                    <a:pt x="3" y="251"/>
                  </a:lnTo>
                  <a:lnTo>
                    <a:pt x="7" y="247"/>
                  </a:lnTo>
                  <a:lnTo>
                    <a:pt x="3" y="247"/>
                  </a:lnTo>
                  <a:lnTo>
                    <a:pt x="7" y="244"/>
                  </a:lnTo>
                  <a:lnTo>
                    <a:pt x="11" y="244"/>
                  </a:lnTo>
                  <a:lnTo>
                    <a:pt x="15" y="244"/>
                  </a:lnTo>
                  <a:lnTo>
                    <a:pt x="19" y="244"/>
                  </a:lnTo>
                  <a:lnTo>
                    <a:pt x="23" y="244"/>
                  </a:lnTo>
                  <a:lnTo>
                    <a:pt x="27" y="244"/>
                  </a:lnTo>
                  <a:lnTo>
                    <a:pt x="31" y="244"/>
                  </a:lnTo>
                  <a:lnTo>
                    <a:pt x="27" y="244"/>
                  </a:lnTo>
                  <a:lnTo>
                    <a:pt x="23" y="244"/>
                  </a:lnTo>
                  <a:lnTo>
                    <a:pt x="19" y="244"/>
                  </a:lnTo>
                  <a:lnTo>
                    <a:pt x="15" y="244"/>
                  </a:lnTo>
                  <a:lnTo>
                    <a:pt x="11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7" y="240"/>
                  </a:lnTo>
                  <a:lnTo>
                    <a:pt x="7" y="236"/>
                  </a:lnTo>
                  <a:lnTo>
                    <a:pt x="3" y="236"/>
                  </a:lnTo>
                  <a:lnTo>
                    <a:pt x="7" y="236"/>
                  </a:lnTo>
                  <a:lnTo>
                    <a:pt x="11" y="240"/>
                  </a:lnTo>
                  <a:lnTo>
                    <a:pt x="11" y="236"/>
                  </a:lnTo>
                  <a:lnTo>
                    <a:pt x="7" y="236"/>
                  </a:lnTo>
                  <a:lnTo>
                    <a:pt x="11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23" y="240"/>
                  </a:lnTo>
                  <a:lnTo>
                    <a:pt x="19" y="240"/>
                  </a:lnTo>
                  <a:lnTo>
                    <a:pt x="19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19" y="232"/>
                  </a:lnTo>
                  <a:lnTo>
                    <a:pt x="23" y="232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7" y="228"/>
                  </a:lnTo>
                  <a:lnTo>
                    <a:pt x="31" y="232"/>
                  </a:lnTo>
                  <a:lnTo>
                    <a:pt x="35" y="232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1" y="240"/>
                  </a:lnTo>
                  <a:lnTo>
                    <a:pt x="35" y="240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5" y="236"/>
                  </a:lnTo>
                  <a:lnTo>
                    <a:pt x="35" y="232"/>
                  </a:lnTo>
                  <a:lnTo>
                    <a:pt x="39" y="232"/>
                  </a:lnTo>
                  <a:lnTo>
                    <a:pt x="39" y="236"/>
                  </a:lnTo>
                  <a:lnTo>
                    <a:pt x="39" y="232"/>
                  </a:lnTo>
                  <a:lnTo>
                    <a:pt x="35" y="232"/>
                  </a:lnTo>
                  <a:lnTo>
                    <a:pt x="31" y="232"/>
                  </a:lnTo>
                  <a:lnTo>
                    <a:pt x="31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27" y="224"/>
                  </a:lnTo>
                  <a:lnTo>
                    <a:pt x="31" y="224"/>
                  </a:lnTo>
                  <a:lnTo>
                    <a:pt x="35" y="224"/>
                  </a:lnTo>
                  <a:lnTo>
                    <a:pt x="39" y="224"/>
                  </a:lnTo>
                  <a:lnTo>
                    <a:pt x="43" y="228"/>
                  </a:lnTo>
                  <a:lnTo>
                    <a:pt x="43" y="224"/>
                  </a:lnTo>
                  <a:lnTo>
                    <a:pt x="43" y="228"/>
                  </a:lnTo>
                  <a:lnTo>
                    <a:pt x="39" y="228"/>
                  </a:lnTo>
                  <a:lnTo>
                    <a:pt x="39" y="224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0"/>
                  </a:lnTo>
                  <a:lnTo>
                    <a:pt x="51" y="224"/>
                  </a:lnTo>
                  <a:lnTo>
                    <a:pt x="51" y="220"/>
                  </a:lnTo>
                  <a:lnTo>
                    <a:pt x="47" y="220"/>
                  </a:lnTo>
                  <a:lnTo>
                    <a:pt x="43" y="224"/>
                  </a:lnTo>
                  <a:lnTo>
                    <a:pt x="39" y="224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39" y="220"/>
                  </a:lnTo>
                  <a:lnTo>
                    <a:pt x="35" y="220"/>
                  </a:lnTo>
                  <a:lnTo>
                    <a:pt x="31" y="224"/>
                  </a:lnTo>
                  <a:lnTo>
                    <a:pt x="31" y="220"/>
                  </a:lnTo>
                  <a:lnTo>
                    <a:pt x="35" y="220"/>
                  </a:lnTo>
                  <a:lnTo>
                    <a:pt x="31" y="216"/>
                  </a:lnTo>
                  <a:lnTo>
                    <a:pt x="35" y="216"/>
                  </a:lnTo>
                  <a:lnTo>
                    <a:pt x="39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51" y="216"/>
                  </a:lnTo>
                  <a:lnTo>
                    <a:pt x="51" y="220"/>
                  </a:lnTo>
                  <a:lnTo>
                    <a:pt x="55" y="220"/>
                  </a:lnTo>
                  <a:lnTo>
                    <a:pt x="55" y="224"/>
                  </a:lnTo>
                  <a:lnTo>
                    <a:pt x="59" y="224"/>
                  </a:lnTo>
                  <a:lnTo>
                    <a:pt x="55" y="224"/>
                  </a:lnTo>
                  <a:lnTo>
                    <a:pt x="55" y="220"/>
                  </a:lnTo>
                  <a:lnTo>
                    <a:pt x="51" y="220"/>
                  </a:lnTo>
                  <a:lnTo>
                    <a:pt x="51" y="216"/>
                  </a:lnTo>
                  <a:lnTo>
                    <a:pt x="47" y="216"/>
                  </a:lnTo>
                  <a:lnTo>
                    <a:pt x="47" y="212"/>
                  </a:lnTo>
                  <a:lnTo>
                    <a:pt x="51" y="212"/>
                  </a:lnTo>
                  <a:lnTo>
                    <a:pt x="51" y="216"/>
                  </a:lnTo>
                  <a:lnTo>
                    <a:pt x="55" y="216"/>
                  </a:lnTo>
                  <a:lnTo>
                    <a:pt x="55" y="220"/>
                  </a:lnTo>
                  <a:lnTo>
                    <a:pt x="55" y="216"/>
                  </a:lnTo>
                  <a:lnTo>
                    <a:pt x="59" y="216"/>
                  </a:lnTo>
                  <a:lnTo>
                    <a:pt x="55" y="216"/>
                  </a:lnTo>
                  <a:lnTo>
                    <a:pt x="51" y="216"/>
                  </a:lnTo>
                  <a:lnTo>
                    <a:pt x="51" y="212"/>
                  </a:lnTo>
                  <a:lnTo>
                    <a:pt x="55" y="212"/>
                  </a:lnTo>
                  <a:lnTo>
                    <a:pt x="59" y="212"/>
                  </a:lnTo>
                  <a:lnTo>
                    <a:pt x="63" y="212"/>
                  </a:lnTo>
                  <a:lnTo>
                    <a:pt x="59" y="212"/>
                  </a:lnTo>
                  <a:lnTo>
                    <a:pt x="55" y="208"/>
                  </a:lnTo>
                  <a:lnTo>
                    <a:pt x="59" y="208"/>
                  </a:lnTo>
                  <a:lnTo>
                    <a:pt x="59" y="204"/>
                  </a:lnTo>
                  <a:lnTo>
                    <a:pt x="63" y="204"/>
                  </a:lnTo>
                  <a:lnTo>
                    <a:pt x="67" y="204"/>
                  </a:lnTo>
                  <a:lnTo>
                    <a:pt x="67" y="208"/>
                  </a:lnTo>
                  <a:lnTo>
                    <a:pt x="71" y="208"/>
                  </a:lnTo>
                  <a:lnTo>
                    <a:pt x="71" y="204"/>
                  </a:lnTo>
                  <a:lnTo>
                    <a:pt x="67" y="208"/>
                  </a:lnTo>
                  <a:lnTo>
                    <a:pt x="67" y="204"/>
                  </a:lnTo>
                  <a:lnTo>
                    <a:pt x="67" y="200"/>
                  </a:lnTo>
                  <a:lnTo>
                    <a:pt x="71" y="200"/>
                  </a:lnTo>
                  <a:lnTo>
                    <a:pt x="75" y="200"/>
                  </a:lnTo>
                  <a:lnTo>
                    <a:pt x="79" y="204"/>
                  </a:lnTo>
                  <a:lnTo>
                    <a:pt x="79" y="208"/>
                  </a:lnTo>
                  <a:lnTo>
                    <a:pt x="83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4"/>
                  </a:lnTo>
                  <a:lnTo>
                    <a:pt x="87" y="204"/>
                  </a:lnTo>
                  <a:lnTo>
                    <a:pt x="91" y="204"/>
                  </a:lnTo>
                  <a:lnTo>
                    <a:pt x="91" y="200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5" y="196"/>
                  </a:lnTo>
                  <a:lnTo>
                    <a:pt x="99" y="196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92"/>
                  </a:lnTo>
                  <a:lnTo>
                    <a:pt x="103" y="188"/>
                  </a:lnTo>
                  <a:lnTo>
                    <a:pt x="99" y="188"/>
                  </a:lnTo>
                  <a:lnTo>
                    <a:pt x="95" y="188"/>
                  </a:lnTo>
                  <a:lnTo>
                    <a:pt x="95" y="192"/>
                  </a:lnTo>
                  <a:lnTo>
                    <a:pt x="91" y="192"/>
                  </a:lnTo>
                  <a:lnTo>
                    <a:pt x="87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7" y="200"/>
                  </a:lnTo>
                  <a:lnTo>
                    <a:pt x="83" y="200"/>
                  </a:lnTo>
                  <a:lnTo>
                    <a:pt x="79" y="204"/>
                  </a:lnTo>
                  <a:lnTo>
                    <a:pt x="75" y="200"/>
                  </a:lnTo>
                  <a:lnTo>
                    <a:pt x="75" y="196"/>
                  </a:lnTo>
                  <a:lnTo>
                    <a:pt x="79" y="196"/>
                  </a:lnTo>
                  <a:lnTo>
                    <a:pt x="75" y="196"/>
                  </a:lnTo>
                  <a:lnTo>
                    <a:pt x="71" y="200"/>
                  </a:lnTo>
                  <a:lnTo>
                    <a:pt x="71" y="196"/>
                  </a:lnTo>
                  <a:lnTo>
                    <a:pt x="75" y="196"/>
                  </a:lnTo>
                  <a:lnTo>
                    <a:pt x="75" y="192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79" y="192"/>
                  </a:lnTo>
                  <a:lnTo>
                    <a:pt x="79" y="188"/>
                  </a:lnTo>
                  <a:lnTo>
                    <a:pt x="83" y="184"/>
                  </a:lnTo>
                  <a:lnTo>
                    <a:pt x="87" y="180"/>
                  </a:lnTo>
                  <a:close/>
                  <a:moveTo>
                    <a:pt x="303" y="4"/>
                  </a:moveTo>
                  <a:lnTo>
                    <a:pt x="303" y="0"/>
                  </a:lnTo>
                  <a:lnTo>
                    <a:pt x="303" y="4"/>
                  </a:lnTo>
                  <a:close/>
                  <a:moveTo>
                    <a:pt x="287" y="16"/>
                  </a:moveTo>
                  <a:lnTo>
                    <a:pt x="287" y="12"/>
                  </a:lnTo>
                  <a:lnTo>
                    <a:pt x="291" y="12"/>
                  </a:lnTo>
                  <a:lnTo>
                    <a:pt x="295" y="16"/>
                  </a:lnTo>
                  <a:lnTo>
                    <a:pt x="291" y="16"/>
                  </a:lnTo>
                  <a:lnTo>
                    <a:pt x="287" y="16"/>
                  </a:lnTo>
                  <a:close/>
                  <a:moveTo>
                    <a:pt x="275" y="24"/>
                  </a:moveTo>
                  <a:lnTo>
                    <a:pt x="271" y="24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5" y="24"/>
                  </a:lnTo>
                  <a:close/>
                  <a:moveTo>
                    <a:pt x="259" y="24"/>
                  </a:moveTo>
                  <a:lnTo>
                    <a:pt x="255" y="24"/>
                  </a:lnTo>
                  <a:lnTo>
                    <a:pt x="255" y="20"/>
                  </a:lnTo>
                  <a:lnTo>
                    <a:pt x="259" y="20"/>
                  </a:lnTo>
                  <a:lnTo>
                    <a:pt x="259" y="24"/>
                  </a:lnTo>
                  <a:close/>
                  <a:moveTo>
                    <a:pt x="219" y="28"/>
                  </a:moveTo>
                  <a:lnTo>
                    <a:pt x="215" y="28"/>
                  </a:lnTo>
                  <a:lnTo>
                    <a:pt x="219" y="24"/>
                  </a:lnTo>
                  <a:lnTo>
                    <a:pt x="219" y="28"/>
                  </a:lnTo>
                  <a:close/>
                  <a:moveTo>
                    <a:pt x="211" y="32"/>
                  </a:moveTo>
                  <a:lnTo>
                    <a:pt x="211" y="28"/>
                  </a:lnTo>
                  <a:lnTo>
                    <a:pt x="215" y="28"/>
                  </a:lnTo>
                  <a:lnTo>
                    <a:pt x="215" y="32"/>
                  </a:lnTo>
                  <a:lnTo>
                    <a:pt x="211" y="32"/>
                  </a:lnTo>
                  <a:close/>
                  <a:moveTo>
                    <a:pt x="243" y="32"/>
                  </a:moveTo>
                  <a:lnTo>
                    <a:pt x="247" y="32"/>
                  </a:lnTo>
                  <a:lnTo>
                    <a:pt x="243" y="32"/>
                  </a:lnTo>
                  <a:close/>
                  <a:moveTo>
                    <a:pt x="223" y="36"/>
                  </a:moveTo>
                  <a:lnTo>
                    <a:pt x="227" y="32"/>
                  </a:lnTo>
                  <a:lnTo>
                    <a:pt x="231" y="32"/>
                  </a:lnTo>
                  <a:lnTo>
                    <a:pt x="227" y="36"/>
                  </a:lnTo>
                  <a:lnTo>
                    <a:pt x="223" y="36"/>
                  </a:lnTo>
                  <a:close/>
                  <a:moveTo>
                    <a:pt x="378" y="40"/>
                  </a:moveTo>
                  <a:lnTo>
                    <a:pt x="378" y="36"/>
                  </a:lnTo>
                  <a:lnTo>
                    <a:pt x="382" y="36"/>
                  </a:lnTo>
                  <a:lnTo>
                    <a:pt x="378" y="40"/>
                  </a:lnTo>
                  <a:close/>
                  <a:moveTo>
                    <a:pt x="239" y="36"/>
                  </a:moveTo>
                  <a:lnTo>
                    <a:pt x="243" y="36"/>
                  </a:lnTo>
                  <a:lnTo>
                    <a:pt x="239" y="36"/>
                  </a:lnTo>
                  <a:close/>
                  <a:moveTo>
                    <a:pt x="215" y="44"/>
                  </a:moveTo>
                  <a:lnTo>
                    <a:pt x="215" y="40"/>
                  </a:lnTo>
                  <a:lnTo>
                    <a:pt x="215" y="44"/>
                  </a:lnTo>
                  <a:close/>
                  <a:moveTo>
                    <a:pt x="191" y="60"/>
                  </a:moveTo>
                  <a:lnTo>
                    <a:pt x="191" y="56"/>
                  </a:lnTo>
                  <a:lnTo>
                    <a:pt x="195" y="56"/>
                  </a:lnTo>
                  <a:lnTo>
                    <a:pt x="191" y="60"/>
                  </a:lnTo>
                  <a:close/>
                  <a:moveTo>
                    <a:pt x="179" y="64"/>
                  </a:moveTo>
                  <a:lnTo>
                    <a:pt x="175" y="60"/>
                  </a:lnTo>
                  <a:lnTo>
                    <a:pt x="179" y="60"/>
                  </a:lnTo>
                  <a:lnTo>
                    <a:pt x="179" y="64"/>
                  </a:lnTo>
                  <a:close/>
                  <a:moveTo>
                    <a:pt x="187" y="64"/>
                  </a:moveTo>
                  <a:lnTo>
                    <a:pt x="187" y="60"/>
                  </a:lnTo>
                  <a:lnTo>
                    <a:pt x="191" y="60"/>
                  </a:lnTo>
                  <a:lnTo>
                    <a:pt x="191" y="64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4"/>
                  </a:lnTo>
                  <a:lnTo>
                    <a:pt x="183" y="68"/>
                  </a:lnTo>
                  <a:close/>
                  <a:moveTo>
                    <a:pt x="171" y="76"/>
                  </a:moveTo>
                  <a:lnTo>
                    <a:pt x="171" y="72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close/>
                  <a:moveTo>
                    <a:pt x="143" y="80"/>
                  </a:moveTo>
                  <a:lnTo>
                    <a:pt x="139" y="80"/>
                  </a:lnTo>
                  <a:lnTo>
                    <a:pt x="139" y="76"/>
                  </a:lnTo>
                  <a:lnTo>
                    <a:pt x="143" y="76"/>
                  </a:lnTo>
                  <a:lnTo>
                    <a:pt x="143" y="80"/>
                  </a:lnTo>
                  <a:close/>
                  <a:moveTo>
                    <a:pt x="127" y="88"/>
                  </a:moveTo>
                  <a:lnTo>
                    <a:pt x="127" y="84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8"/>
                  </a:lnTo>
                  <a:close/>
                  <a:moveTo>
                    <a:pt x="123" y="92"/>
                  </a:move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close/>
                  <a:moveTo>
                    <a:pt x="163" y="88"/>
                  </a:move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3" y="88"/>
                  </a:lnTo>
                  <a:close/>
                  <a:moveTo>
                    <a:pt x="155" y="88"/>
                  </a:moveTo>
                  <a:lnTo>
                    <a:pt x="159" y="88"/>
                  </a:lnTo>
                  <a:lnTo>
                    <a:pt x="155" y="88"/>
                  </a:lnTo>
                  <a:close/>
                  <a:moveTo>
                    <a:pt x="143" y="112"/>
                  </a:moveTo>
                  <a:lnTo>
                    <a:pt x="139" y="112"/>
                  </a:lnTo>
                  <a:lnTo>
                    <a:pt x="139" y="108"/>
                  </a:lnTo>
                  <a:lnTo>
                    <a:pt x="143" y="108"/>
                  </a:lnTo>
                  <a:lnTo>
                    <a:pt x="143" y="112"/>
                  </a:lnTo>
                  <a:close/>
                  <a:moveTo>
                    <a:pt x="107" y="148"/>
                  </a:moveTo>
                  <a:lnTo>
                    <a:pt x="111" y="148"/>
                  </a:lnTo>
                  <a:lnTo>
                    <a:pt x="107" y="148"/>
                  </a:lnTo>
                  <a:close/>
                  <a:moveTo>
                    <a:pt x="111" y="160"/>
                  </a:moveTo>
                  <a:lnTo>
                    <a:pt x="111" y="156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11" y="160"/>
                  </a:lnTo>
                  <a:close/>
                  <a:moveTo>
                    <a:pt x="111" y="164"/>
                  </a:moveTo>
                  <a:lnTo>
                    <a:pt x="107" y="164"/>
                  </a:lnTo>
                  <a:lnTo>
                    <a:pt x="111" y="160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1" y="164"/>
                  </a:lnTo>
                  <a:close/>
                  <a:moveTo>
                    <a:pt x="91" y="168"/>
                  </a:moveTo>
                  <a:lnTo>
                    <a:pt x="95" y="164"/>
                  </a:lnTo>
                  <a:lnTo>
                    <a:pt x="91" y="168"/>
                  </a:lnTo>
                  <a:close/>
                  <a:moveTo>
                    <a:pt x="95" y="168"/>
                  </a:moveTo>
                  <a:lnTo>
                    <a:pt x="91" y="168"/>
                  </a:lnTo>
                  <a:lnTo>
                    <a:pt x="95" y="164"/>
                  </a:lnTo>
                  <a:lnTo>
                    <a:pt x="99" y="168"/>
                  </a:lnTo>
                  <a:lnTo>
                    <a:pt x="95" y="168"/>
                  </a:lnTo>
                  <a:close/>
                  <a:moveTo>
                    <a:pt x="99" y="176"/>
                  </a:moveTo>
                  <a:lnTo>
                    <a:pt x="95" y="176"/>
                  </a:lnTo>
                  <a:lnTo>
                    <a:pt x="95" y="172"/>
                  </a:lnTo>
                  <a:lnTo>
                    <a:pt x="99" y="176"/>
                  </a:lnTo>
                  <a:close/>
                  <a:moveTo>
                    <a:pt x="55" y="208"/>
                  </a:moveTo>
                  <a:lnTo>
                    <a:pt x="55" y="204"/>
                  </a:lnTo>
                  <a:lnTo>
                    <a:pt x="59" y="204"/>
                  </a:lnTo>
                  <a:lnTo>
                    <a:pt x="59" y="208"/>
                  </a:lnTo>
                  <a:lnTo>
                    <a:pt x="55" y="208"/>
                  </a:lnTo>
                  <a:close/>
                  <a:moveTo>
                    <a:pt x="55" y="212"/>
                  </a:moveTo>
                  <a:lnTo>
                    <a:pt x="51" y="208"/>
                  </a:lnTo>
                  <a:lnTo>
                    <a:pt x="55" y="208"/>
                  </a:lnTo>
                  <a:lnTo>
                    <a:pt x="59" y="212"/>
                  </a:lnTo>
                  <a:lnTo>
                    <a:pt x="55" y="212"/>
                  </a:lnTo>
                  <a:close/>
                  <a:moveTo>
                    <a:pt x="47" y="212"/>
                  </a:moveTo>
                  <a:lnTo>
                    <a:pt x="51" y="208"/>
                  </a:lnTo>
                  <a:lnTo>
                    <a:pt x="51" y="212"/>
                  </a:lnTo>
                  <a:lnTo>
                    <a:pt x="47" y="212"/>
                  </a:lnTo>
                  <a:close/>
                  <a:moveTo>
                    <a:pt x="47" y="216"/>
                  </a:moveTo>
                  <a:lnTo>
                    <a:pt x="43" y="216"/>
                  </a:lnTo>
                  <a:lnTo>
                    <a:pt x="43" y="212"/>
                  </a:lnTo>
                  <a:lnTo>
                    <a:pt x="47" y="212"/>
                  </a:lnTo>
                  <a:lnTo>
                    <a:pt x="47" y="216"/>
                  </a:lnTo>
                  <a:close/>
                  <a:moveTo>
                    <a:pt x="43" y="216"/>
                  </a:moveTo>
                  <a:lnTo>
                    <a:pt x="39" y="216"/>
                  </a:lnTo>
                  <a:lnTo>
                    <a:pt x="39" y="212"/>
                  </a:lnTo>
                  <a:lnTo>
                    <a:pt x="43" y="212"/>
                  </a:lnTo>
                  <a:lnTo>
                    <a:pt x="43" y="216"/>
                  </a:lnTo>
                  <a:close/>
                  <a:moveTo>
                    <a:pt x="27" y="224"/>
                  </a:moveTo>
                  <a:lnTo>
                    <a:pt x="31" y="220"/>
                  </a:lnTo>
                  <a:lnTo>
                    <a:pt x="31" y="224"/>
                  </a:lnTo>
                  <a:lnTo>
                    <a:pt x="27" y="224"/>
                  </a:lnTo>
                  <a:close/>
                  <a:moveTo>
                    <a:pt x="23" y="232"/>
                  </a:moveTo>
                  <a:lnTo>
                    <a:pt x="19" y="232"/>
                  </a:lnTo>
                  <a:lnTo>
                    <a:pt x="19" y="228"/>
                  </a:lnTo>
                  <a:lnTo>
                    <a:pt x="23" y="228"/>
                  </a:lnTo>
                  <a:lnTo>
                    <a:pt x="23" y="232"/>
                  </a:lnTo>
                  <a:close/>
                  <a:moveTo>
                    <a:pt x="15" y="236"/>
                  </a:moveTo>
                  <a:lnTo>
                    <a:pt x="15" y="232"/>
                  </a:lnTo>
                  <a:lnTo>
                    <a:pt x="15" y="228"/>
                  </a:lnTo>
                  <a:lnTo>
                    <a:pt x="19" y="228"/>
                  </a:lnTo>
                  <a:lnTo>
                    <a:pt x="19" y="232"/>
                  </a:lnTo>
                  <a:lnTo>
                    <a:pt x="15" y="232"/>
                  </a:lnTo>
                  <a:lnTo>
                    <a:pt x="15" y="236"/>
                  </a:lnTo>
                  <a:close/>
                  <a:moveTo>
                    <a:pt x="11" y="236"/>
                  </a:moveTo>
                  <a:lnTo>
                    <a:pt x="11" y="232"/>
                  </a:lnTo>
                  <a:lnTo>
                    <a:pt x="15" y="232"/>
                  </a:lnTo>
                  <a:lnTo>
                    <a:pt x="15" y="236"/>
                  </a:lnTo>
                  <a:lnTo>
                    <a:pt x="11" y="236"/>
                  </a:lnTo>
                  <a:close/>
                  <a:moveTo>
                    <a:pt x="3" y="247"/>
                  </a:moveTo>
                  <a:lnTo>
                    <a:pt x="3" y="244"/>
                  </a:lnTo>
                  <a:lnTo>
                    <a:pt x="0" y="244"/>
                  </a:lnTo>
                  <a:lnTo>
                    <a:pt x="3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3" y="247"/>
                  </a:lnTo>
                  <a:close/>
                  <a:moveTo>
                    <a:pt x="0" y="263"/>
                  </a:moveTo>
                  <a:lnTo>
                    <a:pt x="0" y="259"/>
                  </a:lnTo>
                  <a:lnTo>
                    <a:pt x="3" y="259"/>
                  </a:lnTo>
                  <a:lnTo>
                    <a:pt x="3" y="263"/>
                  </a:lnTo>
                  <a:lnTo>
                    <a:pt x="0" y="263"/>
                  </a:lnTo>
                  <a:close/>
                  <a:moveTo>
                    <a:pt x="11" y="279"/>
                  </a:move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15" y="271"/>
                  </a:lnTo>
                  <a:lnTo>
                    <a:pt x="15" y="279"/>
                  </a:lnTo>
                  <a:lnTo>
                    <a:pt x="11" y="279"/>
                  </a:lnTo>
                  <a:close/>
                  <a:moveTo>
                    <a:pt x="315" y="8"/>
                  </a:moveTo>
                  <a:lnTo>
                    <a:pt x="311" y="4"/>
                  </a:lnTo>
                  <a:lnTo>
                    <a:pt x="315" y="4"/>
                  </a:lnTo>
                  <a:lnTo>
                    <a:pt x="311" y="4"/>
                  </a:lnTo>
                  <a:lnTo>
                    <a:pt x="315" y="0"/>
                  </a:lnTo>
                  <a:lnTo>
                    <a:pt x="319" y="0"/>
                  </a:lnTo>
                  <a:lnTo>
                    <a:pt x="323" y="0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15" y="8"/>
                  </a:lnTo>
                  <a:close/>
                  <a:moveTo>
                    <a:pt x="291" y="8"/>
                  </a:moveTo>
                  <a:lnTo>
                    <a:pt x="291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1" y="8"/>
                  </a:lnTo>
                  <a:close/>
                  <a:moveTo>
                    <a:pt x="263" y="20"/>
                  </a:moveTo>
                  <a:lnTo>
                    <a:pt x="263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12"/>
                  </a:lnTo>
                  <a:lnTo>
                    <a:pt x="271" y="12"/>
                  </a:lnTo>
                  <a:lnTo>
                    <a:pt x="271" y="16"/>
                  </a:lnTo>
                  <a:lnTo>
                    <a:pt x="275" y="16"/>
                  </a:lnTo>
                  <a:lnTo>
                    <a:pt x="275" y="12"/>
                  </a:lnTo>
                  <a:lnTo>
                    <a:pt x="271" y="12"/>
                  </a:lnTo>
                  <a:lnTo>
                    <a:pt x="275" y="12"/>
                  </a:lnTo>
                  <a:lnTo>
                    <a:pt x="279" y="12"/>
                  </a:lnTo>
                  <a:lnTo>
                    <a:pt x="283" y="12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83" y="8"/>
                  </a:lnTo>
                  <a:lnTo>
                    <a:pt x="283" y="12"/>
                  </a:lnTo>
                  <a:lnTo>
                    <a:pt x="279" y="12"/>
                  </a:lnTo>
                  <a:lnTo>
                    <a:pt x="279" y="16"/>
                  </a:lnTo>
                  <a:lnTo>
                    <a:pt x="275" y="16"/>
                  </a:lnTo>
                  <a:lnTo>
                    <a:pt x="271" y="16"/>
                  </a:lnTo>
                  <a:lnTo>
                    <a:pt x="267" y="20"/>
                  </a:lnTo>
                  <a:lnTo>
                    <a:pt x="263" y="16"/>
                  </a:lnTo>
                  <a:lnTo>
                    <a:pt x="263" y="20"/>
                  </a:lnTo>
                  <a:close/>
                  <a:moveTo>
                    <a:pt x="279" y="24"/>
                  </a:moveTo>
                  <a:lnTo>
                    <a:pt x="275" y="20"/>
                  </a:lnTo>
                  <a:lnTo>
                    <a:pt x="279" y="16"/>
                  </a:lnTo>
                  <a:lnTo>
                    <a:pt x="283" y="16"/>
                  </a:lnTo>
                  <a:lnTo>
                    <a:pt x="287" y="16"/>
                  </a:lnTo>
                  <a:lnTo>
                    <a:pt x="287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79" y="24"/>
                  </a:lnTo>
                  <a:close/>
                  <a:moveTo>
                    <a:pt x="231" y="32"/>
                  </a:moveTo>
                  <a:lnTo>
                    <a:pt x="227" y="32"/>
                  </a:lnTo>
                  <a:lnTo>
                    <a:pt x="227" y="28"/>
                  </a:lnTo>
                  <a:lnTo>
                    <a:pt x="227" y="24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31" y="28"/>
                  </a:lnTo>
                  <a:lnTo>
                    <a:pt x="231" y="32"/>
                  </a:lnTo>
                  <a:close/>
                  <a:moveTo>
                    <a:pt x="239" y="32"/>
                  </a:moveTo>
                  <a:lnTo>
                    <a:pt x="239" y="28"/>
                  </a:lnTo>
                  <a:lnTo>
                    <a:pt x="239" y="32"/>
                  </a:lnTo>
                  <a:lnTo>
                    <a:pt x="239" y="28"/>
                  </a:lnTo>
                  <a:lnTo>
                    <a:pt x="235" y="28"/>
                  </a:lnTo>
                  <a:lnTo>
                    <a:pt x="239" y="28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3" y="32"/>
                  </a:lnTo>
                  <a:lnTo>
                    <a:pt x="239" y="32"/>
                  </a:lnTo>
                  <a:close/>
                  <a:moveTo>
                    <a:pt x="223" y="28"/>
                  </a:moveTo>
                  <a:lnTo>
                    <a:pt x="219" y="28"/>
                  </a:lnTo>
                  <a:lnTo>
                    <a:pt x="223" y="28"/>
                  </a:lnTo>
                  <a:close/>
                  <a:moveTo>
                    <a:pt x="219" y="36"/>
                  </a:moveTo>
                  <a:lnTo>
                    <a:pt x="215" y="36"/>
                  </a:lnTo>
                  <a:lnTo>
                    <a:pt x="211" y="36"/>
                  </a:lnTo>
                  <a:lnTo>
                    <a:pt x="211" y="32"/>
                  </a:lnTo>
                  <a:lnTo>
                    <a:pt x="215" y="32"/>
                  </a:lnTo>
                  <a:lnTo>
                    <a:pt x="219" y="32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23" y="36"/>
                  </a:lnTo>
                  <a:lnTo>
                    <a:pt x="219" y="36"/>
                  </a:lnTo>
                  <a:close/>
                  <a:moveTo>
                    <a:pt x="207" y="40"/>
                  </a:moveTo>
                  <a:lnTo>
                    <a:pt x="211" y="40"/>
                  </a:lnTo>
                  <a:lnTo>
                    <a:pt x="207" y="40"/>
                  </a:lnTo>
                  <a:lnTo>
                    <a:pt x="207" y="36"/>
                  </a:lnTo>
                  <a:lnTo>
                    <a:pt x="207" y="40"/>
                  </a:lnTo>
                  <a:lnTo>
                    <a:pt x="211" y="40"/>
                  </a:lnTo>
                  <a:lnTo>
                    <a:pt x="211" y="36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0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1" y="44"/>
                  </a:lnTo>
                  <a:lnTo>
                    <a:pt x="207" y="44"/>
                  </a:lnTo>
                  <a:lnTo>
                    <a:pt x="203" y="44"/>
                  </a:lnTo>
                  <a:lnTo>
                    <a:pt x="199" y="44"/>
                  </a:lnTo>
                  <a:lnTo>
                    <a:pt x="203" y="40"/>
                  </a:lnTo>
                  <a:lnTo>
                    <a:pt x="203" y="44"/>
                  </a:lnTo>
                  <a:lnTo>
                    <a:pt x="203" y="40"/>
                  </a:lnTo>
                  <a:lnTo>
                    <a:pt x="207" y="40"/>
                  </a:lnTo>
                  <a:close/>
                  <a:moveTo>
                    <a:pt x="183" y="52"/>
                  </a:moveTo>
                  <a:lnTo>
                    <a:pt x="187" y="52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48"/>
                  </a:lnTo>
                  <a:lnTo>
                    <a:pt x="183" y="48"/>
                  </a:lnTo>
                  <a:lnTo>
                    <a:pt x="187" y="48"/>
                  </a:lnTo>
                  <a:lnTo>
                    <a:pt x="191" y="48"/>
                  </a:lnTo>
                  <a:lnTo>
                    <a:pt x="187" y="48"/>
                  </a:lnTo>
                  <a:lnTo>
                    <a:pt x="187" y="44"/>
                  </a:lnTo>
                  <a:lnTo>
                    <a:pt x="191" y="48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5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8"/>
                  </a:lnTo>
                  <a:lnTo>
                    <a:pt x="199" y="48"/>
                  </a:lnTo>
                  <a:lnTo>
                    <a:pt x="199" y="52"/>
                  </a:lnTo>
                  <a:lnTo>
                    <a:pt x="199" y="56"/>
                  </a:lnTo>
                  <a:lnTo>
                    <a:pt x="195" y="56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56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52"/>
                  </a:lnTo>
                  <a:close/>
                  <a:moveTo>
                    <a:pt x="163" y="64"/>
                  </a:moveTo>
                  <a:lnTo>
                    <a:pt x="163" y="60"/>
                  </a:lnTo>
                  <a:lnTo>
                    <a:pt x="163" y="56"/>
                  </a:lnTo>
                  <a:lnTo>
                    <a:pt x="167" y="56"/>
                  </a:lnTo>
                  <a:lnTo>
                    <a:pt x="167" y="52"/>
                  </a:lnTo>
                  <a:lnTo>
                    <a:pt x="171" y="52"/>
                  </a:lnTo>
                  <a:lnTo>
                    <a:pt x="171" y="56"/>
                  </a:lnTo>
                  <a:lnTo>
                    <a:pt x="167" y="56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64"/>
                  </a:lnTo>
                  <a:close/>
                  <a:moveTo>
                    <a:pt x="147" y="68"/>
                  </a:moveTo>
                  <a:lnTo>
                    <a:pt x="147" y="64"/>
                  </a:lnTo>
                  <a:lnTo>
                    <a:pt x="151" y="64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5" y="64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5" y="72"/>
                  </a:lnTo>
                  <a:lnTo>
                    <a:pt x="151" y="72"/>
                  </a:lnTo>
                  <a:lnTo>
                    <a:pt x="151" y="68"/>
                  </a:lnTo>
                  <a:lnTo>
                    <a:pt x="155" y="68"/>
                  </a:lnTo>
                  <a:lnTo>
                    <a:pt x="159" y="68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1" y="68"/>
                  </a:lnTo>
                  <a:lnTo>
                    <a:pt x="147" y="68"/>
                  </a:lnTo>
                  <a:close/>
                  <a:moveTo>
                    <a:pt x="179" y="72"/>
                  </a:moveTo>
                  <a:lnTo>
                    <a:pt x="175" y="72"/>
                  </a:lnTo>
                  <a:lnTo>
                    <a:pt x="171" y="72"/>
                  </a:lnTo>
                  <a:lnTo>
                    <a:pt x="171" y="76"/>
                  </a:lnTo>
                  <a:lnTo>
                    <a:pt x="167" y="76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63" y="76"/>
                  </a:lnTo>
                  <a:lnTo>
                    <a:pt x="163" y="72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55" y="80"/>
                  </a:lnTo>
                  <a:lnTo>
                    <a:pt x="155" y="76"/>
                  </a:lnTo>
                  <a:lnTo>
                    <a:pt x="159" y="72"/>
                  </a:lnTo>
                  <a:lnTo>
                    <a:pt x="163" y="68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0"/>
                  </a:lnTo>
                  <a:lnTo>
                    <a:pt x="167" y="60"/>
                  </a:lnTo>
                  <a:lnTo>
                    <a:pt x="167" y="64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67" y="68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5" y="64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close/>
                  <a:moveTo>
                    <a:pt x="143" y="80"/>
                  </a:moveTo>
                  <a:lnTo>
                    <a:pt x="143" y="76"/>
                  </a:lnTo>
                  <a:lnTo>
                    <a:pt x="147" y="76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5" y="76"/>
                  </a:lnTo>
                  <a:lnTo>
                    <a:pt x="151" y="80"/>
                  </a:lnTo>
                  <a:lnTo>
                    <a:pt x="147" y="80"/>
                  </a:lnTo>
                  <a:lnTo>
                    <a:pt x="143" y="80"/>
                  </a:lnTo>
                  <a:close/>
                  <a:moveTo>
                    <a:pt x="131" y="84"/>
                  </a:moveTo>
                  <a:lnTo>
                    <a:pt x="131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39" y="80"/>
                  </a:lnTo>
                  <a:lnTo>
                    <a:pt x="139" y="84"/>
                  </a:lnTo>
                  <a:lnTo>
                    <a:pt x="135" y="84"/>
                  </a:lnTo>
                  <a:lnTo>
                    <a:pt x="131" y="84"/>
                  </a:lnTo>
                  <a:close/>
                  <a:moveTo>
                    <a:pt x="115" y="140"/>
                  </a:moveTo>
                  <a:lnTo>
                    <a:pt x="115" y="136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15" y="136"/>
                  </a:lnTo>
                  <a:lnTo>
                    <a:pt x="115" y="140"/>
                  </a:lnTo>
                  <a:close/>
                  <a:moveTo>
                    <a:pt x="115" y="140"/>
                  </a:move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40"/>
                  </a:lnTo>
                  <a:lnTo>
                    <a:pt x="119" y="140"/>
                  </a:lnTo>
                  <a:lnTo>
                    <a:pt x="115" y="140"/>
                  </a:lnTo>
                  <a:close/>
                  <a:moveTo>
                    <a:pt x="55" y="200"/>
                  </a:moveTo>
                  <a:lnTo>
                    <a:pt x="51" y="200"/>
                  </a:lnTo>
                  <a:lnTo>
                    <a:pt x="51" y="196"/>
                  </a:lnTo>
                  <a:lnTo>
                    <a:pt x="55" y="196"/>
                  </a:lnTo>
                  <a:lnTo>
                    <a:pt x="59" y="196"/>
                  </a:lnTo>
                  <a:lnTo>
                    <a:pt x="63" y="196"/>
                  </a:lnTo>
                  <a:lnTo>
                    <a:pt x="59" y="196"/>
                  </a:lnTo>
                  <a:lnTo>
                    <a:pt x="59" y="200"/>
                  </a:lnTo>
                  <a:lnTo>
                    <a:pt x="55" y="200"/>
                  </a:lnTo>
                  <a:close/>
                  <a:moveTo>
                    <a:pt x="55" y="204"/>
                  </a:moveTo>
                  <a:lnTo>
                    <a:pt x="51" y="204"/>
                  </a:lnTo>
                  <a:lnTo>
                    <a:pt x="55" y="204"/>
                  </a:lnTo>
                  <a:lnTo>
                    <a:pt x="55" y="200"/>
                  </a:lnTo>
                  <a:lnTo>
                    <a:pt x="59" y="200"/>
                  </a:lnTo>
                  <a:lnTo>
                    <a:pt x="63" y="200"/>
                  </a:lnTo>
                  <a:lnTo>
                    <a:pt x="67" y="200"/>
                  </a:lnTo>
                  <a:lnTo>
                    <a:pt x="63" y="200"/>
                  </a:lnTo>
                  <a:lnTo>
                    <a:pt x="63" y="204"/>
                  </a:lnTo>
                  <a:lnTo>
                    <a:pt x="59" y="204"/>
                  </a:lnTo>
                  <a:lnTo>
                    <a:pt x="55" y="204"/>
                  </a:lnTo>
                  <a:close/>
                  <a:moveTo>
                    <a:pt x="47" y="208"/>
                  </a:moveTo>
                  <a:lnTo>
                    <a:pt x="47" y="204"/>
                  </a:lnTo>
                  <a:lnTo>
                    <a:pt x="51" y="204"/>
                  </a:lnTo>
                  <a:lnTo>
                    <a:pt x="51" y="208"/>
                  </a:lnTo>
                  <a:lnTo>
                    <a:pt x="47" y="208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3" y="271"/>
                  </a:lnTo>
                  <a:lnTo>
                    <a:pt x="0" y="271"/>
                  </a:lnTo>
                  <a:lnTo>
                    <a:pt x="3" y="271"/>
                  </a:ln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9"/>
                  </a:moveTo>
                  <a:lnTo>
                    <a:pt x="3" y="279"/>
                  </a:lnTo>
                  <a:lnTo>
                    <a:pt x="3" y="275"/>
                  </a:lnTo>
                  <a:lnTo>
                    <a:pt x="7" y="275"/>
                  </a:lnTo>
                  <a:lnTo>
                    <a:pt x="7" y="279"/>
                  </a:lnTo>
                  <a:close/>
                  <a:moveTo>
                    <a:pt x="3" y="283"/>
                  </a:moveTo>
                  <a:lnTo>
                    <a:pt x="3" y="279"/>
                  </a:lnTo>
                  <a:lnTo>
                    <a:pt x="3" y="283"/>
                  </a:lnTo>
                  <a:close/>
                  <a:moveTo>
                    <a:pt x="11" y="291"/>
                  </a:moveTo>
                  <a:lnTo>
                    <a:pt x="7" y="291"/>
                  </a:lnTo>
                  <a:lnTo>
                    <a:pt x="11" y="287"/>
                  </a:lnTo>
                  <a:lnTo>
                    <a:pt x="11" y="291"/>
                  </a:lnTo>
                  <a:close/>
                  <a:moveTo>
                    <a:pt x="7" y="295"/>
                  </a:moveTo>
                  <a:lnTo>
                    <a:pt x="7" y="291"/>
                  </a:lnTo>
                  <a:lnTo>
                    <a:pt x="11" y="291"/>
                  </a:lnTo>
                  <a:lnTo>
                    <a:pt x="11" y="295"/>
                  </a:lnTo>
                  <a:lnTo>
                    <a:pt x="7" y="295"/>
                  </a:lnTo>
                  <a:close/>
                  <a:moveTo>
                    <a:pt x="7" y="299"/>
                  </a:moveTo>
                  <a:lnTo>
                    <a:pt x="3" y="299"/>
                  </a:lnTo>
                  <a:lnTo>
                    <a:pt x="3" y="295"/>
                  </a:lnTo>
                  <a:lnTo>
                    <a:pt x="3" y="291"/>
                  </a:lnTo>
                  <a:lnTo>
                    <a:pt x="7" y="291"/>
                  </a:lnTo>
                  <a:lnTo>
                    <a:pt x="7" y="295"/>
                  </a:lnTo>
                  <a:lnTo>
                    <a:pt x="7" y="299"/>
                  </a:lnTo>
                  <a:close/>
                  <a:moveTo>
                    <a:pt x="7" y="311"/>
                  </a:moveTo>
                  <a:lnTo>
                    <a:pt x="3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307"/>
                  </a:lnTo>
                  <a:lnTo>
                    <a:pt x="7" y="311"/>
                  </a:lnTo>
                  <a:close/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43" name="Freeform 107">
              <a:extLst>
                <a:ext uri="{FF2B5EF4-FFF2-40B4-BE49-F238E27FC236}">
                  <a16:creationId xmlns:a16="http://schemas.microsoft.com/office/drawing/2014/main" xmlns="" id="{1BA11C59-3C9B-47C8-ACF0-EE352DB8B43E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gray">
            <a:xfrm>
              <a:off x="4694920" y="2982381"/>
              <a:ext cx="225426" cy="195764"/>
            </a:xfrm>
            <a:custGeom>
              <a:avLst/>
              <a:gdLst/>
              <a:ahLst/>
              <a:cxnLst>
                <a:cxn ang="0">
                  <a:pos x="128" y="128"/>
                </a:cxn>
                <a:cxn ang="0">
                  <a:pos x="124" y="132"/>
                </a:cxn>
                <a:cxn ang="0">
                  <a:pos x="112" y="124"/>
                </a:cxn>
                <a:cxn ang="0">
                  <a:pos x="104" y="128"/>
                </a:cxn>
                <a:cxn ang="0">
                  <a:pos x="96" y="124"/>
                </a:cxn>
                <a:cxn ang="0">
                  <a:pos x="84" y="128"/>
                </a:cxn>
                <a:cxn ang="0">
                  <a:pos x="80" y="120"/>
                </a:cxn>
                <a:cxn ang="0">
                  <a:pos x="72" y="124"/>
                </a:cxn>
                <a:cxn ang="0">
                  <a:pos x="68" y="116"/>
                </a:cxn>
                <a:cxn ang="0">
                  <a:pos x="60" y="112"/>
                </a:cxn>
                <a:cxn ang="0">
                  <a:pos x="52" y="108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40" y="108"/>
                </a:cxn>
                <a:cxn ang="0">
                  <a:pos x="32" y="104"/>
                </a:cxn>
                <a:cxn ang="0">
                  <a:pos x="28" y="96"/>
                </a:cxn>
                <a:cxn ang="0">
                  <a:pos x="16" y="92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8" y="76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0" y="48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16" y="16"/>
                </a:cxn>
                <a:cxn ang="0">
                  <a:pos x="28" y="16"/>
                </a:cxn>
                <a:cxn ang="0">
                  <a:pos x="36" y="8"/>
                </a:cxn>
                <a:cxn ang="0">
                  <a:pos x="48" y="4"/>
                </a:cxn>
                <a:cxn ang="0">
                  <a:pos x="56" y="0"/>
                </a:cxn>
                <a:cxn ang="0">
                  <a:pos x="68" y="4"/>
                </a:cxn>
                <a:cxn ang="0">
                  <a:pos x="64" y="4"/>
                </a:cxn>
                <a:cxn ang="0">
                  <a:pos x="72" y="12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4" y="12"/>
                </a:cxn>
                <a:cxn ang="0">
                  <a:pos x="96" y="12"/>
                </a:cxn>
                <a:cxn ang="0">
                  <a:pos x="108" y="12"/>
                </a:cxn>
                <a:cxn ang="0">
                  <a:pos x="120" y="12"/>
                </a:cxn>
                <a:cxn ang="0">
                  <a:pos x="132" y="12"/>
                </a:cxn>
                <a:cxn ang="0">
                  <a:pos x="140" y="20"/>
                </a:cxn>
                <a:cxn ang="0">
                  <a:pos x="144" y="28"/>
                </a:cxn>
                <a:cxn ang="0">
                  <a:pos x="148" y="40"/>
                </a:cxn>
                <a:cxn ang="0">
                  <a:pos x="148" y="52"/>
                </a:cxn>
                <a:cxn ang="0">
                  <a:pos x="140" y="56"/>
                </a:cxn>
                <a:cxn ang="0">
                  <a:pos x="140" y="60"/>
                </a:cxn>
                <a:cxn ang="0">
                  <a:pos x="140" y="72"/>
                </a:cxn>
                <a:cxn ang="0">
                  <a:pos x="144" y="80"/>
                </a:cxn>
                <a:cxn ang="0">
                  <a:pos x="148" y="92"/>
                </a:cxn>
                <a:cxn ang="0">
                  <a:pos x="148" y="96"/>
                </a:cxn>
                <a:cxn ang="0">
                  <a:pos x="144" y="100"/>
                </a:cxn>
                <a:cxn ang="0">
                  <a:pos x="140" y="108"/>
                </a:cxn>
                <a:cxn ang="0">
                  <a:pos x="128" y="120"/>
                </a:cxn>
              </a:cxnLst>
              <a:rect l="0" t="0" r="r" b="b"/>
              <a:pathLst>
                <a:path w="152" h="132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32" y="132"/>
                  </a:lnTo>
                  <a:lnTo>
                    <a:pt x="128" y="132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0" y="128"/>
                  </a:lnTo>
                  <a:lnTo>
                    <a:pt x="100" y="124"/>
                  </a:lnTo>
                  <a:lnTo>
                    <a:pt x="96" y="124"/>
                  </a:lnTo>
                  <a:lnTo>
                    <a:pt x="92" y="124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8"/>
                  </a:lnTo>
                  <a:lnTo>
                    <a:pt x="40" y="104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8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36"/>
                  </a:lnTo>
                  <a:lnTo>
                    <a:pt x="148" y="40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0" y="52"/>
                  </a:lnTo>
                  <a:lnTo>
                    <a:pt x="140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4"/>
                  </a:lnTo>
                  <a:lnTo>
                    <a:pt x="144" y="68"/>
                  </a:lnTo>
                  <a:lnTo>
                    <a:pt x="140" y="72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4"/>
                  </a:lnTo>
                  <a:lnTo>
                    <a:pt x="148" y="88"/>
                  </a:lnTo>
                  <a:lnTo>
                    <a:pt x="148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8" y="96"/>
                  </a:lnTo>
                  <a:lnTo>
                    <a:pt x="152" y="100"/>
                  </a:lnTo>
                  <a:lnTo>
                    <a:pt x="148" y="100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0" y="104"/>
                  </a:lnTo>
                  <a:lnTo>
                    <a:pt x="140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44" name="Freeform 108">
              <a:extLst>
                <a:ext uri="{FF2B5EF4-FFF2-40B4-BE49-F238E27FC236}">
                  <a16:creationId xmlns:a16="http://schemas.microsoft.com/office/drawing/2014/main" xmlns="" id="{913A1536-0DF4-4E39-8CFD-037BA4F5A878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gray">
            <a:xfrm>
              <a:off x="4831362" y="3201875"/>
              <a:ext cx="212078" cy="148306"/>
            </a:xfrm>
            <a:custGeom>
              <a:avLst/>
              <a:gdLst/>
              <a:ahLst/>
              <a:cxnLst>
                <a:cxn ang="0">
                  <a:pos x="60" y="100"/>
                </a:cxn>
                <a:cxn ang="0">
                  <a:pos x="48" y="96"/>
                </a:cxn>
                <a:cxn ang="0">
                  <a:pos x="44" y="9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36" y="88"/>
                </a:cxn>
                <a:cxn ang="0">
                  <a:pos x="36" y="84"/>
                </a:cxn>
                <a:cxn ang="0">
                  <a:pos x="36" y="80"/>
                </a:cxn>
                <a:cxn ang="0">
                  <a:pos x="28" y="80"/>
                </a:cxn>
                <a:cxn ang="0">
                  <a:pos x="24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6" y="68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4" y="24"/>
                </a:cxn>
                <a:cxn ang="0">
                  <a:pos x="28" y="20"/>
                </a:cxn>
                <a:cxn ang="0">
                  <a:pos x="28" y="16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6" y="8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72" y="12"/>
                </a:cxn>
                <a:cxn ang="0">
                  <a:pos x="76" y="8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8" y="16"/>
                </a:cxn>
                <a:cxn ang="0">
                  <a:pos x="112" y="24"/>
                </a:cxn>
                <a:cxn ang="0">
                  <a:pos x="119" y="32"/>
                </a:cxn>
                <a:cxn ang="0">
                  <a:pos x="119" y="40"/>
                </a:cxn>
                <a:cxn ang="0">
                  <a:pos x="119" y="56"/>
                </a:cxn>
                <a:cxn ang="0">
                  <a:pos x="119" y="64"/>
                </a:cxn>
                <a:cxn ang="0">
                  <a:pos x="127" y="68"/>
                </a:cxn>
                <a:cxn ang="0">
                  <a:pos x="139" y="64"/>
                </a:cxn>
                <a:cxn ang="0">
                  <a:pos x="139" y="68"/>
                </a:cxn>
                <a:cxn ang="0">
                  <a:pos x="135" y="76"/>
                </a:cxn>
                <a:cxn ang="0">
                  <a:pos x="131" y="72"/>
                </a:cxn>
                <a:cxn ang="0">
                  <a:pos x="131" y="76"/>
                </a:cxn>
                <a:cxn ang="0">
                  <a:pos x="131" y="80"/>
                </a:cxn>
                <a:cxn ang="0">
                  <a:pos x="131" y="80"/>
                </a:cxn>
                <a:cxn ang="0">
                  <a:pos x="131" y="84"/>
                </a:cxn>
                <a:cxn ang="0">
                  <a:pos x="127" y="92"/>
                </a:cxn>
                <a:cxn ang="0">
                  <a:pos x="123" y="100"/>
                </a:cxn>
                <a:cxn ang="0">
                  <a:pos x="116" y="96"/>
                </a:cxn>
                <a:cxn ang="0">
                  <a:pos x="112" y="92"/>
                </a:cxn>
                <a:cxn ang="0">
                  <a:pos x="104" y="92"/>
                </a:cxn>
                <a:cxn ang="0">
                  <a:pos x="100" y="92"/>
                </a:cxn>
                <a:cxn ang="0">
                  <a:pos x="92" y="92"/>
                </a:cxn>
                <a:cxn ang="0">
                  <a:pos x="84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0" y="100"/>
                </a:cxn>
              </a:cxnLst>
              <a:rect l="0" t="0" r="r" b="b"/>
              <a:pathLst>
                <a:path w="143" h="100">
                  <a:moveTo>
                    <a:pt x="60" y="100"/>
                  </a:move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9" y="28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7" y="64"/>
                  </a:lnTo>
                  <a:lnTo>
                    <a:pt x="131" y="64"/>
                  </a:lnTo>
                  <a:lnTo>
                    <a:pt x="135" y="64"/>
                  </a:lnTo>
                  <a:lnTo>
                    <a:pt x="135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45" name="Freeform 109">
              <a:extLst>
                <a:ext uri="{FF2B5EF4-FFF2-40B4-BE49-F238E27FC236}">
                  <a16:creationId xmlns:a16="http://schemas.microsoft.com/office/drawing/2014/main" xmlns="" id="{696D3197-3A02-40BC-8D8F-D78B22080EA7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gray">
            <a:xfrm>
              <a:off x="4789836" y="3273062"/>
              <a:ext cx="100848" cy="13495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68"/>
                </a:cxn>
                <a:cxn ang="0">
                  <a:pos x="4" y="64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6" y="48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44" y="28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56" y="36"/>
                </a:cxn>
                <a:cxn ang="0">
                  <a:pos x="60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44"/>
                </a:cxn>
                <a:cxn ang="0">
                  <a:pos x="64" y="56"/>
                </a:cxn>
                <a:cxn ang="0">
                  <a:pos x="68" y="60"/>
                </a:cxn>
                <a:cxn ang="0">
                  <a:pos x="64" y="68"/>
                </a:cxn>
                <a:cxn ang="0">
                  <a:pos x="60" y="76"/>
                </a:cxn>
                <a:cxn ang="0">
                  <a:pos x="60" y="79"/>
                </a:cxn>
                <a:cxn ang="0">
                  <a:pos x="56" y="79"/>
                </a:cxn>
                <a:cxn ang="0">
                  <a:pos x="48" y="83"/>
                </a:cxn>
                <a:cxn ang="0">
                  <a:pos x="44" y="83"/>
                </a:cxn>
                <a:cxn ang="0">
                  <a:pos x="36" y="87"/>
                </a:cxn>
                <a:cxn ang="0">
                  <a:pos x="32" y="91"/>
                </a:cxn>
                <a:cxn ang="0">
                  <a:pos x="32" y="83"/>
                </a:cxn>
                <a:cxn ang="0">
                  <a:pos x="28" y="79"/>
                </a:cxn>
                <a:cxn ang="0">
                  <a:pos x="20" y="79"/>
                </a:cxn>
                <a:cxn ang="0">
                  <a:pos x="20" y="76"/>
                </a:cxn>
                <a:cxn ang="0">
                  <a:pos x="12" y="83"/>
                </a:cxn>
                <a:cxn ang="0">
                  <a:pos x="12" y="87"/>
                </a:cxn>
                <a:cxn ang="0">
                  <a:pos x="12" y="87"/>
                </a:cxn>
                <a:cxn ang="0">
                  <a:pos x="8" y="83"/>
                </a:cxn>
                <a:cxn ang="0">
                  <a:pos x="4" y="79"/>
                </a:cxn>
                <a:cxn ang="0">
                  <a:pos x="4" y="79"/>
                </a:cxn>
                <a:cxn ang="0">
                  <a:pos x="0" y="76"/>
                </a:cxn>
              </a:cxnLst>
              <a:rect l="0" t="0" r="r" b="b"/>
              <a:pathLst>
                <a:path w="68" h="91"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36" y="83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9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9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79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46" name="Freeform 110">
              <a:extLst>
                <a:ext uri="{FF2B5EF4-FFF2-40B4-BE49-F238E27FC236}">
                  <a16:creationId xmlns:a16="http://schemas.microsoft.com/office/drawing/2014/main" xmlns="" id="{F492D2CA-67D4-4A34-BE88-B73E3DA43CAF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gray">
            <a:xfrm>
              <a:off x="4754242" y="3160349"/>
              <a:ext cx="130510" cy="59323"/>
            </a:xfrm>
            <a:custGeom>
              <a:avLst/>
              <a:gdLst/>
              <a:ahLst/>
              <a:cxnLst>
                <a:cxn ang="0">
                  <a:pos x="32" y="32"/>
                </a:cxn>
                <a:cxn ang="0">
                  <a:pos x="28" y="36"/>
                </a:cxn>
                <a:cxn ang="0">
                  <a:pos x="32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8" y="36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4" y="8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6" y="4"/>
                </a:cxn>
                <a:cxn ang="0">
                  <a:pos x="80" y="8"/>
                </a:cxn>
                <a:cxn ang="0">
                  <a:pos x="88" y="12"/>
                </a:cxn>
                <a:cxn ang="0">
                  <a:pos x="84" y="16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76" y="28"/>
                </a:cxn>
                <a:cxn ang="0">
                  <a:pos x="72" y="28"/>
                </a:cxn>
                <a:cxn ang="0">
                  <a:pos x="68" y="24"/>
                </a:cxn>
                <a:cxn ang="0">
                  <a:pos x="64" y="24"/>
                </a:cxn>
                <a:cxn ang="0">
                  <a:pos x="60" y="24"/>
                </a:cxn>
                <a:cxn ang="0">
                  <a:pos x="56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32" y="32"/>
                </a:cxn>
              </a:cxnLst>
              <a:rect l="0" t="0" r="r" b="b"/>
              <a:pathLst>
                <a:path w="88" h="40">
                  <a:moveTo>
                    <a:pt x="32" y="32"/>
                  </a:move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47" name="Freeform 111">
              <a:extLst>
                <a:ext uri="{FF2B5EF4-FFF2-40B4-BE49-F238E27FC236}">
                  <a16:creationId xmlns:a16="http://schemas.microsoft.com/office/drawing/2014/main" xmlns="" id="{7707D6F6-F40A-4176-90D2-8FDDB2805277}"/>
                </a:ext>
              </a:extLst>
            </p:cNvPr>
            <p:cNvSpPr>
              <a:spLocks/>
            </p:cNvSpPr>
            <p:nvPr>
              <p:custDataLst>
                <p:tags r:id="rId111"/>
              </p:custDataLst>
            </p:nvPr>
          </p:nvSpPr>
          <p:spPr bwMode="gray">
            <a:xfrm>
              <a:off x="4677123" y="3249333"/>
              <a:ext cx="71187" cy="47458"/>
            </a:xfrm>
            <a:custGeom>
              <a:avLst/>
              <a:gdLst/>
              <a:ahLst/>
              <a:cxnLst>
                <a:cxn ang="0">
                  <a:pos x="28" y="28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6" y="28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28" y="28"/>
                </a:cxn>
              </a:cxnLst>
              <a:rect l="0" t="0" r="r" b="b"/>
              <a:pathLst>
                <a:path w="48" h="32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48" name="Freeform 112">
              <a:extLst>
                <a:ext uri="{FF2B5EF4-FFF2-40B4-BE49-F238E27FC236}">
                  <a16:creationId xmlns:a16="http://schemas.microsoft.com/office/drawing/2014/main" xmlns="" id="{59C912FB-E082-4D1C-9765-A7CFA62A717B}"/>
                </a:ext>
              </a:extLst>
            </p:cNvPr>
            <p:cNvSpPr>
              <a:spLocks noEditPoints="1"/>
            </p:cNvSpPr>
            <p:nvPr>
              <p:custDataLst>
                <p:tags r:id="rId112"/>
              </p:custDataLst>
            </p:nvPr>
          </p:nvSpPr>
          <p:spPr bwMode="gray">
            <a:xfrm>
              <a:off x="4611868" y="1953135"/>
              <a:ext cx="520555" cy="283265"/>
            </a:xfrm>
            <a:custGeom>
              <a:avLst/>
              <a:gdLst/>
              <a:ahLst/>
              <a:cxnLst>
                <a:cxn ang="0">
                  <a:pos x="144" y="8"/>
                </a:cxn>
                <a:cxn ang="0">
                  <a:pos x="124" y="12"/>
                </a:cxn>
                <a:cxn ang="0">
                  <a:pos x="343" y="16"/>
                </a:cxn>
                <a:cxn ang="0">
                  <a:pos x="267" y="20"/>
                </a:cxn>
                <a:cxn ang="0">
                  <a:pos x="8" y="36"/>
                </a:cxn>
                <a:cxn ang="0">
                  <a:pos x="148" y="52"/>
                </a:cxn>
                <a:cxn ang="0">
                  <a:pos x="279" y="60"/>
                </a:cxn>
                <a:cxn ang="0">
                  <a:pos x="244" y="68"/>
                </a:cxn>
                <a:cxn ang="0">
                  <a:pos x="220" y="127"/>
                </a:cxn>
                <a:cxn ang="0">
                  <a:pos x="252" y="24"/>
                </a:cxn>
                <a:cxn ang="0">
                  <a:pos x="228" y="44"/>
                </a:cxn>
                <a:cxn ang="0">
                  <a:pos x="184" y="48"/>
                </a:cxn>
                <a:cxn ang="0">
                  <a:pos x="152" y="40"/>
                </a:cxn>
                <a:cxn ang="0">
                  <a:pos x="160" y="32"/>
                </a:cxn>
                <a:cxn ang="0">
                  <a:pos x="164" y="28"/>
                </a:cxn>
                <a:cxn ang="0">
                  <a:pos x="124" y="24"/>
                </a:cxn>
                <a:cxn ang="0">
                  <a:pos x="132" y="20"/>
                </a:cxn>
                <a:cxn ang="0">
                  <a:pos x="136" y="12"/>
                </a:cxn>
                <a:cxn ang="0">
                  <a:pos x="172" y="16"/>
                </a:cxn>
                <a:cxn ang="0">
                  <a:pos x="184" y="12"/>
                </a:cxn>
                <a:cxn ang="0">
                  <a:pos x="192" y="20"/>
                </a:cxn>
                <a:cxn ang="0">
                  <a:pos x="216" y="12"/>
                </a:cxn>
                <a:cxn ang="0">
                  <a:pos x="252" y="24"/>
                </a:cxn>
                <a:cxn ang="0">
                  <a:pos x="80" y="99"/>
                </a:cxn>
                <a:cxn ang="0">
                  <a:pos x="72" y="95"/>
                </a:cxn>
                <a:cxn ang="0">
                  <a:pos x="88" y="92"/>
                </a:cxn>
                <a:cxn ang="0">
                  <a:pos x="48" y="92"/>
                </a:cxn>
                <a:cxn ang="0">
                  <a:pos x="72" y="80"/>
                </a:cxn>
                <a:cxn ang="0">
                  <a:pos x="96" y="72"/>
                </a:cxn>
                <a:cxn ang="0">
                  <a:pos x="84" y="68"/>
                </a:cxn>
                <a:cxn ang="0">
                  <a:pos x="64" y="68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16" y="56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24" y="36"/>
                </a:cxn>
                <a:cxn ang="0">
                  <a:pos x="52" y="28"/>
                </a:cxn>
                <a:cxn ang="0">
                  <a:pos x="40" y="36"/>
                </a:cxn>
                <a:cxn ang="0">
                  <a:pos x="56" y="36"/>
                </a:cxn>
                <a:cxn ang="0">
                  <a:pos x="84" y="56"/>
                </a:cxn>
                <a:cxn ang="0">
                  <a:pos x="80" y="32"/>
                </a:cxn>
                <a:cxn ang="0">
                  <a:pos x="100" y="28"/>
                </a:cxn>
                <a:cxn ang="0">
                  <a:pos x="120" y="36"/>
                </a:cxn>
                <a:cxn ang="0">
                  <a:pos x="152" y="56"/>
                </a:cxn>
                <a:cxn ang="0">
                  <a:pos x="152" y="68"/>
                </a:cxn>
                <a:cxn ang="0">
                  <a:pos x="128" y="84"/>
                </a:cxn>
                <a:cxn ang="0">
                  <a:pos x="104" y="115"/>
                </a:cxn>
                <a:cxn ang="0">
                  <a:pos x="84" y="123"/>
                </a:cxn>
                <a:cxn ang="0">
                  <a:pos x="80" y="115"/>
                </a:cxn>
                <a:cxn ang="0">
                  <a:pos x="12" y="72"/>
                </a:cxn>
                <a:cxn ang="0">
                  <a:pos x="16" y="72"/>
                </a:cxn>
                <a:cxn ang="0">
                  <a:pos x="176" y="68"/>
                </a:cxn>
                <a:cxn ang="0">
                  <a:pos x="156" y="80"/>
                </a:cxn>
                <a:cxn ang="0">
                  <a:pos x="172" y="99"/>
                </a:cxn>
                <a:cxn ang="0">
                  <a:pos x="164" y="88"/>
                </a:cxn>
                <a:cxn ang="0">
                  <a:pos x="196" y="80"/>
                </a:cxn>
                <a:cxn ang="0">
                  <a:pos x="212" y="92"/>
                </a:cxn>
                <a:cxn ang="0">
                  <a:pos x="188" y="107"/>
                </a:cxn>
              </a:cxnLst>
              <a:rect l="0" t="0" r="r" b="b"/>
              <a:pathLst>
                <a:path w="351" h="191">
                  <a:moveTo>
                    <a:pt x="156" y="4"/>
                  </a:moveTo>
                  <a:lnTo>
                    <a:pt x="156" y="0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0" y="4"/>
                  </a:lnTo>
                  <a:lnTo>
                    <a:pt x="156" y="4"/>
                  </a:lnTo>
                  <a:close/>
                  <a:moveTo>
                    <a:pt x="160" y="4"/>
                  </a:moveTo>
                  <a:lnTo>
                    <a:pt x="164" y="0"/>
                  </a:lnTo>
                  <a:lnTo>
                    <a:pt x="164" y="4"/>
                  </a:lnTo>
                  <a:lnTo>
                    <a:pt x="160" y="4"/>
                  </a:lnTo>
                  <a:close/>
                  <a:moveTo>
                    <a:pt x="144" y="8"/>
                  </a:moveTo>
                  <a:lnTo>
                    <a:pt x="140" y="8"/>
                  </a:lnTo>
                  <a:lnTo>
                    <a:pt x="144" y="8"/>
                  </a:lnTo>
                  <a:close/>
                  <a:moveTo>
                    <a:pt x="208" y="12"/>
                  </a:move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08" y="12"/>
                  </a:lnTo>
                  <a:close/>
                  <a:moveTo>
                    <a:pt x="120" y="16"/>
                  </a:move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4" y="16"/>
                  </a:lnTo>
                  <a:lnTo>
                    <a:pt x="120" y="16"/>
                  </a:lnTo>
                  <a:close/>
                  <a:moveTo>
                    <a:pt x="319" y="20"/>
                  </a:moveTo>
                  <a:lnTo>
                    <a:pt x="315" y="20"/>
                  </a:lnTo>
                  <a:lnTo>
                    <a:pt x="319" y="20"/>
                  </a:lnTo>
                  <a:lnTo>
                    <a:pt x="323" y="20"/>
                  </a:lnTo>
                  <a:lnTo>
                    <a:pt x="327" y="20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16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47" y="16"/>
                  </a:lnTo>
                  <a:lnTo>
                    <a:pt x="347" y="20"/>
                  </a:lnTo>
                  <a:lnTo>
                    <a:pt x="343" y="20"/>
                  </a:lnTo>
                  <a:lnTo>
                    <a:pt x="339" y="20"/>
                  </a:lnTo>
                  <a:lnTo>
                    <a:pt x="335" y="20"/>
                  </a:lnTo>
                  <a:lnTo>
                    <a:pt x="331" y="20"/>
                  </a:lnTo>
                  <a:lnTo>
                    <a:pt x="327" y="20"/>
                  </a:lnTo>
                  <a:lnTo>
                    <a:pt x="319" y="20"/>
                  </a:lnTo>
                  <a:close/>
                  <a:moveTo>
                    <a:pt x="264" y="20"/>
                  </a:moveTo>
                  <a:lnTo>
                    <a:pt x="267" y="20"/>
                  </a:lnTo>
                  <a:lnTo>
                    <a:pt x="264" y="20"/>
                  </a:lnTo>
                  <a:lnTo>
                    <a:pt x="260" y="20"/>
                  </a:lnTo>
                  <a:lnTo>
                    <a:pt x="264" y="20"/>
                  </a:lnTo>
                  <a:close/>
                  <a:moveTo>
                    <a:pt x="8" y="32"/>
                  </a:move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close/>
                  <a:moveTo>
                    <a:pt x="4" y="36"/>
                  </a:move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close/>
                  <a:moveTo>
                    <a:pt x="144" y="44"/>
                  </a:moveTo>
                  <a:lnTo>
                    <a:pt x="140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4" y="44"/>
                  </a:lnTo>
                  <a:close/>
                  <a:moveTo>
                    <a:pt x="148" y="56"/>
                  </a:moveTo>
                  <a:lnTo>
                    <a:pt x="144" y="56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2" y="56"/>
                  </a:lnTo>
                  <a:lnTo>
                    <a:pt x="148" y="56"/>
                  </a:lnTo>
                  <a:close/>
                  <a:moveTo>
                    <a:pt x="267" y="60"/>
                  </a:moveTo>
                  <a:lnTo>
                    <a:pt x="264" y="60"/>
                  </a:lnTo>
                  <a:lnTo>
                    <a:pt x="267" y="56"/>
                  </a:lnTo>
                  <a:lnTo>
                    <a:pt x="271" y="56"/>
                  </a:lnTo>
                  <a:lnTo>
                    <a:pt x="275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0"/>
                  </a:lnTo>
                  <a:lnTo>
                    <a:pt x="287" y="60"/>
                  </a:lnTo>
                  <a:lnTo>
                    <a:pt x="287" y="56"/>
                  </a:lnTo>
                  <a:lnTo>
                    <a:pt x="291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3" y="60"/>
                  </a:lnTo>
                  <a:lnTo>
                    <a:pt x="279" y="60"/>
                  </a:lnTo>
                  <a:lnTo>
                    <a:pt x="275" y="60"/>
                  </a:lnTo>
                  <a:lnTo>
                    <a:pt x="271" y="60"/>
                  </a:lnTo>
                  <a:lnTo>
                    <a:pt x="267" y="60"/>
                  </a:lnTo>
                  <a:close/>
                  <a:moveTo>
                    <a:pt x="244" y="68"/>
                  </a:moveTo>
                  <a:lnTo>
                    <a:pt x="244" y="64"/>
                  </a:lnTo>
                  <a:lnTo>
                    <a:pt x="240" y="64"/>
                  </a:lnTo>
                  <a:lnTo>
                    <a:pt x="240" y="60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8" y="64"/>
                  </a:lnTo>
                  <a:lnTo>
                    <a:pt x="252" y="64"/>
                  </a:lnTo>
                  <a:lnTo>
                    <a:pt x="248" y="64"/>
                  </a:lnTo>
                  <a:lnTo>
                    <a:pt x="248" y="68"/>
                  </a:lnTo>
                  <a:lnTo>
                    <a:pt x="244" y="68"/>
                  </a:lnTo>
                  <a:close/>
                  <a:moveTo>
                    <a:pt x="220" y="131"/>
                  </a:moveTo>
                  <a:lnTo>
                    <a:pt x="220" y="127"/>
                  </a:lnTo>
                  <a:lnTo>
                    <a:pt x="224" y="127"/>
                  </a:lnTo>
                  <a:lnTo>
                    <a:pt x="224" y="123"/>
                  </a:lnTo>
                  <a:lnTo>
                    <a:pt x="228" y="123"/>
                  </a:lnTo>
                  <a:lnTo>
                    <a:pt x="224" y="127"/>
                  </a:lnTo>
                  <a:lnTo>
                    <a:pt x="220" y="131"/>
                  </a:lnTo>
                  <a:close/>
                  <a:moveTo>
                    <a:pt x="128" y="191"/>
                  </a:move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close/>
                  <a:moveTo>
                    <a:pt x="252" y="24"/>
                  </a:moveTo>
                  <a:lnTo>
                    <a:pt x="252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0" y="32"/>
                  </a:lnTo>
                  <a:lnTo>
                    <a:pt x="236" y="36"/>
                  </a:lnTo>
                  <a:lnTo>
                    <a:pt x="232" y="36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2" y="40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24" y="44"/>
                  </a:lnTo>
                  <a:lnTo>
                    <a:pt x="220" y="44"/>
                  </a:lnTo>
                  <a:lnTo>
                    <a:pt x="216" y="44"/>
                  </a:lnTo>
                  <a:lnTo>
                    <a:pt x="212" y="44"/>
                  </a:lnTo>
                  <a:lnTo>
                    <a:pt x="208" y="44"/>
                  </a:lnTo>
                  <a:lnTo>
                    <a:pt x="208" y="48"/>
                  </a:lnTo>
                  <a:lnTo>
                    <a:pt x="204" y="48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88" y="48"/>
                  </a:lnTo>
                  <a:lnTo>
                    <a:pt x="184" y="48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80" y="44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44" y="40"/>
                  </a:lnTo>
                  <a:lnTo>
                    <a:pt x="140" y="40"/>
                  </a:lnTo>
                  <a:lnTo>
                    <a:pt x="140" y="36"/>
                  </a:lnTo>
                  <a:lnTo>
                    <a:pt x="144" y="36"/>
                  </a:lnTo>
                  <a:lnTo>
                    <a:pt x="148" y="36"/>
                  </a:lnTo>
                  <a:lnTo>
                    <a:pt x="152" y="36"/>
                  </a:lnTo>
                  <a:lnTo>
                    <a:pt x="156" y="36"/>
                  </a:lnTo>
                  <a:lnTo>
                    <a:pt x="160" y="36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60" y="32"/>
                  </a:lnTo>
                  <a:lnTo>
                    <a:pt x="164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2" y="28"/>
                  </a:lnTo>
                  <a:lnTo>
                    <a:pt x="168" y="28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4" y="32"/>
                  </a:lnTo>
                  <a:lnTo>
                    <a:pt x="136" y="32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20" y="32"/>
                  </a:lnTo>
                  <a:lnTo>
                    <a:pt x="116" y="28"/>
                  </a:lnTo>
                  <a:lnTo>
                    <a:pt x="120" y="24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20" y="20"/>
                  </a:lnTo>
                  <a:lnTo>
                    <a:pt x="116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32" y="16"/>
                  </a:lnTo>
                  <a:lnTo>
                    <a:pt x="128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2"/>
                  </a:lnTo>
                  <a:lnTo>
                    <a:pt x="144" y="12"/>
                  </a:lnTo>
                  <a:lnTo>
                    <a:pt x="140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2" y="20"/>
                  </a:lnTo>
                  <a:lnTo>
                    <a:pt x="168" y="20"/>
                  </a:lnTo>
                  <a:lnTo>
                    <a:pt x="172" y="20"/>
                  </a:lnTo>
                  <a:lnTo>
                    <a:pt x="176" y="20"/>
                  </a:lnTo>
                  <a:lnTo>
                    <a:pt x="176" y="24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80" y="16"/>
                  </a:lnTo>
                  <a:lnTo>
                    <a:pt x="184" y="16"/>
                  </a:lnTo>
                  <a:lnTo>
                    <a:pt x="180" y="16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4" y="16"/>
                  </a:lnTo>
                  <a:lnTo>
                    <a:pt x="188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6"/>
                  </a:lnTo>
                  <a:lnTo>
                    <a:pt x="188" y="16"/>
                  </a:lnTo>
                  <a:lnTo>
                    <a:pt x="188" y="20"/>
                  </a:lnTo>
                  <a:lnTo>
                    <a:pt x="192" y="20"/>
                  </a:lnTo>
                  <a:lnTo>
                    <a:pt x="196" y="16"/>
                  </a:lnTo>
                  <a:lnTo>
                    <a:pt x="196" y="20"/>
                  </a:lnTo>
                  <a:lnTo>
                    <a:pt x="200" y="20"/>
                  </a:lnTo>
                  <a:lnTo>
                    <a:pt x="200" y="16"/>
                  </a:lnTo>
                  <a:lnTo>
                    <a:pt x="204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6" y="16"/>
                  </a:lnTo>
                  <a:lnTo>
                    <a:pt x="216" y="12"/>
                  </a:lnTo>
                  <a:lnTo>
                    <a:pt x="216" y="16"/>
                  </a:lnTo>
                  <a:lnTo>
                    <a:pt x="220" y="16"/>
                  </a:lnTo>
                  <a:lnTo>
                    <a:pt x="224" y="16"/>
                  </a:lnTo>
                  <a:lnTo>
                    <a:pt x="228" y="16"/>
                  </a:lnTo>
                  <a:lnTo>
                    <a:pt x="232" y="16"/>
                  </a:lnTo>
                  <a:lnTo>
                    <a:pt x="232" y="20"/>
                  </a:lnTo>
                  <a:lnTo>
                    <a:pt x="236" y="20"/>
                  </a:lnTo>
                  <a:lnTo>
                    <a:pt x="240" y="20"/>
                  </a:lnTo>
                  <a:lnTo>
                    <a:pt x="244" y="20"/>
                  </a:lnTo>
                  <a:lnTo>
                    <a:pt x="248" y="20"/>
                  </a:lnTo>
                  <a:lnTo>
                    <a:pt x="252" y="20"/>
                  </a:lnTo>
                  <a:lnTo>
                    <a:pt x="252" y="24"/>
                  </a:lnTo>
                  <a:close/>
                  <a:moveTo>
                    <a:pt x="60" y="111"/>
                  </a:moveTo>
                  <a:lnTo>
                    <a:pt x="56" y="107"/>
                  </a:lnTo>
                  <a:lnTo>
                    <a:pt x="56" y="103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6" y="99"/>
                  </a:lnTo>
                  <a:lnTo>
                    <a:pt x="60" y="99"/>
                  </a:lnTo>
                  <a:lnTo>
                    <a:pt x="64" y="99"/>
                  </a:lnTo>
                  <a:lnTo>
                    <a:pt x="68" y="99"/>
                  </a:lnTo>
                  <a:lnTo>
                    <a:pt x="72" y="99"/>
                  </a:lnTo>
                  <a:lnTo>
                    <a:pt x="76" y="99"/>
                  </a:lnTo>
                  <a:lnTo>
                    <a:pt x="80" y="99"/>
                  </a:lnTo>
                  <a:lnTo>
                    <a:pt x="84" y="99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4" y="99"/>
                  </a:lnTo>
                  <a:lnTo>
                    <a:pt x="80" y="99"/>
                  </a:lnTo>
                  <a:lnTo>
                    <a:pt x="76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4" y="95"/>
                  </a:lnTo>
                  <a:lnTo>
                    <a:pt x="68" y="95"/>
                  </a:lnTo>
                  <a:lnTo>
                    <a:pt x="72" y="95"/>
                  </a:lnTo>
                  <a:lnTo>
                    <a:pt x="76" y="92"/>
                  </a:lnTo>
                  <a:lnTo>
                    <a:pt x="80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52" y="95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6" y="84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4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76" y="76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100" y="76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2" y="72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4" y="44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0"/>
                  </a:lnTo>
                  <a:lnTo>
                    <a:pt x="116" y="36"/>
                  </a:lnTo>
                  <a:lnTo>
                    <a:pt x="120" y="36"/>
                  </a:lnTo>
                  <a:lnTo>
                    <a:pt x="124" y="36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48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4" y="64"/>
                  </a:lnTo>
                  <a:lnTo>
                    <a:pt x="160" y="64"/>
                  </a:lnTo>
                  <a:lnTo>
                    <a:pt x="160" y="68"/>
                  </a:lnTo>
                  <a:lnTo>
                    <a:pt x="156" y="64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48" y="68"/>
                  </a:lnTo>
                  <a:lnTo>
                    <a:pt x="144" y="68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40" y="68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6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4" y="84"/>
                  </a:lnTo>
                  <a:lnTo>
                    <a:pt x="120" y="84"/>
                  </a:lnTo>
                  <a:lnTo>
                    <a:pt x="120" y="88"/>
                  </a:lnTo>
                  <a:lnTo>
                    <a:pt x="120" y="92"/>
                  </a:lnTo>
                  <a:lnTo>
                    <a:pt x="120" y="95"/>
                  </a:lnTo>
                  <a:lnTo>
                    <a:pt x="116" y="99"/>
                  </a:lnTo>
                  <a:lnTo>
                    <a:pt x="112" y="99"/>
                  </a:lnTo>
                  <a:lnTo>
                    <a:pt x="108" y="99"/>
                  </a:lnTo>
                  <a:lnTo>
                    <a:pt x="108" y="103"/>
                  </a:lnTo>
                  <a:lnTo>
                    <a:pt x="104" y="107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0" y="115"/>
                  </a:lnTo>
                  <a:lnTo>
                    <a:pt x="104" y="115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23"/>
                  </a:lnTo>
                  <a:lnTo>
                    <a:pt x="100" y="123"/>
                  </a:lnTo>
                  <a:lnTo>
                    <a:pt x="100" y="127"/>
                  </a:lnTo>
                  <a:lnTo>
                    <a:pt x="96" y="127"/>
                  </a:lnTo>
                  <a:lnTo>
                    <a:pt x="92" y="127"/>
                  </a:lnTo>
                  <a:lnTo>
                    <a:pt x="88" y="127"/>
                  </a:lnTo>
                  <a:lnTo>
                    <a:pt x="88" y="123"/>
                  </a:lnTo>
                  <a:lnTo>
                    <a:pt x="84" y="123"/>
                  </a:lnTo>
                  <a:lnTo>
                    <a:pt x="80" y="123"/>
                  </a:lnTo>
                  <a:lnTo>
                    <a:pt x="80" y="119"/>
                  </a:lnTo>
                  <a:lnTo>
                    <a:pt x="76" y="119"/>
                  </a:lnTo>
                  <a:lnTo>
                    <a:pt x="80" y="119"/>
                  </a:lnTo>
                  <a:lnTo>
                    <a:pt x="80" y="115"/>
                  </a:lnTo>
                  <a:lnTo>
                    <a:pt x="84" y="115"/>
                  </a:lnTo>
                  <a:lnTo>
                    <a:pt x="88" y="115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5"/>
                  </a:lnTo>
                  <a:lnTo>
                    <a:pt x="84" y="111"/>
                  </a:lnTo>
                  <a:lnTo>
                    <a:pt x="80" y="115"/>
                  </a:lnTo>
                  <a:lnTo>
                    <a:pt x="76" y="115"/>
                  </a:lnTo>
                  <a:lnTo>
                    <a:pt x="72" y="115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64" y="111"/>
                  </a:lnTo>
                  <a:lnTo>
                    <a:pt x="60" y="111"/>
                  </a:lnTo>
                  <a:close/>
                  <a:moveTo>
                    <a:pt x="24" y="80"/>
                  </a:move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76"/>
                  </a:lnTo>
                  <a:lnTo>
                    <a:pt x="24" y="80"/>
                  </a:lnTo>
                  <a:close/>
                  <a:moveTo>
                    <a:pt x="144" y="72"/>
                  </a:moveTo>
                  <a:lnTo>
                    <a:pt x="148" y="72"/>
                  </a:lnTo>
                  <a:lnTo>
                    <a:pt x="152" y="68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68"/>
                  </a:lnTo>
                  <a:lnTo>
                    <a:pt x="176" y="68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76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2" y="76"/>
                  </a:lnTo>
                  <a:lnTo>
                    <a:pt x="168" y="80"/>
                  </a:lnTo>
                  <a:lnTo>
                    <a:pt x="164" y="80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2" y="80"/>
                  </a:lnTo>
                  <a:lnTo>
                    <a:pt x="156" y="80"/>
                  </a:lnTo>
                  <a:lnTo>
                    <a:pt x="156" y="76"/>
                  </a:lnTo>
                  <a:lnTo>
                    <a:pt x="152" y="76"/>
                  </a:lnTo>
                  <a:lnTo>
                    <a:pt x="152" y="72"/>
                  </a:lnTo>
                  <a:lnTo>
                    <a:pt x="148" y="72"/>
                  </a:lnTo>
                  <a:lnTo>
                    <a:pt x="144" y="72"/>
                  </a:lnTo>
                  <a:close/>
                  <a:moveTo>
                    <a:pt x="184" y="107"/>
                  </a:moveTo>
                  <a:lnTo>
                    <a:pt x="180" y="107"/>
                  </a:lnTo>
                  <a:lnTo>
                    <a:pt x="180" y="103"/>
                  </a:lnTo>
                  <a:lnTo>
                    <a:pt x="184" y="99"/>
                  </a:lnTo>
                  <a:lnTo>
                    <a:pt x="180" y="99"/>
                  </a:lnTo>
                  <a:lnTo>
                    <a:pt x="176" y="99"/>
                  </a:lnTo>
                  <a:lnTo>
                    <a:pt x="172" y="99"/>
                  </a:lnTo>
                  <a:lnTo>
                    <a:pt x="168" y="99"/>
                  </a:lnTo>
                  <a:lnTo>
                    <a:pt x="164" y="99"/>
                  </a:lnTo>
                  <a:lnTo>
                    <a:pt x="164" y="103"/>
                  </a:lnTo>
                  <a:lnTo>
                    <a:pt x="160" y="103"/>
                  </a:lnTo>
                  <a:lnTo>
                    <a:pt x="156" y="103"/>
                  </a:lnTo>
                  <a:lnTo>
                    <a:pt x="156" y="99"/>
                  </a:lnTo>
                  <a:lnTo>
                    <a:pt x="160" y="99"/>
                  </a:lnTo>
                  <a:lnTo>
                    <a:pt x="160" y="95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8" y="88"/>
                  </a:lnTo>
                  <a:lnTo>
                    <a:pt x="164" y="88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0"/>
                  </a:lnTo>
                  <a:lnTo>
                    <a:pt x="160" y="80"/>
                  </a:lnTo>
                  <a:lnTo>
                    <a:pt x="164" y="80"/>
                  </a:lnTo>
                  <a:lnTo>
                    <a:pt x="168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196" y="84"/>
                  </a:lnTo>
                  <a:lnTo>
                    <a:pt x="192" y="84"/>
                  </a:lnTo>
                  <a:lnTo>
                    <a:pt x="188" y="84"/>
                  </a:lnTo>
                  <a:lnTo>
                    <a:pt x="192" y="84"/>
                  </a:lnTo>
                  <a:lnTo>
                    <a:pt x="192" y="88"/>
                  </a:lnTo>
                  <a:lnTo>
                    <a:pt x="196" y="88"/>
                  </a:lnTo>
                  <a:lnTo>
                    <a:pt x="200" y="88"/>
                  </a:lnTo>
                  <a:lnTo>
                    <a:pt x="200" y="92"/>
                  </a:lnTo>
                  <a:lnTo>
                    <a:pt x="204" y="92"/>
                  </a:lnTo>
                  <a:lnTo>
                    <a:pt x="204" y="88"/>
                  </a:lnTo>
                  <a:lnTo>
                    <a:pt x="208" y="88"/>
                  </a:lnTo>
                  <a:lnTo>
                    <a:pt x="212" y="92"/>
                  </a:lnTo>
                  <a:lnTo>
                    <a:pt x="216" y="92"/>
                  </a:lnTo>
                  <a:lnTo>
                    <a:pt x="220" y="92"/>
                  </a:lnTo>
                  <a:lnTo>
                    <a:pt x="216" y="92"/>
                  </a:lnTo>
                  <a:lnTo>
                    <a:pt x="212" y="95"/>
                  </a:lnTo>
                  <a:lnTo>
                    <a:pt x="208" y="95"/>
                  </a:lnTo>
                  <a:lnTo>
                    <a:pt x="204" y="95"/>
                  </a:lnTo>
                  <a:lnTo>
                    <a:pt x="204" y="99"/>
                  </a:lnTo>
                  <a:lnTo>
                    <a:pt x="200" y="103"/>
                  </a:lnTo>
                  <a:lnTo>
                    <a:pt x="196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107"/>
                  </a:lnTo>
                  <a:lnTo>
                    <a:pt x="184" y="10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49" name="Freeform 113">
              <a:extLst>
                <a:ext uri="{FF2B5EF4-FFF2-40B4-BE49-F238E27FC236}">
                  <a16:creationId xmlns:a16="http://schemas.microsoft.com/office/drawing/2014/main" xmlns="" id="{9B90F9B2-7A75-435F-B796-84B51C4014A2}"/>
                </a:ext>
              </a:extLst>
            </p:cNvPr>
            <p:cNvSpPr>
              <a:spLocks noEditPoints="1"/>
            </p:cNvSpPr>
            <p:nvPr>
              <p:custDataLst>
                <p:tags r:id="rId113"/>
              </p:custDataLst>
            </p:nvPr>
          </p:nvSpPr>
          <p:spPr bwMode="gray">
            <a:xfrm>
              <a:off x="4623733" y="2455893"/>
              <a:ext cx="296613" cy="508690"/>
            </a:xfrm>
            <a:custGeom>
              <a:avLst/>
              <a:gdLst/>
              <a:ahLst/>
              <a:cxnLst>
                <a:cxn ang="0">
                  <a:pos x="112" y="247"/>
                </a:cxn>
                <a:cxn ang="0">
                  <a:pos x="104" y="255"/>
                </a:cxn>
                <a:cxn ang="0">
                  <a:pos x="84" y="267"/>
                </a:cxn>
                <a:cxn ang="0">
                  <a:pos x="80" y="271"/>
                </a:cxn>
                <a:cxn ang="0">
                  <a:pos x="88" y="283"/>
                </a:cxn>
                <a:cxn ang="0">
                  <a:pos x="80" y="299"/>
                </a:cxn>
                <a:cxn ang="0">
                  <a:pos x="68" y="323"/>
                </a:cxn>
                <a:cxn ang="0">
                  <a:pos x="48" y="335"/>
                </a:cxn>
                <a:cxn ang="0">
                  <a:pos x="32" y="343"/>
                </a:cxn>
                <a:cxn ang="0">
                  <a:pos x="28" y="323"/>
                </a:cxn>
                <a:cxn ang="0">
                  <a:pos x="20" y="303"/>
                </a:cxn>
                <a:cxn ang="0">
                  <a:pos x="8" y="283"/>
                </a:cxn>
                <a:cxn ang="0">
                  <a:pos x="4" y="263"/>
                </a:cxn>
                <a:cxn ang="0">
                  <a:pos x="8" y="259"/>
                </a:cxn>
                <a:cxn ang="0">
                  <a:pos x="16" y="235"/>
                </a:cxn>
                <a:cxn ang="0">
                  <a:pos x="20" y="211"/>
                </a:cxn>
                <a:cxn ang="0">
                  <a:pos x="24" y="195"/>
                </a:cxn>
                <a:cxn ang="0">
                  <a:pos x="16" y="172"/>
                </a:cxn>
                <a:cxn ang="0">
                  <a:pos x="16" y="144"/>
                </a:cxn>
                <a:cxn ang="0">
                  <a:pos x="48" y="120"/>
                </a:cxn>
                <a:cxn ang="0">
                  <a:pos x="48" y="104"/>
                </a:cxn>
                <a:cxn ang="0">
                  <a:pos x="56" y="80"/>
                </a:cxn>
                <a:cxn ang="0">
                  <a:pos x="80" y="56"/>
                </a:cxn>
                <a:cxn ang="0">
                  <a:pos x="84" y="32"/>
                </a:cxn>
                <a:cxn ang="0">
                  <a:pos x="108" y="20"/>
                </a:cxn>
                <a:cxn ang="0">
                  <a:pos x="136" y="20"/>
                </a:cxn>
                <a:cxn ang="0">
                  <a:pos x="148" y="4"/>
                </a:cxn>
                <a:cxn ang="0">
                  <a:pos x="172" y="16"/>
                </a:cxn>
                <a:cxn ang="0">
                  <a:pos x="188" y="44"/>
                </a:cxn>
                <a:cxn ang="0">
                  <a:pos x="192" y="68"/>
                </a:cxn>
                <a:cxn ang="0">
                  <a:pos x="188" y="88"/>
                </a:cxn>
                <a:cxn ang="0">
                  <a:pos x="168" y="92"/>
                </a:cxn>
                <a:cxn ang="0">
                  <a:pos x="168" y="96"/>
                </a:cxn>
                <a:cxn ang="0">
                  <a:pos x="160" y="104"/>
                </a:cxn>
                <a:cxn ang="0">
                  <a:pos x="152" y="116"/>
                </a:cxn>
                <a:cxn ang="0">
                  <a:pos x="156" y="128"/>
                </a:cxn>
                <a:cxn ang="0">
                  <a:pos x="132" y="144"/>
                </a:cxn>
                <a:cxn ang="0">
                  <a:pos x="124" y="152"/>
                </a:cxn>
                <a:cxn ang="0">
                  <a:pos x="112" y="160"/>
                </a:cxn>
                <a:cxn ang="0">
                  <a:pos x="104" y="160"/>
                </a:cxn>
                <a:cxn ang="0">
                  <a:pos x="96" y="180"/>
                </a:cxn>
                <a:cxn ang="0">
                  <a:pos x="92" y="191"/>
                </a:cxn>
                <a:cxn ang="0">
                  <a:pos x="96" y="219"/>
                </a:cxn>
                <a:cxn ang="0">
                  <a:pos x="116" y="227"/>
                </a:cxn>
                <a:cxn ang="0">
                  <a:pos x="112" y="247"/>
                </a:cxn>
                <a:cxn ang="0">
                  <a:pos x="100" y="239"/>
                </a:cxn>
                <a:cxn ang="0">
                  <a:pos x="100" y="243"/>
                </a:cxn>
                <a:cxn ang="0">
                  <a:pos x="84" y="243"/>
                </a:cxn>
                <a:cxn ang="0">
                  <a:pos x="92" y="247"/>
                </a:cxn>
                <a:cxn ang="0">
                  <a:pos x="100" y="176"/>
                </a:cxn>
                <a:cxn ang="0">
                  <a:pos x="100" y="251"/>
                </a:cxn>
                <a:cxn ang="0">
                  <a:pos x="112" y="227"/>
                </a:cxn>
                <a:cxn ang="0">
                  <a:pos x="8" y="279"/>
                </a:cxn>
                <a:cxn ang="0">
                  <a:pos x="116" y="295"/>
                </a:cxn>
                <a:cxn ang="0">
                  <a:pos x="108" y="291"/>
                </a:cxn>
                <a:cxn ang="0">
                  <a:pos x="84" y="307"/>
                </a:cxn>
                <a:cxn ang="0">
                  <a:pos x="88" y="307"/>
                </a:cxn>
              </a:cxnLst>
              <a:rect l="0" t="0" r="r" b="b"/>
              <a:pathLst>
                <a:path w="200" h="343">
                  <a:moveTo>
                    <a:pt x="96" y="251"/>
                  </a:moveTo>
                  <a:lnTo>
                    <a:pt x="100" y="251"/>
                  </a:lnTo>
                  <a:lnTo>
                    <a:pt x="104" y="251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8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12" y="251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16" y="251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8" y="255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0" y="267"/>
                  </a:lnTo>
                  <a:lnTo>
                    <a:pt x="76" y="267"/>
                  </a:lnTo>
                  <a:lnTo>
                    <a:pt x="80" y="267"/>
                  </a:lnTo>
                  <a:lnTo>
                    <a:pt x="84" y="267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0" y="271"/>
                  </a:lnTo>
                  <a:lnTo>
                    <a:pt x="84" y="271"/>
                  </a:lnTo>
                  <a:lnTo>
                    <a:pt x="88" y="271"/>
                  </a:lnTo>
                  <a:lnTo>
                    <a:pt x="88" y="275"/>
                  </a:lnTo>
                  <a:lnTo>
                    <a:pt x="88" y="279"/>
                  </a:lnTo>
                  <a:lnTo>
                    <a:pt x="84" y="279"/>
                  </a:lnTo>
                  <a:lnTo>
                    <a:pt x="88" y="279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4" y="283"/>
                  </a:lnTo>
                  <a:lnTo>
                    <a:pt x="84" y="287"/>
                  </a:lnTo>
                  <a:lnTo>
                    <a:pt x="80" y="283"/>
                  </a:lnTo>
                  <a:lnTo>
                    <a:pt x="84" y="287"/>
                  </a:lnTo>
                  <a:lnTo>
                    <a:pt x="84" y="291"/>
                  </a:lnTo>
                  <a:lnTo>
                    <a:pt x="84" y="295"/>
                  </a:lnTo>
                  <a:lnTo>
                    <a:pt x="84" y="299"/>
                  </a:lnTo>
                  <a:lnTo>
                    <a:pt x="80" y="299"/>
                  </a:lnTo>
                  <a:lnTo>
                    <a:pt x="84" y="303"/>
                  </a:lnTo>
                  <a:lnTo>
                    <a:pt x="80" y="307"/>
                  </a:lnTo>
                  <a:lnTo>
                    <a:pt x="80" y="311"/>
                  </a:lnTo>
                  <a:lnTo>
                    <a:pt x="80" y="315"/>
                  </a:lnTo>
                  <a:lnTo>
                    <a:pt x="76" y="319"/>
                  </a:lnTo>
                  <a:lnTo>
                    <a:pt x="76" y="323"/>
                  </a:lnTo>
                  <a:lnTo>
                    <a:pt x="72" y="327"/>
                  </a:lnTo>
                  <a:lnTo>
                    <a:pt x="68" y="323"/>
                  </a:lnTo>
                  <a:lnTo>
                    <a:pt x="64" y="327"/>
                  </a:lnTo>
                  <a:lnTo>
                    <a:pt x="60" y="323"/>
                  </a:lnTo>
                  <a:lnTo>
                    <a:pt x="56" y="323"/>
                  </a:lnTo>
                  <a:lnTo>
                    <a:pt x="56" y="327"/>
                  </a:lnTo>
                  <a:lnTo>
                    <a:pt x="52" y="327"/>
                  </a:lnTo>
                  <a:lnTo>
                    <a:pt x="52" y="331"/>
                  </a:lnTo>
                  <a:lnTo>
                    <a:pt x="48" y="331"/>
                  </a:lnTo>
                  <a:lnTo>
                    <a:pt x="48" y="335"/>
                  </a:lnTo>
                  <a:lnTo>
                    <a:pt x="48" y="339"/>
                  </a:lnTo>
                  <a:lnTo>
                    <a:pt x="52" y="339"/>
                  </a:lnTo>
                  <a:lnTo>
                    <a:pt x="48" y="339"/>
                  </a:lnTo>
                  <a:lnTo>
                    <a:pt x="48" y="343"/>
                  </a:lnTo>
                  <a:lnTo>
                    <a:pt x="44" y="343"/>
                  </a:lnTo>
                  <a:lnTo>
                    <a:pt x="40" y="343"/>
                  </a:lnTo>
                  <a:lnTo>
                    <a:pt x="36" y="343"/>
                  </a:lnTo>
                  <a:lnTo>
                    <a:pt x="32" y="343"/>
                  </a:lnTo>
                  <a:lnTo>
                    <a:pt x="28" y="343"/>
                  </a:lnTo>
                  <a:lnTo>
                    <a:pt x="28" y="339"/>
                  </a:lnTo>
                  <a:lnTo>
                    <a:pt x="32" y="335"/>
                  </a:lnTo>
                  <a:lnTo>
                    <a:pt x="28" y="331"/>
                  </a:lnTo>
                  <a:lnTo>
                    <a:pt x="24" y="327"/>
                  </a:lnTo>
                  <a:lnTo>
                    <a:pt x="20" y="323"/>
                  </a:lnTo>
                  <a:lnTo>
                    <a:pt x="24" y="323"/>
                  </a:lnTo>
                  <a:lnTo>
                    <a:pt x="28" y="323"/>
                  </a:lnTo>
                  <a:lnTo>
                    <a:pt x="24" y="319"/>
                  </a:lnTo>
                  <a:lnTo>
                    <a:pt x="28" y="319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1"/>
                  </a:lnTo>
                  <a:lnTo>
                    <a:pt x="24" y="307"/>
                  </a:lnTo>
                  <a:lnTo>
                    <a:pt x="20" y="307"/>
                  </a:lnTo>
                  <a:lnTo>
                    <a:pt x="20" y="303"/>
                  </a:lnTo>
                  <a:lnTo>
                    <a:pt x="16" y="303"/>
                  </a:lnTo>
                  <a:lnTo>
                    <a:pt x="16" y="299"/>
                  </a:lnTo>
                  <a:lnTo>
                    <a:pt x="16" y="295"/>
                  </a:lnTo>
                  <a:lnTo>
                    <a:pt x="12" y="295"/>
                  </a:lnTo>
                  <a:lnTo>
                    <a:pt x="12" y="291"/>
                  </a:lnTo>
                  <a:lnTo>
                    <a:pt x="12" y="287"/>
                  </a:lnTo>
                  <a:lnTo>
                    <a:pt x="8" y="287"/>
                  </a:lnTo>
                  <a:lnTo>
                    <a:pt x="8" y="283"/>
                  </a:lnTo>
                  <a:lnTo>
                    <a:pt x="12" y="283"/>
                  </a:lnTo>
                  <a:lnTo>
                    <a:pt x="12" y="279"/>
                  </a:lnTo>
                  <a:lnTo>
                    <a:pt x="12" y="275"/>
                  </a:lnTo>
                  <a:lnTo>
                    <a:pt x="8" y="275"/>
                  </a:lnTo>
                  <a:lnTo>
                    <a:pt x="4" y="275"/>
                  </a:lnTo>
                  <a:lnTo>
                    <a:pt x="4" y="271"/>
                  </a:lnTo>
                  <a:lnTo>
                    <a:pt x="4" y="267"/>
                  </a:lnTo>
                  <a:lnTo>
                    <a:pt x="4" y="263"/>
                  </a:lnTo>
                  <a:lnTo>
                    <a:pt x="0" y="263"/>
                  </a:lnTo>
                  <a:lnTo>
                    <a:pt x="4" y="263"/>
                  </a:lnTo>
                  <a:lnTo>
                    <a:pt x="4" y="259"/>
                  </a:lnTo>
                  <a:lnTo>
                    <a:pt x="0" y="259"/>
                  </a:lnTo>
                  <a:lnTo>
                    <a:pt x="0" y="255"/>
                  </a:lnTo>
                  <a:lnTo>
                    <a:pt x="4" y="255"/>
                  </a:lnTo>
                  <a:lnTo>
                    <a:pt x="4" y="259"/>
                  </a:lnTo>
                  <a:lnTo>
                    <a:pt x="8" y="259"/>
                  </a:lnTo>
                  <a:lnTo>
                    <a:pt x="12" y="255"/>
                  </a:lnTo>
                  <a:lnTo>
                    <a:pt x="12" y="251"/>
                  </a:lnTo>
                  <a:lnTo>
                    <a:pt x="12" y="247"/>
                  </a:lnTo>
                  <a:lnTo>
                    <a:pt x="8" y="243"/>
                  </a:lnTo>
                  <a:lnTo>
                    <a:pt x="12" y="243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6" y="235"/>
                  </a:lnTo>
                  <a:lnTo>
                    <a:pt x="20" y="235"/>
                  </a:lnTo>
                  <a:lnTo>
                    <a:pt x="20" y="231"/>
                  </a:lnTo>
                  <a:lnTo>
                    <a:pt x="20" y="227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0" y="219"/>
                  </a:lnTo>
                  <a:lnTo>
                    <a:pt x="20" y="215"/>
                  </a:lnTo>
                  <a:lnTo>
                    <a:pt x="20" y="211"/>
                  </a:lnTo>
                  <a:lnTo>
                    <a:pt x="16" y="207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4" y="199"/>
                  </a:lnTo>
                  <a:lnTo>
                    <a:pt x="24" y="195"/>
                  </a:lnTo>
                  <a:lnTo>
                    <a:pt x="20" y="195"/>
                  </a:lnTo>
                  <a:lnTo>
                    <a:pt x="16" y="191"/>
                  </a:lnTo>
                  <a:lnTo>
                    <a:pt x="16" y="188"/>
                  </a:lnTo>
                  <a:lnTo>
                    <a:pt x="16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6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2" y="152"/>
                  </a:lnTo>
                  <a:lnTo>
                    <a:pt x="16" y="152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0"/>
                  </a:lnTo>
                  <a:lnTo>
                    <a:pt x="24" y="136"/>
                  </a:lnTo>
                  <a:lnTo>
                    <a:pt x="28" y="132"/>
                  </a:lnTo>
                  <a:lnTo>
                    <a:pt x="32" y="132"/>
                  </a:lnTo>
                  <a:lnTo>
                    <a:pt x="44" y="132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8" y="76"/>
                  </a:lnTo>
                  <a:lnTo>
                    <a:pt x="64" y="72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64"/>
                  </a:lnTo>
                  <a:lnTo>
                    <a:pt x="76" y="60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28"/>
                  </a:lnTo>
                  <a:lnTo>
                    <a:pt x="108" y="24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40" y="16"/>
                  </a:lnTo>
                  <a:lnTo>
                    <a:pt x="136" y="16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0" y="4"/>
                  </a:lnTo>
                  <a:lnTo>
                    <a:pt x="136" y="0"/>
                  </a:lnTo>
                  <a:lnTo>
                    <a:pt x="144" y="0"/>
                  </a:lnTo>
                  <a:lnTo>
                    <a:pt x="148" y="4"/>
                  </a:lnTo>
                  <a:lnTo>
                    <a:pt x="152" y="8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6" y="20"/>
                  </a:lnTo>
                  <a:lnTo>
                    <a:pt x="180" y="20"/>
                  </a:lnTo>
                  <a:lnTo>
                    <a:pt x="188" y="28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8" y="36"/>
                  </a:lnTo>
                  <a:lnTo>
                    <a:pt x="188" y="40"/>
                  </a:lnTo>
                  <a:lnTo>
                    <a:pt x="188" y="44"/>
                  </a:lnTo>
                  <a:lnTo>
                    <a:pt x="192" y="44"/>
                  </a:lnTo>
                  <a:lnTo>
                    <a:pt x="192" y="48"/>
                  </a:lnTo>
                  <a:lnTo>
                    <a:pt x="188" y="52"/>
                  </a:lnTo>
                  <a:lnTo>
                    <a:pt x="192" y="56"/>
                  </a:lnTo>
                  <a:lnTo>
                    <a:pt x="196" y="60"/>
                  </a:lnTo>
                  <a:lnTo>
                    <a:pt x="196" y="64"/>
                  </a:lnTo>
                  <a:lnTo>
                    <a:pt x="196" y="68"/>
                  </a:lnTo>
                  <a:lnTo>
                    <a:pt x="192" y="68"/>
                  </a:lnTo>
                  <a:lnTo>
                    <a:pt x="192" y="72"/>
                  </a:lnTo>
                  <a:lnTo>
                    <a:pt x="192" y="76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8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92"/>
                  </a:lnTo>
                  <a:lnTo>
                    <a:pt x="180" y="88"/>
                  </a:lnTo>
                  <a:lnTo>
                    <a:pt x="176" y="88"/>
                  </a:lnTo>
                  <a:lnTo>
                    <a:pt x="176" y="84"/>
                  </a:lnTo>
                  <a:lnTo>
                    <a:pt x="176" y="88"/>
                  </a:lnTo>
                  <a:lnTo>
                    <a:pt x="172" y="88"/>
                  </a:lnTo>
                  <a:lnTo>
                    <a:pt x="168" y="92"/>
                  </a:lnTo>
                  <a:lnTo>
                    <a:pt x="172" y="92"/>
                  </a:lnTo>
                  <a:lnTo>
                    <a:pt x="172" y="96"/>
                  </a:lnTo>
                  <a:lnTo>
                    <a:pt x="168" y="92"/>
                  </a:lnTo>
                  <a:lnTo>
                    <a:pt x="164" y="92"/>
                  </a:lnTo>
                  <a:lnTo>
                    <a:pt x="164" y="88"/>
                  </a:lnTo>
                  <a:lnTo>
                    <a:pt x="164" y="92"/>
                  </a:lnTo>
                  <a:lnTo>
                    <a:pt x="168" y="92"/>
                  </a:lnTo>
                  <a:lnTo>
                    <a:pt x="168" y="96"/>
                  </a:lnTo>
                  <a:lnTo>
                    <a:pt x="164" y="96"/>
                  </a:lnTo>
                  <a:lnTo>
                    <a:pt x="168" y="96"/>
                  </a:lnTo>
                  <a:lnTo>
                    <a:pt x="164" y="100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0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8"/>
                  </a:lnTo>
                  <a:lnTo>
                    <a:pt x="156" y="108"/>
                  </a:lnTo>
                  <a:lnTo>
                    <a:pt x="152" y="112"/>
                  </a:lnTo>
                  <a:lnTo>
                    <a:pt x="152" y="116"/>
                  </a:lnTo>
                  <a:lnTo>
                    <a:pt x="156" y="112"/>
                  </a:lnTo>
                  <a:lnTo>
                    <a:pt x="156" y="116"/>
                  </a:lnTo>
                  <a:lnTo>
                    <a:pt x="152" y="116"/>
                  </a:lnTo>
                  <a:lnTo>
                    <a:pt x="156" y="120"/>
                  </a:lnTo>
                  <a:lnTo>
                    <a:pt x="160" y="120"/>
                  </a:lnTo>
                  <a:lnTo>
                    <a:pt x="160" y="124"/>
                  </a:lnTo>
                  <a:lnTo>
                    <a:pt x="156" y="124"/>
                  </a:lnTo>
                  <a:lnTo>
                    <a:pt x="156" y="128"/>
                  </a:lnTo>
                  <a:lnTo>
                    <a:pt x="152" y="132"/>
                  </a:lnTo>
                  <a:lnTo>
                    <a:pt x="148" y="132"/>
                  </a:lnTo>
                  <a:lnTo>
                    <a:pt x="148" y="136"/>
                  </a:lnTo>
                  <a:lnTo>
                    <a:pt x="144" y="140"/>
                  </a:lnTo>
                  <a:lnTo>
                    <a:pt x="140" y="140"/>
                  </a:lnTo>
                  <a:lnTo>
                    <a:pt x="140" y="144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8"/>
                  </a:lnTo>
                  <a:lnTo>
                    <a:pt x="128" y="148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4" y="148"/>
                  </a:lnTo>
                  <a:lnTo>
                    <a:pt x="124" y="152"/>
                  </a:lnTo>
                  <a:lnTo>
                    <a:pt x="120" y="152"/>
                  </a:lnTo>
                  <a:lnTo>
                    <a:pt x="124" y="152"/>
                  </a:lnTo>
                  <a:lnTo>
                    <a:pt x="120" y="156"/>
                  </a:lnTo>
                  <a:lnTo>
                    <a:pt x="120" y="152"/>
                  </a:lnTo>
                  <a:lnTo>
                    <a:pt x="116" y="152"/>
                  </a:lnTo>
                  <a:lnTo>
                    <a:pt x="120" y="152"/>
                  </a:lnTo>
                  <a:lnTo>
                    <a:pt x="120" y="156"/>
                  </a:lnTo>
                  <a:lnTo>
                    <a:pt x="116" y="156"/>
                  </a:lnTo>
                  <a:lnTo>
                    <a:pt x="112" y="156"/>
                  </a:lnTo>
                  <a:lnTo>
                    <a:pt x="112" y="160"/>
                  </a:lnTo>
                  <a:lnTo>
                    <a:pt x="108" y="160"/>
                  </a:lnTo>
                  <a:lnTo>
                    <a:pt x="112" y="160"/>
                  </a:lnTo>
                  <a:lnTo>
                    <a:pt x="112" y="164"/>
                  </a:lnTo>
                  <a:lnTo>
                    <a:pt x="108" y="164"/>
                  </a:lnTo>
                  <a:lnTo>
                    <a:pt x="104" y="164"/>
                  </a:lnTo>
                  <a:lnTo>
                    <a:pt x="104" y="160"/>
                  </a:lnTo>
                  <a:lnTo>
                    <a:pt x="100" y="160"/>
                  </a:lnTo>
                  <a:lnTo>
                    <a:pt x="104" y="160"/>
                  </a:lnTo>
                  <a:lnTo>
                    <a:pt x="104" y="164"/>
                  </a:lnTo>
                  <a:lnTo>
                    <a:pt x="104" y="168"/>
                  </a:lnTo>
                  <a:lnTo>
                    <a:pt x="104" y="172"/>
                  </a:lnTo>
                  <a:lnTo>
                    <a:pt x="100" y="172"/>
                  </a:lnTo>
                  <a:lnTo>
                    <a:pt x="96" y="172"/>
                  </a:lnTo>
                  <a:lnTo>
                    <a:pt x="96" y="176"/>
                  </a:lnTo>
                  <a:lnTo>
                    <a:pt x="100" y="180"/>
                  </a:lnTo>
                  <a:lnTo>
                    <a:pt x="96" y="180"/>
                  </a:lnTo>
                  <a:lnTo>
                    <a:pt x="96" y="184"/>
                  </a:lnTo>
                  <a:lnTo>
                    <a:pt x="96" y="188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2" y="195"/>
                  </a:lnTo>
                  <a:lnTo>
                    <a:pt x="92" y="199"/>
                  </a:lnTo>
                  <a:lnTo>
                    <a:pt x="92" y="203"/>
                  </a:lnTo>
                  <a:lnTo>
                    <a:pt x="92" y="207"/>
                  </a:lnTo>
                  <a:lnTo>
                    <a:pt x="92" y="211"/>
                  </a:lnTo>
                  <a:lnTo>
                    <a:pt x="96" y="211"/>
                  </a:lnTo>
                  <a:lnTo>
                    <a:pt x="96" y="215"/>
                  </a:lnTo>
                  <a:lnTo>
                    <a:pt x="96" y="219"/>
                  </a:lnTo>
                  <a:lnTo>
                    <a:pt x="96" y="215"/>
                  </a:lnTo>
                  <a:lnTo>
                    <a:pt x="100" y="215"/>
                  </a:lnTo>
                  <a:lnTo>
                    <a:pt x="100" y="219"/>
                  </a:lnTo>
                  <a:lnTo>
                    <a:pt x="104" y="219"/>
                  </a:lnTo>
                  <a:lnTo>
                    <a:pt x="108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5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6" y="243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0" y="247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47"/>
                  </a:lnTo>
                  <a:lnTo>
                    <a:pt x="96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47"/>
                  </a:lnTo>
                  <a:lnTo>
                    <a:pt x="92" y="243"/>
                  </a:lnTo>
                  <a:lnTo>
                    <a:pt x="88" y="243"/>
                  </a:lnTo>
                  <a:lnTo>
                    <a:pt x="84" y="243"/>
                  </a:lnTo>
                  <a:lnTo>
                    <a:pt x="80" y="247"/>
                  </a:lnTo>
                  <a:lnTo>
                    <a:pt x="76" y="247"/>
                  </a:lnTo>
                  <a:lnTo>
                    <a:pt x="80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92" y="247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92" y="251"/>
                  </a:lnTo>
                  <a:lnTo>
                    <a:pt x="96" y="251"/>
                  </a:lnTo>
                  <a:close/>
                  <a:moveTo>
                    <a:pt x="96" y="176"/>
                  </a:moveTo>
                  <a:lnTo>
                    <a:pt x="96" y="172"/>
                  </a:lnTo>
                  <a:lnTo>
                    <a:pt x="96" y="176"/>
                  </a:lnTo>
                  <a:lnTo>
                    <a:pt x="100" y="176"/>
                  </a:lnTo>
                  <a:lnTo>
                    <a:pt x="96" y="176"/>
                  </a:lnTo>
                  <a:close/>
                  <a:moveTo>
                    <a:pt x="92" y="247"/>
                  </a:moveTo>
                  <a:lnTo>
                    <a:pt x="96" y="247"/>
                  </a:lnTo>
                  <a:lnTo>
                    <a:pt x="92" y="247"/>
                  </a:lnTo>
                  <a:close/>
                  <a:moveTo>
                    <a:pt x="100" y="251"/>
                  </a:moveTo>
                  <a:lnTo>
                    <a:pt x="100" y="247"/>
                  </a:lnTo>
                  <a:lnTo>
                    <a:pt x="104" y="251"/>
                  </a:lnTo>
                  <a:lnTo>
                    <a:pt x="100" y="251"/>
                  </a:lnTo>
                  <a:close/>
                  <a:moveTo>
                    <a:pt x="124" y="283"/>
                  </a:moveTo>
                  <a:lnTo>
                    <a:pt x="120" y="283"/>
                  </a:lnTo>
                  <a:lnTo>
                    <a:pt x="124" y="283"/>
                  </a:lnTo>
                  <a:close/>
                  <a:moveTo>
                    <a:pt x="112" y="227"/>
                  </a:moveTo>
                  <a:lnTo>
                    <a:pt x="112" y="223"/>
                  </a:lnTo>
                  <a:lnTo>
                    <a:pt x="112" y="219"/>
                  </a:lnTo>
                  <a:lnTo>
                    <a:pt x="112" y="223"/>
                  </a:lnTo>
                  <a:lnTo>
                    <a:pt x="112" y="227"/>
                  </a:lnTo>
                  <a:close/>
                  <a:moveTo>
                    <a:pt x="8" y="279"/>
                  </a:moveTo>
                  <a:lnTo>
                    <a:pt x="4" y="279"/>
                  </a:lnTo>
                  <a:lnTo>
                    <a:pt x="8" y="275"/>
                  </a:lnTo>
                  <a:lnTo>
                    <a:pt x="12" y="275"/>
                  </a:lnTo>
                  <a:lnTo>
                    <a:pt x="12" y="279"/>
                  </a:lnTo>
                  <a:lnTo>
                    <a:pt x="8" y="279"/>
                  </a:lnTo>
                  <a:close/>
                  <a:moveTo>
                    <a:pt x="8" y="283"/>
                  </a:moveTo>
                  <a:lnTo>
                    <a:pt x="8" y="279"/>
                  </a:lnTo>
                  <a:lnTo>
                    <a:pt x="12" y="279"/>
                  </a:lnTo>
                  <a:lnTo>
                    <a:pt x="12" y="283"/>
                  </a:lnTo>
                  <a:lnTo>
                    <a:pt x="8" y="283"/>
                  </a:lnTo>
                  <a:close/>
                  <a:moveTo>
                    <a:pt x="120" y="283"/>
                  </a:moveTo>
                  <a:lnTo>
                    <a:pt x="120" y="287"/>
                  </a:lnTo>
                  <a:lnTo>
                    <a:pt x="116" y="287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6" y="299"/>
                  </a:lnTo>
                  <a:lnTo>
                    <a:pt x="112" y="299"/>
                  </a:lnTo>
                  <a:lnTo>
                    <a:pt x="112" y="303"/>
                  </a:lnTo>
                  <a:lnTo>
                    <a:pt x="108" y="307"/>
                  </a:lnTo>
                  <a:lnTo>
                    <a:pt x="108" y="303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12" y="287"/>
                  </a:lnTo>
                  <a:lnTo>
                    <a:pt x="116" y="283"/>
                  </a:lnTo>
                  <a:lnTo>
                    <a:pt x="120" y="283"/>
                  </a:lnTo>
                  <a:close/>
                  <a:moveTo>
                    <a:pt x="80" y="323"/>
                  </a:moveTo>
                  <a:lnTo>
                    <a:pt x="80" y="319"/>
                  </a:lnTo>
                  <a:lnTo>
                    <a:pt x="80" y="315"/>
                  </a:lnTo>
                  <a:lnTo>
                    <a:pt x="84" y="311"/>
                  </a:lnTo>
                  <a:lnTo>
                    <a:pt x="84" y="307"/>
                  </a:lnTo>
                  <a:lnTo>
                    <a:pt x="88" y="307"/>
                  </a:lnTo>
                  <a:lnTo>
                    <a:pt x="88" y="303"/>
                  </a:lnTo>
                  <a:lnTo>
                    <a:pt x="88" y="299"/>
                  </a:lnTo>
                  <a:lnTo>
                    <a:pt x="92" y="295"/>
                  </a:lnTo>
                  <a:lnTo>
                    <a:pt x="92" y="299"/>
                  </a:lnTo>
                  <a:lnTo>
                    <a:pt x="92" y="303"/>
                  </a:lnTo>
                  <a:lnTo>
                    <a:pt x="88" y="303"/>
                  </a:lnTo>
                  <a:lnTo>
                    <a:pt x="88" y="307"/>
                  </a:lnTo>
                  <a:lnTo>
                    <a:pt x="88" y="311"/>
                  </a:lnTo>
                  <a:lnTo>
                    <a:pt x="84" y="311"/>
                  </a:lnTo>
                  <a:lnTo>
                    <a:pt x="84" y="315"/>
                  </a:lnTo>
                  <a:lnTo>
                    <a:pt x="84" y="319"/>
                  </a:lnTo>
                  <a:lnTo>
                    <a:pt x="84" y="323"/>
                  </a:lnTo>
                  <a:lnTo>
                    <a:pt x="80" y="323"/>
                  </a:lnTo>
                  <a:close/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50" name="Freeform 114">
              <a:extLst>
                <a:ext uri="{FF2B5EF4-FFF2-40B4-BE49-F238E27FC236}">
                  <a16:creationId xmlns:a16="http://schemas.microsoft.com/office/drawing/2014/main" xmlns="" id="{5EA57A41-DE8A-43A8-AB4E-1B2FEB7C989B}"/>
                </a:ext>
              </a:extLst>
            </p:cNvPr>
            <p:cNvSpPr>
              <a:spLocks noEditPoints="1"/>
            </p:cNvSpPr>
            <p:nvPr>
              <p:custDataLst>
                <p:tags r:id="rId114"/>
              </p:custDataLst>
            </p:nvPr>
          </p:nvSpPr>
          <p:spPr bwMode="gray">
            <a:xfrm>
              <a:off x="4511020" y="3219671"/>
              <a:ext cx="100848" cy="65255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52" y="4"/>
                </a:cxn>
                <a:cxn ang="0">
                  <a:pos x="56" y="8"/>
                </a:cxn>
                <a:cxn ang="0">
                  <a:pos x="52" y="12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20"/>
                </a:cxn>
                <a:cxn ang="0">
                  <a:pos x="60" y="20"/>
                </a:cxn>
                <a:cxn ang="0">
                  <a:pos x="64" y="16"/>
                </a:cxn>
                <a:cxn ang="0">
                  <a:pos x="68" y="24"/>
                </a:cxn>
                <a:cxn ang="0">
                  <a:pos x="68" y="28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60" y="32"/>
                </a:cxn>
                <a:cxn ang="0">
                  <a:pos x="60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28"/>
                </a:cxn>
                <a:cxn ang="0">
                  <a:pos x="48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12" y="36"/>
                </a:cxn>
                <a:cxn ang="0">
                  <a:pos x="12" y="28"/>
                </a:cxn>
                <a:cxn ang="0">
                  <a:pos x="4" y="28"/>
                </a:cxn>
                <a:cxn ang="0">
                  <a:pos x="4" y="32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0" y="0"/>
                </a:cxn>
              </a:cxnLst>
              <a:rect l="0" t="0" r="r" b="b"/>
              <a:pathLst>
                <a:path w="68" h="44">
                  <a:moveTo>
                    <a:pt x="4" y="20"/>
                  </a:move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4" y="20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51" name="Freeform 115">
              <a:extLst>
                <a:ext uri="{FF2B5EF4-FFF2-40B4-BE49-F238E27FC236}">
                  <a16:creationId xmlns:a16="http://schemas.microsoft.com/office/drawing/2014/main" xmlns="" id="{74F7A29E-2E19-4BA6-86A7-0563C3999EEF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gray">
            <a:xfrm>
              <a:off x="4872888" y="3065433"/>
              <a:ext cx="401910" cy="261019"/>
            </a:xfrm>
            <a:custGeom>
              <a:avLst/>
              <a:gdLst/>
              <a:ahLst/>
              <a:cxnLst>
                <a:cxn ang="0">
                  <a:pos x="103" y="144"/>
                </a:cxn>
                <a:cxn ang="0">
                  <a:pos x="111" y="132"/>
                </a:cxn>
                <a:cxn ang="0">
                  <a:pos x="115" y="132"/>
                </a:cxn>
                <a:cxn ang="0">
                  <a:pos x="111" y="116"/>
                </a:cxn>
                <a:cxn ang="0">
                  <a:pos x="107" y="104"/>
                </a:cxn>
                <a:cxn ang="0">
                  <a:pos x="91" y="96"/>
                </a:cxn>
                <a:cxn ang="0">
                  <a:pos x="68" y="92"/>
                </a:cxn>
                <a:cxn ang="0">
                  <a:pos x="48" y="104"/>
                </a:cxn>
                <a:cxn ang="0">
                  <a:pos x="24" y="100"/>
                </a:cxn>
                <a:cxn ang="0">
                  <a:pos x="8" y="96"/>
                </a:cxn>
                <a:cxn ang="0">
                  <a:pos x="4" y="80"/>
                </a:cxn>
                <a:cxn ang="0">
                  <a:pos x="16" y="52"/>
                </a:cxn>
                <a:cxn ang="0">
                  <a:pos x="28" y="40"/>
                </a:cxn>
                <a:cxn ang="0">
                  <a:pos x="24" y="20"/>
                </a:cxn>
                <a:cxn ang="0">
                  <a:pos x="44" y="12"/>
                </a:cxn>
                <a:cxn ang="0">
                  <a:pos x="68" y="16"/>
                </a:cxn>
                <a:cxn ang="0">
                  <a:pos x="88" y="20"/>
                </a:cxn>
                <a:cxn ang="0">
                  <a:pos x="99" y="20"/>
                </a:cxn>
                <a:cxn ang="0">
                  <a:pos x="115" y="24"/>
                </a:cxn>
                <a:cxn ang="0">
                  <a:pos x="127" y="20"/>
                </a:cxn>
                <a:cxn ang="0">
                  <a:pos x="143" y="8"/>
                </a:cxn>
                <a:cxn ang="0">
                  <a:pos x="167" y="0"/>
                </a:cxn>
                <a:cxn ang="0">
                  <a:pos x="183" y="12"/>
                </a:cxn>
                <a:cxn ang="0">
                  <a:pos x="187" y="28"/>
                </a:cxn>
                <a:cxn ang="0">
                  <a:pos x="203" y="40"/>
                </a:cxn>
                <a:cxn ang="0">
                  <a:pos x="211" y="44"/>
                </a:cxn>
                <a:cxn ang="0">
                  <a:pos x="227" y="48"/>
                </a:cxn>
                <a:cxn ang="0">
                  <a:pos x="247" y="52"/>
                </a:cxn>
                <a:cxn ang="0">
                  <a:pos x="263" y="60"/>
                </a:cxn>
                <a:cxn ang="0">
                  <a:pos x="267" y="76"/>
                </a:cxn>
                <a:cxn ang="0">
                  <a:pos x="271" y="96"/>
                </a:cxn>
                <a:cxn ang="0">
                  <a:pos x="251" y="104"/>
                </a:cxn>
                <a:cxn ang="0">
                  <a:pos x="239" y="120"/>
                </a:cxn>
                <a:cxn ang="0">
                  <a:pos x="219" y="128"/>
                </a:cxn>
                <a:cxn ang="0">
                  <a:pos x="203" y="132"/>
                </a:cxn>
                <a:cxn ang="0">
                  <a:pos x="199" y="136"/>
                </a:cxn>
                <a:cxn ang="0">
                  <a:pos x="183" y="136"/>
                </a:cxn>
                <a:cxn ang="0">
                  <a:pos x="179" y="140"/>
                </a:cxn>
                <a:cxn ang="0">
                  <a:pos x="187" y="144"/>
                </a:cxn>
                <a:cxn ang="0">
                  <a:pos x="199" y="156"/>
                </a:cxn>
                <a:cxn ang="0">
                  <a:pos x="195" y="148"/>
                </a:cxn>
                <a:cxn ang="0">
                  <a:pos x="211" y="156"/>
                </a:cxn>
                <a:cxn ang="0">
                  <a:pos x="207" y="164"/>
                </a:cxn>
                <a:cxn ang="0">
                  <a:pos x="187" y="172"/>
                </a:cxn>
                <a:cxn ang="0">
                  <a:pos x="171" y="168"/>
                </a:cxn>
                <a:cxn ang="0">
                  <a:pos x="159" y="156"/>
                </a:cxn>
                <a:cxn ang="0">
                  <a:pos x="171" y="144"/>
                </a:cxn>
                <a:cxn ang="0">
                  <a:pos x="155" y="140"/>
                </a:cxn>
                <a:cxn ang="0">
                  <a:pos x="147" y="132"/>
                </a:cxn>
                <a:cxn ang="0">
                  <a:pos x="151" y="132"/>
                </a:cxn>
                <a:cxn ang="0">
                  <a:pos x="147" y="120"/>
                </a:cxn>
                <a:cxn ang="0">
                  <a:pos x="143" y="128"/>
                </a:cxn>
                <a:cxn ang="0">
                  <a:pos x="123" y="144"/>
                </a:cxn>
                <a:cxn ang="0">
                  <a:pos x="115" y="156"/>
                </a:cxn>
                <a:cxn ang="0">
                  <a:pos x="99" y="160"/>
                </a:cxn>
              </a:cxnLst>
              <a:rect l="0" t="0" r="r" b="b"/>
              <a:pathLst>
                <a:path w="271" h="176">
                  <a:moveTo>
                    <a:pt x="91" y="156"/>
                  </a:moveTo>
                  <a:lnTo>
                    <a:pt x="91" y="152"/>
                  </a:lnTo>
                  <a:lnTo>
                    <a:pt x="95" y="152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44"/>
                  </a:lnTo>
                  <a:lnTo>
                    <a:pt x="103" y="144"/>
                  </a:lnTo>
                  <a:lnTo>
                    <a:pt x="103" y="140"/>
                  </a:lnTo>
                  <a:lnTo>
                    <a:pt x="103" y="136"/>
                  </a:lnTo>
                  <a:lnTo>
                    <a:pt x="103" y="132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11" y="132"/>
                  </a:lnTo>
                  <a:lnTo>
                    <a:pt x="111" y="136"/>
                  </a:lnTo>
                  <a:lnTo>
                    <a:pt x="115" y="136"/>
                  </a:lnTo>
                  <a:lnTo>
                    <a:pt x="115" y="132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0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07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4"/>
                  </a:lnTo>
                  <a:lnTo>
                    <a:pt x="107" y="100"/>
                  </a:lnTo>
                  <a:lnTo>
                    <a:pt x="103" y="100"/>
                  </a:lnTo>
                  <a:lnTo>
                    <a:pt x="99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2"/>
                  </a:lnTo>
                  <a:lnTo>
                    <a:pt x="88" y="92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76" y="92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88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9" y="20"/>
                  </a:lnTo>
                  <a:lnTo>
                    <a:pt x="123" y="20"/>
                  </a:lnTo>
                  <a:lnTo>
                    <a:pt x="123" y="24"/>
                  </a:lnTo>
                  <a:lnTo>
                    <a:pt x="127" y="24"/>
                  </a:lnTo>
                  <a:lnTo>
                    <a:pt x="127" y="28"/>
                  </a:lnTo>
                  <a:lnTo>
                    <a:pt x="127" y="24"/>
                  </a:lnTo>
                  <a:lnTo>
                    <a:pt x="127" y="20"/>
                  </a:lnTo>
                  <a:lnTo>
                    <a:pt x="127" y="16"/>
                  </a:lnTo>
                  <a:lnTo>
                    <a:pt x="127" y="12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4"/>
                  </a:lnTo>
                  <a:lnTo>
                    <a:pt x="179" y="8"/>
                  </a:lnTo>
                  <a:lnTo>
                    <a:pt x="183" y="12"/>
                  </a:lnTo>
                  <a:lnTo>
                    <a:pt x="187" y="16"/>
                  </a:lnTo>
                  <a:lnTo>
                    <a:pt x="183" y="16"/>
                  </a:lnTo>
                  <a:lnTo>
                    <a:pt x="179" y="16"/>
                  </a:lnTo>
                  <a:lnTo>
                    <a:pt x="183" y="20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203" y="36"/>
                  </a:lnTo>
                  <a:lnTo>
                    <a:pt x="203" y="40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19" y="52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4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39" y="56"/>
                  </a:lnTo>
                  <a:lnTo>
                    <a:pt x="243" y="56"/>
                  </a:lnTo>
                  <a:lnTo>
                    <a:pt x="243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51" y="56"/>
                  </a:lnTo>
                  <a:lnTo>
                    <a:pt x="255" y="56"/>
                  </a:lnTo>
                  <a:lnTo>
                    <a:pt x="255" y="60"/>
                  </a:lnTo>
                  <a:lnTo>
                    <a:pt x="259" y="56"/>
                  </a:lnTo>
                  <a:lnTo>
                    <a:pt x="259" y="60"/>
                  </a:lnTo>
                  <a:lnTo>
                    <a:pt x="263" y="60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1" y="68"/>
                  </a:lnTo>
                  <a:lnTo>
                    <a:pt x="271" y="72"/>
                  </a:lnTo>
                  <a:lnTo>
                    <a:pt x="271" y="76"/>
                  </a:lnTo>
                  <a:lnTo>
                    <a:pt x="267" y="76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67" y="80"/>
                  </a:lnTo>
                  <a:lnTo>
                    <a:pt x="267" y="84"/>
                  </a:lnTo>
                  <a:lnTo>
                    <a:pt x="267" y="88"/>
                  </a:lnTo>
                  <a:lnTo>
                    <a:pt x="271" y="92"/>
                  </a:lnTo>
                  <a:lnTo>
                    <a:pt x="271" y="96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3" y="104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1" y="108"/>
                  </a:lnTo>
                  <a:lnTo>
                    <a:pt x="247" y="108"/>
                  </a:lnTo>
                  <a:lnTo>
                    <a:pt x="243" y="108"/>
                  </a:lnTo>
                  <a:lnTo>
                    <a:pt x="243" y="112"/>
                  </a:lnTo>
                  <a:lnTo>
                    <a:pt x="243" y="116"/>
                  </a:lnTo>
                  <a:lnTo>
                    <a:pt x="243" y="120"/>
                  </a:lnTo>
                  <a:lnTo>
                    <a:pt x="239" y="120"/>
                  </a:lnTo>
                  <a:lnTo>
                    <a:pt x="235" y="120"/>
                  </a:lnTo>
                  <a:lnTo>
                    <a:pt x="231" y="120"/>
                  </a:lnTo>
                  <a:lnTo>
                    <a:pt x="231" y="124"/>
                  </a:lnTo>
                  <a:lnTo>
                    <a:pt x="227" y="124"/>
                  </a:lnTo>
                  <a:lnTo>
                    <a:pt x="223" y="124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9" y="124"/>
                  </a:lnTo>
                  <a:lnTo>
                    <a:pt x="219" y="128"/>
                  </a:lnTo>
                  <a:lnTo>
                    <a:pt x="215" y="128"/>
                  </a:lnTo>
                  <a:lnTo>
                    <a:pt x="211" y="128"/>
                  </a:lnTo>
                  <a:lnTo>
                    <a:pt x="207" y="128"/>
                  </a:lnTo>
                  <a:lnTo>
                    <a:pt x="207" y="132"/>
                  </a:lnTo>
                  <a:lnTo>
                    <a:pt x="203" y="132"/>
                  </a:lnTo>
                  <a:lnTo>
                    <a:pt x="199" y="136"/>
                  </a:lnTo>
                  <a:lnTo>
                    <a:pt x="199" y="140"/>
                  </a:lnTo>
                  <a:lnTo>
                    <a:pt x="195" y="140"/>
                  </a:lnTo>
                  <a:lnTo>
                    <a:pt x="199" y="140"/>
                  </a:lnTo>
                  <a:lnTo>
                    <a:pt x="199" y="136"/>
                  </a:lnTo>
                  <a:lnTo>
                    <a:pt x="199" y="132"/>
                  </a:lnTo>
                  <a:lnTo>
                    <a:pt x="199" y="136"/>
                  </a:lnTo>
                  <a:lnTo>
                    <a:pt x="195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7" y="140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75" y="136"/>
                  </a:lnTo>
                  <a:lnTo>
                    <a:pt x="175" y="140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7" y="148"/>
                  </a:lnTo>
                  <a:lnTo>
                    <a:pt x="191" y="148"/>
                  </a:lnTo>
                  <a:lnTo>
                    <a:pt x="191" y="152"/>
                  </a:lnTo>
                  <a:lnTo>
                    <a:pt x="195" y="152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56"/>
                  </a:lnTo>
                  <a:lnTo>
                    <a:pt x="195" y="152"/>
                  </a:lnTo>
                  <a:lnTo>
                    <a:pt x="195" y="148"/>
                  </a:lnTo>
                  <a:lnTo>
                    <a:pt x="191" y="148"/>
                  </a:lnTo>
                  <a:lnTo>
                    <a:pt x="191" y="144"/>
                  </a:lnTo>
                  <a:lnTo>
                    <a:pt x="191" y="140"/>
                  </a:lnTo>
                  <a:lnTo>
                    <a:pt x="191" y="144"/>
                  </a:lnTo>
                  <a:lnTo>
                    <a:pt x="195" y="148"/>
                  </a:lnTo>
                  <a:lnTo>
                    <a:pt x="195" y="152"/>
                  </a:lnTo>
                  <a:lnTo>
                    <a:pt x="199" y="156"/>
                  </a:lnTo>
                  <a:lnTo>
                    <a:pt x="203" y="156"/>
                  </a:lnTo>
                  <a:lnTo>
                    <a:pt x="203" y="160"/>
                  </a:lnTo>
                  <a:lnTo>
                    <a:pt x="203" y="156"/>
                  </a:lnTo>
                  <a:lnTo>
                    <a:pt x="207" y="156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5" y="156"/>
                  </a:lnTo>
                  <a:lnTo>
                    <a:pt x="215" y="160"/>
                  </a:lnTo>
                  <a:lnTo>
                    <a:pt x="215" y="164"/>
                  </a:lnTo>
                  <a:lnTo>
                    <a:pt x="211" y="164"/>
                  </a:lnTo>
                  <a:lnTo>
                    <a:pt x="207" y="164"/>
                  </a:lnTo>
                  <a:lnTo>
                    <a:pt x="203" y="164"/>
                  </a:lnTo>
                  <a:lnTo>
                    <a:pt x="203" y="160"/>
                  </a:lnTo>
                  <a:lnTo>
                    <a:pt x="199" y="164"/>
                  </a:lnTo>
                  <a:lnTo>
                    <a:pt x="195" y="168"/>
                  </a:lnTo>
                  <a:lnTo>
                    <a:pt x="191" y="168"/>
                  </a:lnTo>
                  <a:lnTo>
                    <a:pt x="187" y="168"/>
                  </a:lnTo>
                  <a:lnTo>
                    <a:pt x="187" y="172"/>
                  </a:lnTo>
                  <a:lnTo>
                    <a:pt x="183" y="172"/>
                  </a:lnTo>
                  <a:lnTo>
                    <a:pt x="183" y="176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71" y="168"/>
                  </a:lnTo>
                  <a:lnTo>
                    <a:pt x="175" y="168"/>
                  </a:lnTo>
                  <a:lnTo>
                    <a:pt x="175" y="164"/>
                  </a:lnTo>
                  <a:lnTo>
                    <a:pt x="171" y="164"/>
                  </a:lnTo>
                  <a:lnTo>
                    <a:pt x="171" y="160"/>
                  </a:lnTo>
                  <a:lnTo>
                    <a:pt x="167" y="160"/>
                  </a:lnTo>
                  <a:lnTo>
                    <a:pt x="163" y="156"/>
                  </a:lnTo>
                  <a:lnTo>
                    <a:pt x="159" y="156"/>
                  </a:lnTo>
                  <a:lnTo>
                    <a:pt x="155" y="156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71" y="148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5" y="140"/>
                  </a:lnTo>
                  <a:lnTo>
                    <a:pt x="171" y="140"/>
                  </a:lnTo>
                  <a:lnTo>
                    <a:pt x="167" y="140"/>
                  </a:lnTo>
                  <a:lnTo>
                    <a:pt x="163" y="140"/>
                  </a:lnTo>
                  <a:lnTo>
                    <a:pt x="159" y="140"/>
                  </a:lnTo>
                  <a:lnTo>
                    <a:pt x="155" y="140"/>
                  </a:lnTo>
                  <a:lnTo>
                    <a:pt x="151" y="140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51" y="136"/>
                  </a:lnTo>
                  <a:lnTo>
                    <a:pt x="147" y="132"/>
                  </a:lnTo>
                  <a:lnTo>
                    <a:pt x="143" y="132"/>
                  </a:lnTo>
                  <a:lnTo>
                    <a:pt x="147" y="132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0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7" y="124"/>
                  </a:lnTo>
                  <a:lnTo>
                    <a:pt x="147" y="128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43" y="128"/>
                  </a:lnTo>
                  <a:lnTo>
                    <a:pt x="143" y="124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35" y="128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4"/>
                  </a:lnTo>
                  <a:lnTo>
                    <a:pt x="119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07" y="156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9" y="160"/>
                  </a:lnTo>
                  <a:lnTo>
                    <a:pt x="95" y="160"/>
                  </a:lnTo>
                  <a:lnTo>
                    <a:pt x="95" y="156"/>
                  </a:lnTo>
                  <a:lnTo>
                    <a:pt x="91" y="1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52" name="Freeform 116">
              <a:extLst>
                <a:ext uri="{FF2B5EF4-FFF2-40B4-BE49-F238E27FC236}">
                  <a16:creationId xmlns:a16="http://schemas.microsoft.com/office/drawing/2014/main" xmlns="" id="{FF2F8297-B508-4D82-BF93-EA39A358BDF0}"/>
                </a:ext>
              </a:extLst>
            </p:cNvPr>
            <p:cNvSpPr>
              <a:spLocks noEditPoints="1"/>
            </p:cNvSpPr>
            <p:nvPr>
              <p:custDataLst>
                <p:tags r:id="rId116"/>
              </p:custDataLst>
            </p:nvPr>
          </p:nvSpPr>
          <p:spPr bwMode="gray">
            <a:xfrm>
              <a:off x="4192161" y="2768820"/>
              <a:ext cx="225426" cy="379664"/>
            </a:xfrm>
            <a:custGeom>
              <a:avLst/>
              <a:gdLst/>
              <a:ahLst/>
              <a:cxnLst>
                <a:cxn ang="0">
                  <a:pos x="108" y="8"/>
                </a:cxn>
                <a:cxn ang="0">
                  <a:pos x="108" y="16"/>
                </a:cxn>
                <a:cxn ang="0">
                  <a:pos x="72" y="48"/>
                </a:cxn>
                <a:cxn ang="0">
                  <a:pos x="76" y="48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16"/>
                </a:cxn>
                <a:cxn ang="0">
                  <a:pos x="36" y="124"/>
                </a:cxn>
                <a:cxn ang="0">
                  <a:pos x="48" y="108"/>
                </a:cxn>
                <a:cxn ang="0">
                  <a:pos x="36" y="104"/>
                </a:cxn>
                <a:cxn ang="0">
                  <a:pos x="36" y="96"/>
                </a:cxn>
                <a:cxn ang="0">
                  <a:pos x="40" y="80"/>
                </a:cxn>
                <a:cxn ang="0">
                  <a:pos x="40" y="68"/>
                </a:cxn>
                <a:cxn ang="0">
                  <a:pos x="60" y="56"/>
                </a:cxn>
                <a:cxn ang="0">
                  <a:pos x="68" y="68"/>
                </a:cxn>
                <a:cxn ang="0">
                  <a:pos x="68" y="76"/>
                </a:cxn>
                <a:cxn ang="0">
                  <a:pos x="68" y="80"/>
                </a:cxn>
                <a:cxn ang="0">
                  <a:pos x="92" y="76"/>
                </a:cxn>
                <a:cxn ang="0">
                  <a:pos x="84" y="104"/>
                </a:cxn>
                <a:cxn ang="0">
                  <a:pos x="68" y="116"/>
                </a:cxn>
                <a:cxn ang="0">
                  <a:pos x="96" y="124"/>
                </a:cxn>
                <a:cxn ang="0">
                  <a:pos x="112" y="152"/>
                </a:cxn>
                <a:cxn ang="0">
                  <a:pos x="124" y="172"/>
                </a:cxn>
                <a:cxn ang="0">
                  <a:pos x="120" y="172"/>
                </a:cxn>
                <a:cxn ang="0">
                  <a:pos x="132" y="188"/>
                </a:cxn>
                <a:cxn ang="0">
                  <a:pos x="140" y="208"/>
                </a:cxn>
                <a:cxn ang="0">
                  <a:pos x="132" y="220"/>
                </a:cxn>
                <a:cxn ang="0">
                  <a:pos x="144" y="228"/>
                </a:cxn>
                <a:cxn ang="0">
                  <a:pos x="124" y="236"/>
                </a:cxn>
                <a:cxn ang="0">
                  <a:pos x="92" y="240"/>
                </a:cxn>
                <a:cxn ang="0">
                  <a:pos x="72" y="244"/>
                </a:cxn>
                <a:cxn ang="0">
                  <a:pos x="44" y="252"/>
                </a:cxn>
                <a:cxn ang="0">
                  <a:pos x="56" y="236"/>
                </a:cxn>
                <a:cxn ang="0">
                  <a:pos x="84" y="220"/>
                </a:cxn>
                <a:cxn ang="0">
                  <a:pos x="68" y="220"/>
                </a:cxn>
                <a:cxn ang="0">
                  <a:pos x="48" y="220"/>
                </a:cxn>
                <a:cxn ang="0">
                  <a:pos x="56" y="208"/>
                </a:cxn>
                <a:cxn ang="0">
                  <a:pos x="56" y="192"/>
                </a:cxn>
                <a:cxn ang="0">
                  <a:pos x="76" y="176"/>
                </a:cxn>
                <a:cxn ang="0">
                  <a:pos x="80" y="160"/>
                </a:cxn>
                <a:cxn ang="0">
                  <a:pos x="80" y="144"/>
                </a:cxn>
                <a:cxn ang="0">
                  <a:pos x="56" y="148"/>
                </a:cxn>
                <a:cxn ang="0">
                  <a:pos x="24" y="72"/>
                </a:cxn>
                <a:cxn ang="0">
                  <a:pos x="24" y="60"/>
                </a:cxn>
                <a:cxn ang="0">
                  <a:pos x="24" y="68"/>
                </a:cxn>
                <a:cxn ang="0">
                  <a:pos x="32" y="92"/>
                </a:cxn>
                <a:cxn ang="0">
                  <a:pos x="24" y="84"/>
                </a:cxn>
                <a:cxn ang="0">
                  <a:pos x="36" y="92"/>
                </a:cxn>
                <a:cxn ang="0">
                  <a:pos x="12" y="92"/>
                </a:cxn>
                <a:cxn ang="0">
                  <a:pos x="12" y="96"/>
                </a:cxn>
                <a:cxn ang="0">
                  <a:pos x="24" y="104"/>
                </a:cxn>
                <a:cxn ang="0">
                  <a:pos x="28" y="108"/>
                </a:cxn>
                <a:cxn ang="0">
                  <a:pos x="16" y="104"/>
                </a:cxn>
                <a:cxn ang="0">
                  <a:pos x="28" y="128"/>
                </a:cxn>
                <a:cxn ang="0">
                  <a:pos x="48" y="124"/>
                </a:cxn>
                <a:cxn ang="0">
                  <a:pos x="16" y="156"/>
                </a:cxn>
                <a:cxn ang="0">
                  <a:pos x="4" y="148"/>
                </a:cxn>
                <a:cxn ang="0">
                  <a:pos x="36" y="144"/>
                </a:cxn>
                <a:cxn ang="0">
                  <a:pos x="40" y="156"/>
                </a:cxn>
                <a:cxn ang="0">
                  <a:pos x="56" y="176"/>
                </a:cxn>
                <a:cxn ang="0">
                  <a:pos x="104" y="240"/>
                </a:cxn>
              </a:cxnLst>
              <a:rect l="0" t="0" r="r" b="b"/>
              <a:pathLst>
                <a:path w="152" h="256">
                  <a:moveTo>
                    <a:pt x="84" y="40"/>
                  </a:moveTo>
                  <a:lnTo>
                    <a:pt x="88" y="40"/>
                  </a:lnTo>
                  <a:lnTo>
                    <a:pt x="84" y="40"/>
                  </a:lnTo>
                  <a:close/>
                  <a:moveTo>
                    <a:pt x="112" y="4"/>
                  </a:moveTo>
                  <a:lnTo>
                    <a:pt x="108" y="4"/>
                  </a:lnTo>
                  <a:lnTo>
                    <a:pt x="112" y="0"/>
                  </a:lnTo>
                  <a:lnTo>
                    <a:pt x="112" y="4"/>
                  </a:lnTo>
                  <a:close/>
                  <a:moveTo>
                    <a:pt x="108" y="8"/>
                  </a:moveTo>
                  <a:lnTo>
                    <a:pt x="108" y="4"/>
                  </a:lnTo>
                  <a:lnTo>
                    <a:pt x="108" y="8"/>
                  </a:lnTo>
                  <a:close/>
                  <a:moveTo>
                    <a:pt x="100" y="16"/>
                  </a:moveTo>
                  <a:lnTo>
                    <a:pt x="104" y="12"/>
                  </a:lnTo>
                  <a:lnTo>
                    <a:pt x="100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0" y="20"/>
                  </a:lnTo>
                  <a:lnTo>
                    <a:pt x="100" y="16"/>
                  </a:lnTo>
                  <a:close/>
                  <a:moveTo>
                    <a:pt x="80" y="48"/>
                  </a:moveTo>
                  <a:lnTo>
                    <a:pt x="76" y="48"/>
                  </a:lnTo>
                  <a:lnTo>
                    <a:pt x="72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0" y="48"/>
                  </a:lnTo>
                  <a:close/>
                  <a:moveTo>
                    <a:pt x="76" y="52"/>
                  </a:moveTo>
                  <a:lnTo>
                    <a:pt x="72" y="52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close/>
                  <a:moveTo>
                    <a:pt x="80" y="52"/>
                  </a:move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52"/>
                  </a:lnTo>
                  <a:close/>
                  <a:moveTo>
                    <a:pt x="52" y="148"/>
                  </a:move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40"/>
                  </a:lnTo>
                  <a:lnTo>
                    <a:pt x="48" y="136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2" y="128"/>
                  </a:lnTo>
                  <a:lnTo>
                    <a:pt x="52" y="124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56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8" y="112"/>
                  </a:lnTo>
                  <a:lnTo>
                    <a:pt x="44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32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6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32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2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80" y="56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2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8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88" y="120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100" y="128"/>
                  </a:lnTo>
                  <a:lnTo>
                    <a:pt x="100" y="132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4" y="140"/>
                  </a:lnTo>
                  <a:lnTo>
                    <a:pt x="104" y="144"/>
                  </a:lnTo>
                  <a:lnTo>
                    <a:pt x="104" y="148"/>
                  </a:lnTo>
                  <a:lnTo>
                    <a:pt x="108" y="148"/>
                  </a:lnTo>
                  <a:lnTo>
                    <a:pt x="112" y="152"/>
                  </a:lnTo>
                  <a:lnTo>
                    <a:pt x="116" y="152"/>
                  </a:lnTo>
                  <a:lnTo>
                    <a:pt x="116" y="156"/>
                  </a:lnTo>
                  <a:lnTo>
                    <a:pt x="120" y="156"/>
                  </a:lnTo>
                  <a:lnTo>
                    <a:pt x="120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8"/>
                  </a:lnTo>
                  <a:lnTo>
                    <a:pt x="124" y="168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6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2"/>
                  </a:lnTo>
                  <a:lnTo>
                    <a:pt x="120" y="172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16" y="172"/>
                  </a:lnTo>
                  <a:lnTo>
                    <a:pt x="120" y="172"/>
                  </a:lnTo>
                  <a:lnTo>
                    <a:pt x="124" y="172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80"/>
                  </a:lnTo>
                  <a:lnTo>
                    <a:pt x="128" y="184"/>
                  </a:lnTo>
                  <a:lnTo>
                    <a:pt x="128" y="188"/>
                  </a:lnTo>
                  <a:lnTo>
                    <a:pt x="124" y="188"/>
                  </a:lnTo>
                  <a:lnTo>
                    <a:pt x="128" y="192"/>
                  </a:lnTo>
                  <a:lnTo>
                    <a:pt x="132" y="192"/>
                  </a:lnTo>
                  <a:lnTo>
                    <a:pt x="132" y="188"/>
                  </a:lnTo>
                  <a:lnTo>
                    <a:pt x="136" y="188"/>
                  </a:lnTo>
                  <a:lnTo>
                    <a:pt x="140" y="188"/>
                  </a:lnTo>
                  <a:lnTo>
                    <a:pt x="144" y="188"/>
                  </a:lnTo>
                  <a:lnTo>
                    <a:pt x="148" y="192"/>
                  </a:lnTo>
                  <a:lnTo>
                    <a:pt x="152" y="196"/>
                  </a:lnTo>
                  <a:lnTo>
                    <a:pt x="152" y="200"/>
                  </a:lnTo>
                  <a:lnTo>
                    <a:pt x="148" y="204"/>
                  </a:lnTo>
                  <a:lnTo>
                    <a:pt x="148" y="208"/>
                  </a:lnTo>
                  <a:lnTo>
                    <a:pt x="144" y="212"/>
                  </a:lnTo>
                  <a:lnTo>
                    <a:pt x="140" y="208"/>
                  </a:lnTo>
                  <a:lnTo>
                    <a:pt x="144" y="212"/>
                  </a:lnTo>
                  <a:lnTo>
                    <a:pt x="144" y="216"/>
                  </a:lnTo>
                  <a:lnTo>
                    <a:pt x="140" y="216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36" y="216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2" y="220"/>
                  </a:lnTo>
                  <a:lnTo>
                    <a:pt x="128" y="224"/>
                  </a:lnTo>
                  <a:lnTo>
                    <a:pt x="132" y="224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2" y="224"/>
                  </a:lnTo>
                  <a:lnTo>
                    <a:pt x="136" y="224"/>
                  </a:lnTo>
                  <a:lnTo>
                    <a:pt x="140" y="224"/>
                  </a:lnTo>
                  <a:lnTo>
                    <a:pt x="144" y="224"/>
                  </a:lnTo>
                  <a:lnTo>
                    <a:pt x="144" y="228"/>
                  </a:lnTo>
                  <a:lnTo>
                    <a:pt x="144" y="232"/>
                  </a:lnTo>
                  <a:lnTo>
                    <a:pt x="140" y="232"/>
                  </a:lnTo>
                  <a:lnTo>
                    <a:pt x="140" y="236"/>
                  </a:lnTo>
                  <a:lnTo>
                    <a:pt x="136" y="236"/>
                  </a:lnTo>
                  <a:lnTo>
                    <a:pt x="136" y="232"/>
                  </a:lnTo>
                  <a:lnTo>
                    <a:pt x="136" y="236"/>
                  </a:lnTo>
                  <a:lnTo>
                    <a:pt x="132" y="236"/>
                  </a:lnTo>
                  <a:lnTo>
                    <a:pt x="128" y="236"/>
                  </a:lnTo>
                  <a:lnTo>
                    <a:pt x="128" y="240"/>
                  </a:lnTo>
                  <a:lnTo>
                    <a:pt x="124" y="236"/>
                  </a:lnTo>
                  <a:lnTo>
                    <a:pt x="120" y="236"/>
                  </a:lnTo>
                  <a:lnTo>
                    <a:pt x="116" y="236"/>
                  </a:lnTo>
                  <a:lnTo>
                    <a:pt x="112" y="236"/>
                  </a:lnTo>
                  <a:lnTo>
                    <a:pt x="112" y="240"/>
                  </a:lnTo>
                  <a:lnTo>
                    <a:pt x="112" y="236"/>
                  </a:lnTo>
                  <a:lnTo>
                    <a:pt x="108" y="236"/>
                  </a:lnTo>
                  <a:lnTo>
                    <a:pt x="104" y="236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44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80" y="240"/>
                  </a:lnTo>
                  <a:lnTo>
                    <a:pt x="76" y="240"/>
                  </a:lnTo>
                  <a:lnTo>
                    <a:pt x="72" y="240"/>
                  </a:lnTo>
                  <a:lnTo>
                    <a:pt x="72" y="244"/>
                  </a:lnTo>
                  <a:lnTo>
                    <a:pt x="68" y="248"/>
                  </a:lnTo>
                  <a:lnTo>
                    <a:pt x="68" y="252"/>
                  </a:lnTo>
                  <a:lnTo>
                    <a:pt x="64" y="248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48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52"/>
                  </a:lnTo>
                  <a:lnTo>
                    <a:pt x="40" y="252"/>
                  </a:lnTo>
                  <a:lnTo>
                    <a:pt x="44" y="248"/>
                  </a:lnTo>
                  <a:lnTo>
                    <a:pt x="48" y="244"/>
                  </a:lnTo>
                  <a:lnTo>
                    <a:pt x="48" y="240"/>
                  </a:lnTo>
                  <a:lnTo>
                    <a:pt x="52" y="240"/>
                  </a:lnTo>
                  <a:lnTo>
                    <a:pt x="56" y="236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60" y="228"/>
                  </a:lnTo>
                  <a:lnTo>
                    <a:pt x="64" y="228"/>
                  </a:lnTo>
                  <a:lnTo>
                    <a:pt x="68" y="228"/>
                  </a:lnTo>
                  <a:lnTo>
                    <a:pt x="72" y="228"/>
                  </a:lnTo>
                  <a:lnTo>
                    <a:pt x="80" y="228"/>
                  </a:lnTo>
                  <a:lnTo>
                    <a:pt x="80" y="224"/>
                  </a:lnTo>
                  <a:lnTo>
                    <a:pt x="80" y="220"/>
                  </a:lnTo>
                  <a:lnTo>
                    <a:pt x="84" y="220"/>
                  </a:lnTo>
                  <a:lnTo>
                    <a:pt x="84" y="216"/>
                  </a:lnTo>
                  <a:lnTo>
                    <a:pt x="88" y="216"/>
                  </a:lnTo>
                  <a:lnTo>
                    <a:pt x="84" y="216"/>
                  </a:lnTo>
                  <a:lnTo>
                    <a:pt x="84" y="220"/>
                  </a:lnTo>
                  <a:lnTo>
                    <a:pt x="80" y="220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2" y="224"/>
                  </a:lnTo>
                  <a:lnTo>
                    <a:pt x="68" y="224"/>
                  </a:lnTo>
                  <a:lnTo>
                    <a:pt x="68" y="220"/>
                  </a:lnTo>
                  <a:lnTo>
                    <a:pt x="64" y="220"/>
                  </a:lnTo>
                  <a:lnTo>
                    <a:pt x="60" y="220"/>
                  </a:lnTo>
                  <a:lnTo>
                    <a:pt x="64" y="216"/>
                  </a:lnTo>
                  <a:lnTo>
                    <a:pt x="60" y="216"/>
                  </a:lnTo>
                  <a:lnTo>
                    <a:pt x="56" y="216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48" y="220"/>
                  </a:lnTo>
                  <a:lnTo>
                    <a:pt x="48" y="216"/>
                  </a:lnTo>
                  <a:lnTo>
                    <a:pt x="52" y="216"/>
                  </a:lnTo>
                  <a:lnTo>
                    <a:pt x="48" y="216"/>
                  </a:lnTo>
                  <a:lnTo>
                    <a:pt x="44" y="216"/>
                  </a:lnTo>
                  <a:lnTo>
                    <a:pt x="48" y="216"/>
                  </a:lnTo>
                  <a:lnTo>
                    <a:pt x="48" y="212"/>
                  </a:lnTo>
                  <a:lnTo>
                    <a:pt x="44" y="212"/>
                  </a:lnTo>
                  <a:lnTo>
                    <a:pt x="48" y="212"/>
                  </a:lnTo>
                  <a:lnTo>
                    <a:pt x="52" y="208"/>
                  </a:lnTo>
                  <a:lnTo>
                    <a:pt x="56" y="208"/>
                  </a:lnTo>
                  <a:lnTo>
                    <a:pt x="60" y="204"/>
                  </a:lnTo>
                  <a:lnTo>
                    <a:pt x="60" y="200"/>
                  </a:lnTo>
                  <a:lnTo>
                    <a:pt x="64" y="200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52" y="188"/>
                  </a:lnTo>
                  <a:lnTo>
                    <a:pt x="56" y="188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72" y="180"/>
                  </a:lnTo>
                  <a:lnTo>
                    <a:pt x="76" y="180"/>
                  </a:lnTo>
                  <a:lnTo>
                    <a:pt x="76" y="176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6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80" y="164"/>
                  </a:lnTo>
                  <a:lnTo>
                    <a:pt x="80" y="160"/>
                  </a:lnTo>
                  <a:lnTo>
                    <a:pt x="76" y="164"/>
                  </a:lnTo>
                  <a:lnTo>
                    <a:pt x="76" y="160"/>
                  </a:lnTo>
                  <a:lnTo>
                    <a:pt x="72" y="160"/>
                  </a:lnTo>
                  <a:lnTo>
                    <a:pt x="72" y="156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68" y="140"/>
                  </a:lnTo>
                  <a:lnTo>
                    <a:pt x="68" y="144"/>
                  </a:lnTo>
                  <a:lnTo>
                    <a:pt x="64" y="144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56" y="148"/>
                  </a:lnTo>
                  <a:lnTo>
                    <a:pt x="52" y="144"/>
                  </a:lnTo>
                  <a:lnTo>
                    <a:pt x="48" y="144"/>
                  </a:lnTo>
                  <a:lnTo>
                    <a:pt x="48" y="148"/>
                  </a:lnTo>
                  <a:lnTo>
                    <a:pt x="52" y="148"/>
                  </a:lnTo>
                  <a:close/>
                  <a:moveTo>
                    <a:pt x="24" y="72"/>
                  </a:moveTo>
                  <a:lnTo>
                    <a:pt x="24" y="68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4" y="72"/>
                  </a:lnTo>
                  <a:close/>
                  <a:moveTo>
                    <a:pt x="16" y="80"/>
                  </a:moveTo>
                  <a:lnTo>
                    <a:pt x="12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close/>
                  <a:moveTo>
                    <a:pt x="36" y="92"/>
                  </a:move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36" y="92"/>
                  </a:lnTo>
                  <a:close/>
                  <a:moveTo>
                    <a:pt x="32" y="88"/>
                  </a:moveTo>
                  <a:lnTo>
                    <a:pt x="32" y="84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close/>
                  <a:moveTo>
                    <a:pt x="12" y="84"/>
                  </a:moveTo>
                  <a:lnTo>
                    <a:pt x="16" y="84"/>
                  </a:lnTo>
                  <a:lnTo>
                    <a:pt x="12" y="84"/>
                  </a:lnTo>
                  <a:close/>
                  <a:moveTo>
                    <a:pt x="16" y="92"/>
                  </a:move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6" y="92"/>
                  </a:lnTo>
                  <a:close/>
                  <a:moveTo>
                    <a:pt x="12" y="96"/>
                  </a:moveTo>
                  <a:lnTo>
                    <a:pt x="8" y="96"/>
                  </a:lnTo>
                  <a:lnTo>
                    <a:pt x="12" y="92"/>
                  </a:lnTo>
                  <a:lnTo>
                    <a:pt x="12" y="96"/>
                  </a:lnTo>
                  <a:close/>
                  <a:moveTo>
                    <a:pt x="28" y="96"/>
                  </a:moveTo>
                  <a:lnTo>
                    <a:pt x="28" y="92"/>
                  </a:lnTo>
                  <a:lnTo>
                    <a:pt x="28" y="96"/>
                  </a:lnTo>
                  <a:close/>
                  <a:moveTo>
                    <a:pt x="24" y="104"/>
                  </a:moveTo>
                  <a:lnTo>
                    <a:pt x="24" y="100"/>
                  </a:lnTo>
                  <a:lnTo>
                    <a:pt x="28" y="100"/>
                  </a:lnTo>
                  <a:lnTo>
                    <a:pt x="24" y="104"/>
                  </a:lnTo>
                  <a:close/>
                  <a:moveTo>
                    <a:pt x="32" y="104"/>
                  </a:moveTo>
                  <a:lnTo>
                    <a:pt x="36" y="104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32" y="108"/>
                  </a:lnTo>
                  <a:lnTo>
                    <a:pt x="32" y="104"/>
                  </a:lnTo>
                  <a:lnTo>
                    <a:pt x="32" y="108"/>
                  </a:lnTo>
                  <a:lnTo>
                    <a:pt x="28" y="104"/>
                  </a:lnTo>
                  <a:lnTo>
                    <a:pt x="32" y="104"/>
                  </a:lnTo>
                  <a:close/>
                  <a:moveTo>
                    <a:pt x="20" y="108"/>
                  </a:moveTo>
                  <a:lnTo>
                    <a:pt x="16" y="104"/>
                  </a:lnTo>
                  <a:lnTo>
                    <a:pt x="20" y="104"/>
                  </a:lnTo>
                  <a:lnTo>
                    <a:pt x="20" y="108"/>
                  </a:lnTo>
                  <a:close/>
                  <a:moveTo>
                    <a:pt x="32" y="124"/>
                  </a:moveTo>
                  <a:lnTo>
                    <a:pt x="32" y="120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36" y="120"/>
                  </a:lnTo>
                  <a:lnTo>
                    <a:pt x="32" y="120"/>
                  </a:lnTo>
                  <a:lnTo>
                    <a:pt x="32" y="124"/>
                  </a:lnTo>
                  <a:close/>
                  <a:moveTo>
                    <a:pt x="28" y="128"/>
                  </a:moveTo>
                  <a:lnTo>
                    <a:pt x="28" y="124"/>
                  </a:lnTo>
                  <a:lnTo>
                    <a:pt x="24" y="124"/>
                  </a:lnTo>
                  <a:lnTo>
                    <a:pt x="28" y="120"/>
                  </a:lnTo>
                  <a:lnTo>
                    <a:pt x="32" y="120"/>
                  </a:lnTo>
                  <a:lnTo>
                    <a:pt x="32" y="124"/>
                  </a:lnTo>
                  <a:lnTo>
                    <a:pt x="28" y="128"/>
                  </a:lnTo>
                  <a:close/>
                  <a:moveTo>
                    <a:pt x="48" y="124"/>
                  </a:moveTo>
                  <a:lnTo>
                    <a:pt x="44" y="120"/>
                  </a:lnTo>
                  <a:lnTo>
                    <a:pt x="48" y="120"/>
                  </a:lnTo>
                  <a:lnTo>
                    <a:pt x="48" y="124"/>
                  </a:lnTo>
                  <a:close/>
                  <a:moveTo>
                    <a:pt x="44" y="132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8"/>
                  </a:lnTo>
                  <a:lnTo>
                    <a:pt x="48" y="132"/>
                  </a:lnTo>
                  <a:lnTo>
                    <a:pt x="44" y="132"/>
                  </a:lnTo>
                  <a:close/>
                  <a:moveTo>
                    <a:pt x="24" y="164"/>
                  </a:moveTo>
                  <a:lnTo>
                    <a:pt x="20" y="160"/>
                  </a:lnTo>
                  <a:lnTo>
                    <a:pt x="20" y="156"/>
                  </a:lnTo>
                  <a:lnTo>
                    <a:pt x="16" y="156"/>
                  </a:lnTo>
                  <a:lnTo>
                    <a:pt x="16" y="160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0" y="156"/>
                  </a:lnTo>
                  <a:lnTo>
                    <a:pt x="0" y="152"/>
                  </a:lnTo>
                  <a:lnTo>
                    <a:pt x="4" y="152"/>
                  </a:lnTo>
                  <a:lnTo>
                    <a:pt x="8" y="152"/>
                  </a:lnTo>
                  <a:lnTo>
                    <a:pt x="4" y="148"/>
                  </a:lnTo>
                  <a:lnTo>
                    <a:pt x="8" y="148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16" y="140"/>
                  </a:lnTo>
                  <a:lnTo>
                    <a:pt x="20" y="136"/>
                  </a:lnTo>
                  <a:lnTo>
                    <a:pt x="24" y="136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2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0"/>
                  </a:lnTo>
                  <a:lnTo>
                    <a:pt x="28" y="164"/>
                  </a:lnTo>
                  <a:lnTo>
                    <a:pt x="24" y="164"/>
                  </a:lnTo>
                  <a:close/>
                  <a:moveTo>
                    <a:pt x="56" y="184"/>
                  </a:moveTo>
                  <a:lnTo>
                    <a:pt x="56" y="180"/>
                  </a:lnTo>
                  <a:lnTo>
                    <a:pt x="56" y="176"/>
                  </a:lnTo>
                  <a:lnTo>
                    <a:pt x="60" y="176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60" y="184"/>
                  </a:lnTo>
                  <a:lnTo>
                    <a:pt x="56" y="184"/>
                  </a:lnTo>
                  <a:close/>
                  <a:moveTo>
                    <a:pt x="136" y="224"/>
                  </a:moveTo>
                  <a:lnTo>
                    <a:pt x="140" y="224"/>
                  </a:lnTo>
                  <a:lnTo>
                    <a:pt x="136" y="224"/>
                  </a:lnTo>
                  <a:close/>
                  <a:moveTo>
                    <a:pt x="104" y="240"/>
                  </a:moveTo>
                  <a:lnTo>
                    <a:pt x="100" y="240"/>
                  </a:lnTo>
                  <a:lnTo>
                    <a:pt x="104" y="236"/>
                  </a:lnTo>
                  <a:lnTo>
                    <a:pt x="108" y="240"/>
                  </a:lnTo>
                  <a:lnTo>
                    <a:pt x="104" y="2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53" name="Freeform 117">
              <a:extLst>
                <a:ext uri="{FF2B5EF4-FFF2-40B4-BE49-F238E27FC236}">
                  <a16:creationId xmlns:a16="http://schemas.microsoft.com/office/drawing/2014/main" xmlns="" id="{62C3CDB2-06B3-4E84-9F92-14B089038CF7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gray">
            <a:xfrm>
              <a:off x="4180296" y="3550394"/>
              <a:ext cx="461232" cy="526487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54" name="Freeform 118">
              <a:extLst>
                <a:ext uri="{FF2B5EF4-FFF2-40B4-BE49-F238E27FC236}">
                  <a16:creationId xmlns:a16="http://schemas.microsoft.com/office/drawing/2014/main" xmlns="" id="{E39B04D3-ABC8-4184-96E1-A5B05862885B}"/>
                </a:ext>
              </a:extLst>
            </p:cNvPr>
            <p:cNvSpPr>
              <a:spLocks noEditPoints="1"/>
            </p:cNvSpPr>
            <p:nvPr>
              <p:custDataLst>
                <p:tags r:id="rId118"/>
              </p:custDataLst>
            </p:nvPr>
          </p:nvSpPr>
          <p:spPr bwMode="gray">
            <a:xfrm>
              <a:off x="4641530" y="4716082"/>
              <a:ext cx="272884" cy="373732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55" name="Freeform 119">
              <a:extLst>
                <a:ext uri="{FF2B5EF4-FFF2-40B4-BE49-F238E27FC236}">
                  <a16:creationId xmlns:a16="http://schemas.microsoft.com/office/drawing/2014/main" xmlns="" id="{4011A242-4BA9-4DF9-8536-F4302C4126B1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gray">
            <a:xfrm>
              <a:off x="4393857" y="4254850"/>
              <a:ext cx="71187" cy="172035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56" name="Freeform 120">
              <a:extLst>
                <a:ext uri="{FF2B5EF4-FFF2-40B4-BE49-F238E27FC236}">
                  <a16:creationId xmlns:a16="http://schemas.microsoft.com/office/drawing/2014/main" xmlns="" id="{89DE9216-F9D4-4526-AA01-693D39339098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gray">
            <a:xfrm>
              <a:off x="4825430" y="5083882"/>
              <a:ext cx="206145" cy="25360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57" name="Freeform 121">
              <a:extLst>
                <a:ext uri="{FF2B5EF4-FFF2-40B4-BE49-F238E27FC236}">
                  <a16:creationId xmlns:a16="http://schemas.microsoft.com/office/drawing/2014/main" xmlns="" id="{A3D40921-0010-46C2-BD8E-67B0BEC6F5F6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gray">
            <a:xfrm>
              <a:off x="4251483" y="4183663"/>
              <a:ext cx="177968" cy="154239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58" name="Freeform 122">
              <a:extLst>
                <a:ext uri="{FF2B5EF4-FFF2-40B4-BE49-F238E27FC236}">
                  <a16:creationId xmlns:a16="http://schemas.microsoft.com/office/drawing/2014/main" xmlns="" id="{738C9D3A-7BFA-48A2-970A-ADDCDD4D9619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gray">
            <a:xfrm>
              <a:off x="5025643" y="4658243"/>
              <a:ext cx="41526" cy="57839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59" name="Freeform 123">
              <a:extLst>
                <a:ext uri="{FF2B5EF4-FFF2-40B4-BE49-F238E27FC236}">
                  <a16:creationId xmlns:a16="http://schemas.microsoft.com/office/drawing/2014/main" xmlns="" id="{4F0767C4-9CF0-4B8A-8EF0-E3596AF9BD4C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gray">
            <a:xfrm>
              <a:off x="4564410" y="4237053"/>
              <a:ext cx="177968" cy="314410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60" name="Freeform 124">
              <a:extLst>
                <a:ext uri="{FF2B5EF4-FFF2-40B4-BE49-F238E27FC236}">
                  <a16:creationId xmlns:a16="http://schemas.microsoft.com/office/drawing/2014/main" xmlns="" id="{A2CCDD45-A115-452E-A4E0-6C82EB94AA16}"/>
                </a:ext>
              </a:extLst>
            </p:cNvPr>
            <p:cNvSpPr>
              <a:spLocks noEditPoints="1"/>
            </p:cNvSpPr>
            <p:nvPr>
              <p:custDataLst>
                <p:tags r:id="rId124"/>
              </p:custDataLst>
            </p:nvPr>
          </p:nvSpPr>
          <p:spPr bwMode="gray">
            <a:xfrm>
              <a:off x="3808048" y="4124340"/>
              <a:ext cx="59323" cy="6525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61" name="Freeform 125">
              <a:extLst>
                <a:ext uri="{FF2B5EF4-FFF2-40B4-BE49-F238E27FC236}">
                  <a16:creationId xmlns:a16="http://schemas.microsoft.com/office/drawing/2014/main" xmlns="" id="{7F297F55-D42D-4203-93FA-04481363C7EF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gray">
            <a:xfrm>
              <a:off x="4700852" y="4296376"/>
              <a:ext cx="290681" cy="237290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62" name="Freeform 126">
              <a:extLst>
                <a:ext uri="{FF2B5EF4-FFF2-40B4-BE49-F238E27FC236}">
                  <a16:creationId xmlns:a16="http://schemas.microsoft.com/office/drawing/2014/main" xmlns="" id="{39466C49-CE5B-4DF3-8270-7818D83CCB75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gray">
            <a:xfrm>
              <a:off x="4677123" y="3953787"/>
              <a:ext cx="237290" cy="437503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63" name="Freeform 127">
              <a:extLst>
                <a:ext uri="{FF2B5EF4-FFF2-40B4-BE49-F238E27FC236}">
                  <a16:creationId xmlns:a16="http://schemas.microsoft.com/office/drawing/2014/main" xmlns="" id="{B59FB4DE-D60D-4969-BBDA-C2D7A22DC3A8}"/>
                </a:ext>
              </a:extLst>
            </p:cNvPr>
            <p:cNvSpPr>
              <a:spLocks noEditPoints="1"/>
            </p:cNvSpPr>
            <p:nvPr>
              <p:custDataLst>
                <p:tags r:id="rId127"/>
              </p:custDataLst>
            </p:nvPr>
          </p:nvSpPr>
          <p:spPr bwMode="gray">
            <a:xfrm>
              <a:off x="5345984" y="4905914"/>
              <a:ext cx="29661" cy="23729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64" name="Freeform 128">
              <a:extLst>
                <a:ext uri="{FF2B5EF4-FFF2-40B4-BE49-F238E27FC236}">
                  <a16:creationId xmlns:a16="http://schemas.microsoft.com/office/drawing/2014/main" xmlns="" id="{54301CA8-388C-4587-A428-FB089C2286AB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gray">
            <a:xfrm>
              <a:off x="4623733" y="4492140"/>
              <a:ext cx="172035" cy="235807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65" name="Freeform 129">
              <a:extLst>
                <a:ext uri="{FF2B5EF4-FFF2-40B4-BE49-F238E27FC236}">
                  <a16:creationId xmlns:a16="http://schemas.microsoft.com/office/drawing/2014/main" xmlns="" id="{6DAC1F01-A0D7-4AAE-862A-88EEF36B9D17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gray">
            <a:xfrm>
              <a:off x="4647462" y="4450614"/>
              <a:ext cx="431571" cy="508690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66" name="Freeform 130">
              <a:extLst>
                <a:ext uri="{FF2B5EF4-FFF2-40B4-BE49-F238E27FC236}">
                  <a16:creationId xmlns:a16="http://schemas.microsoft.com/office/drawing/2014/main" xmlns="" id="{D278476F-DB07-4D5A-9552-CA5EC61F565D}"/>
                </a:ext>
              </a:extLst>
            </p:cNvPr>
            <p:cNvSpPr>
              <a:spLocks noEditPoints="1"/>
            </p:cNvSpPr>
            <p:nvPr>
              <p:custDataLst>
                <p:tags r:id="rId130"/>
              </p:custDataLst>
            </p:nvPr>
          </p:nvSpPr>
          <p:spPr bwMode="gray">
            <a:xfrm>
              <a:off x="4180296" y="4302308"/>
              <a:ext cx="142374" cy="177968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67" name="Freeform 131">
              <a:extLst>
                <a:ext uri="{FF2B5EF4-FFF2-40B4-BE49-F238E27FC236}">
                  <a16:creationId xmlns:a16="http://schemas.microsoft.com/office/drawing/2014/main" xmlns="" id="{5DD5081A-FDB8-499B-87F6-6B11A40CCB71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gray">
            <a:xfrm>
              <a:off x="5310391" y="4248918"/>
              <a:ext cx="41526" cy="47458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68" name="Freeform 132">
              <a:extLst>
                <a:ext uri="{FF2B5EF4-FFF2-40B4-BE49-F238E27FC236}">
                  <a16:creationId xmlns:a16="http://schemas.microsoft.com/office/drawing/2014/main" xmlns="" id="{5FE5F0A8-07A1-47A1-8630-643896AD5400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gray">
            <a:xfrm>
              <a:off x="4932210" y="3716497"/>
              <a:ext cx="271400" cy="272884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69" name="Freeform 133">
              <a:extLst>
                <a:ext uri="{FF2B5EF4-FFF2-40B4-BE49-F238E27FC236}">
                  <a16:creationId xmlns:a16="http://schemas.microsoft.com/office/drawing/2014/main" xmlns="" id="{18B3A88C-D68A-4932-B89D-03A99DDE5168}"/>
                </a:ext>
              </a:extLst>
            </p:cNvPr>
            <p:cNvSpPr>
              <a:spLocks noEditPoints="1"/>
            </p:cNvSpPr>
            <p:nvPr>
              <p:custDataLst>
                <p:tags r:id="rId133"/>
              </p:custDataLst>
            </p:nvPr>
          </p:nvSpPr>
          <p:spPr bwMode="gray">
            <a:xfrm>
              <a:off x="4564410" y="4492140"/>
              <a:ext cx="65255" cy="77119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70" name="Freeform 134">
              <a:extLst>
                <a:ext uri="{FF2B5EF4-FFF2-40B4-BE49-F238E27FC236}">
                  <a16:creationId xmlns:a16="http://schemas.microsoft.com/office/drawing/2014/main" xmlns="" id="{949275CB-6B2C-4E02-A6D0-5F3FEBED9923}"/>
                </a:ext>
              </a:extLst>
            </p:cNvPr>
            <p:cNvSpPr>
              <a:spLocks noEditPoints="1"/>
            </p:cNvSpPr>
            <p:nvPr>
              <p:custDataLst>
                <p:tags r:id="rId134"/>
              </p:custDataLst>
            </p:nvPr>
          </p:nvSpPr>
          <p:spPr bwMode="gray">
            <a:xfrm>
              <a:off x="5191746" y="4100611"/>
              <a:ext cx="154239" cy="160171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71" name="Freeform 135">
              <a:extLst>
                <a:ext uri="{FF2B5EF4-FFF2-40B4-BE49-F238E27FC236}">
                  <a16:creationId xmlns:a16="http://schemas.microsoft.com/office/drawing/2014/main" xmlns="" id="{A4CF894B-9E66-4FB1-8A6F-0B36D512FB0B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gray">
            <a:xfrm>
              <a:off x="5114627" y="4189595"/>
              <a:ext cx="338139" cy="314410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72" name="Freeform 136">
              <a:extLst>
                <a:ext uri="{FF2B5EF4-FFF2-40B4-BE49-F238E27FC236}">
                  <a16:creationId xmlns:a16="http://schemas.microsoft.com/office/drawing/2014/main" xmlns="" id="{BC190E53-48BD-4E6E-8F62-7D94E9D35BDE}"/>
                </a:ext>
              </a:extLst>
            </p:cNvPr>
            <p:cNvSpPr>
              <a:spLocks noEditPoints="1"/>
            </p:cNvSpPr>
            <p:nvPr>
              <p:custDataLst>
                <p:tags r:id="rId136"/>
              </p:custDataLst>
            </p:nvPr>
          </p:nvSpPr>
          <p:spPr bwMode="gray">
            <a:xfrm>
              <a:off x="4570343" y="4533666"/>
              <a:ext cx="130510" cy="164620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73" name="Freeform 137">
              <a:extLst>
                <a:ext uri="{FF2B5EF4-FFF2-40B4-BE49-F238E27FC236}">
                  <a16:creationId xmlns:a16="http://schemas.microsoft.com/office/drawing/2014/main" xmlns="" id="{089A8A1E-1F79-445E-AA07-C41D4DE813F6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gray">
            <a:xfrm>
              <a:off x="4304874" y="4290443"/>
              <a:ext cx="100848" cy="177968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74" name="Freeform 138">
              <a:extLst>
                <a:ext uri="{FF2B5EF4-FFF2-40B4-BE49-F238E27FC236}">
                  <a16:creationId xmlns:a16="http://schemas.microsoft.com/office/drawing/2014/main" xmlns="" id="{B8F8CB9F-35F2-4750-B495-9F83ABC5F06E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gray">
            <a:xfrm>
              <a:off x="4037922" y="4248918"/>
              <a:ext cx="166103" cy="154239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75" name="Freeform 139">
              <a:extLst>
                <a:ext uri="{FF2B5EF4-FFF2-40B4-BE49-F238E27FC236}">
                  <a16:creationId xmlns:a16="http://schemas.microsoft.com/office/drawing/2014/main" xmlns="" id="{E071F1C9-BB59-4205-A97E-DB6AE7B43C72}"/>
                </a:ext>
              </a:extLst>
            </p:cNvPr>
            <p:cNvSpPr>
              <a:spLocks noEditPoints="1"/>
            </p:cNvSpPr>
            <p:nvPr>
              <p:custDataLst>
                <p:tags r:id="rId139"/>
              </p:custDataLst>
            </p:nvPr>
          </p:nvSpPr>
          <p:spPr bwMode="gray">
            <a:xfrm>
              <a:off x="4002329" y="4248918"/>
              <a:ext cx="65255" cy="47458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76" name="Freeform 140">
              <a:extLst>
                <a:ext uri="{FF2B5EF4-FFF2-40B4-BE49-F238E27FC236}">
                  <a16:creationId xmlns:a16="http://schemas.microsoft.com/office/drawing/2014/main" xmlns="" id="{577D2B53-08D1-4E78-87CB-9A86B1159C5C}"/>
                </a:ext>
              </a:extLst>
            </p:cNvPr>
            <p:cNvSpPr>
              <a:spLocks noEditPoints="1"/>
            </p:cNvSpPr>
            <p:nvPr>
              <p:custDataLst>
                <p:tags r:id="rId140"/>
              </p:custDataLst>
            </p:nvPr>
          </p:nvSpPr>
          <p:spPr bwMode="gray">
            <a:xfrm>
              <a:off x="5138356" y="4468411"/>
              <a:ext cx="177968" cy="25360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77" name="Freeform 141">
              <a:extLst>
                <a:ext uri="{FF2B5EF4-FFF2-40B4-BE49-F238E27FC236}">
                  <a16:creationId xmlns:a16="http://schemas.microsoft.com/office/drawing/2014/main" xmlns="" id="{50C766F6-0B34-40DC-A086-E9FCBA31F9D3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gray">
            <a:xfrm>
              <a:off x="4985600" y="5384945"/>
              <a:ext cx="51907" cy="59323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78" name="Freeform 142">
              <a:extLst>
                <a:ext uri="{FF2B5EF4-FFF2-40B4-BE49-F238E27FC236}">
                  <a16:creationId xmlns:a16="http://schemas.microsoft.com/office/drawing/2014/main" xmlns="" id="{C719DC0C-74DB-40A4-AD66-651314F5C097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gray">
            <a:xfrm>
              <a:off x="4115041" y="4361630"/>
              <a:ext cx="94916" cy="118645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79" name="Freeform 143">
              <a:extLst>
                <a:ext uri="{FF2B5EF4-FFF2-40B4-BE49-F238E27FC236}">
                  <a16:creationId xmlns:a16="http://schemas.microsoft.com/office/drawing/2014/main" xmlns="" id="{98D49532-589B-435B-82C6-EC97C4D74A99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gray">
            <a:xfrm>
              <a:off x="4582207" y="3669039"/>
              <a:ext cx="355935" cy="390045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80" name="Freeform 144">
              <a:extLst>
                <a:ext uri="{FF2B5EF4-FFF2-40B4-BE49-F238E27FC236}">
                  <a16:creationId xmlns:a16="http://schemas.microsoft.com/office/drawing/2014/main" xmlns="" id="{441F9FFE-C571-4E79-8E11-C770BB79D587}"/>
                </a:ext>
              </a:extLst>
            </p:cNvPr>
            <p:cNvSpPr>
              <a:spLocks noEditPoints="1"/>
            </p:cNvSpPr>
            <p:nvPr>
              <p:custDataLst>
                <p:tags r:id="rId144"/>
              </p:custDataLst>
            </p:nvPr>
          </p:nvSpPr>
          <p:spPr bwMode="gray">
            <a:xfrm>
              <a:off x="5345984" y="4917779"/>
              <a:ext cx="166103" cy="385597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81" name="Freeform 145">
              <a:extLst>
                <a:ext uri="{FF2B5EF4-FFF2-40B4-BE49-F238E27FC236}">
                  <a16:creationId xmlns:a16="http://schemas.microsoft.com/office/drawing/2014/main" xmlns="" id="{E18F935F-51DA-4E85-81AB-2B12E2451742}"/>
                </a:ext>
              </a:extLst>
            </p:cNvPr>
            <p:cNvSpPr>
              <a:spLocks noEditPoints="1"/>
            </p:cNvSpPr>
            <p:nvPr>
              <p:custDataLst>
                <p:tags r:id="rId145"/>
              </p:custDataLst>
            </p:nvPr>
          </p:nvSpPr>
          <p:spPr bwMode="gray">
            <a:xfrm>
              <a:off x="5108694" y="4852524"/>
              <a:ext cx="71187" cy="213561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82" name="Freeform 146">
              <a:extLst>
                <a:ext uri="{FF2B5EF4-FFF2-40B4-BE49-F238E27FC236}">
                  <a16:creationId xmlns:a16="http://schemas.microsoft.com/office/drawing/2014/main" xmlns="" id="{23BCD67D-032B-4D08-BD32-03EE60D1727C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gray">
            <a:xfrm>
              <a:off x="4103177" y="3906329"/>
              <a:ext cx="367800" cy="413774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83" name="Freeform 147">
              <a:extLst>
                <a:ext uri="{FF2B5EF4-FFF2-40B4-BE49-F238E27FC236}">
                  <a16:creationId xmlns:a16="http://schemas.microsoft.com/office/drawing/2014/main" xmlns="" id="{CE888D3D-05D3-4BA4-8D40-F9F7D44D5493}"/>
                </a:ext>
              </a:extLst>
            </p:cNvPr>
            <p:cNvSpPr>
              <a:spLocks noEditPoints="1"/>
            </p:cNvSpPr>
            <p:nvPr>
              <p:custDataLst>
                <p:tags r:id="rId147"/>
              </p:custDataLst>
            </p:nvPr>
          </p:nvSpPr>
          <p:spPr bwMode="gray">
            <a:xfrm>
              <a:off x="3990464" y="3841075"/>
              <a:ext cx="278816" cy="354452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84" name="Freeform 148">
              <a:extLst>
                <a:ext uri="{FF2B5EF4-FFF2-40B4-BE49-F238E27FC236}">
                  <a16:creationId xmlns:a16="http://schemas.microsoft.com/office/drawing/2014/main" xmlns="" id="{18BC8877-E9FA-43EB-A7D8-6F6BFE2CB8BE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gray">
            <a:xfrm>
              <a:off x="4079448" y="3585988"/>
              <a:ext cx="272884" cy="243222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85" name="Freeform 149">
              <a:extLst>
                <a:ext uri="{FF2B5EF4-FFF2-40B4-BE49-F238E27FC236}">
                  <a16:creationId xmlns:a16="http://schemas.microsoft.com/office/drawing/2014/main" xmlns="" id="{7C314094-718D-4245-A20C-D453BD4BA797}"/>
                </a:ext>
              </a:extLst>
            </p:cNvPr>
            <p:cNvSpPr>
              <a:spLocks noEditPoints="1"/>
            </p:cNvSpPr>
            <p:nvPr>
              <p:custDataLst>
                <p:tags r:id="rId149"/>
              </p:custDataLst>
            </p:nvPr>
          </p:nvSpPr>
          <p:spPr bwMode="gray">
            <a:xfrm>
              <a:off x="5055304" y="4882185"/>
              <a:ext cx="237290" cy="455300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86" name="Freeform 150">
              <a:extLst>
                <a:ext uri="{FF2B5EF4-FFF2-40B4-BE49-F238E27FC236}">
                  <a16:creationId xmlns:a16="http://schemas.microsoft.com/office/drawing/2014/main" xmlns="" id="{6020AE36-4FFC-4AAF-A624-06D09A28AA20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gray">
            <a:xfrm>
              <a:off x="4635597" y="5060153"/>
              <a:ext cx="308477" cy="336655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87" name="Freeform 151">
              <a:extLst>
                <a:ext uri="{FF2B5EF4-FFF2-40B4-BE49-F238E27FC236}">
                  <a16:creationId xmlns:a16="http://schemas.microsoft.com/office/drawing/2014/main" xmlns="" id="{145BF9D4-E263-49CA-B65A-15E96904BB5A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gray">
            <a:xfrm>
              <a:off x="4381993" y="3947855"/>
              <a:ext cx="354452" cy="330723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88" name="Freeform 152">
              <a:extLst>
                <a:ext uri="{FF2B5EF4-FFF2-40B4-BE49-F238E27FC236}">
                  <a16:creationId xmlns:a16="http://schemas.microsoft.com/office/drawing/2014/main" xmlns="" id="{C2F5E4BC-8E42-48CF-AC99-E0BA479C1D94}"/>
                </a:ext>
              </a:extLst>
            </p:cNvPr>
            <p:cNvSpPr>
              <a:spLocks noEditPoints="1"/>
            </p:cNvSpPr>
            <p:nvPr>
              <p:custDataLst>
                <p:tags r:id="rId152"/>
              </p:custDataLst>
            </p:nvPr>
          </p:nvSpPr>
          <p:spPr bwMode="gray">
            <a:xfrm>
              <a:off x="4435383" y="4219256"/>
              <a:ext cx="271400" cy="261019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89" name="Freeform 153">
              <a:extLst>
                <a:ext uri="{FF2B5EF4-FFF2-40B4-BE49-F238E27FC236}">
                  <a16:creationId xmlns:a16="http://schemas.microsoft.com/office/drawing/2014/main" xmlns="" id="{8C9B9BE3-0E9E-4684-A860-B0C9D407FB06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gray">
            <a:xfrm>
              <a:off x="5025643" y="4622650"/>
              <a:ext cx="41526" cy="4745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91" name="Freeform 154">
              <a:extLst>
                <a:ext uri="{FF2B5EF4-FFF2-40B4-BE49-F238E27FC236}">
                  <a16:creationId xmlns:a16="http://schemas.microsoft.com/office/drawing/2014/main" xmlns="" id="{6737F5FE-65B3-4608-AE84-815176BF92AE}"/>
                </a:ext>
              </a:extLst>
            </p:cNvPr>
            <p:cNvSpPr>
              <a:spLocks noEditPoints="1"/>
            </p:cNvSpPr>
            <p:nvPr>
              <p:custDataLst>
                <p:tags r:id="rId154"/>
              </p:custDataLst>
            </p:nvPr>
          </p:nvSpPr>
          <p:spPr bwMode="gray">
            <a:xfrm>
              <a:off x="4522885" y="4551463"/>
              <a:ext cx="17797" cy="41526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92" name="Freeform 155">
              <a:extLst>
                <a:ext uri="{FF2B5EF4-FFF2-40B4-BE49-F238E27FC236}">
                  <a16:creationId xmlns:a16="http://schemas.microsoft.com/office/drawing/2014/main" xmlns="" id="{36F094A9-8B35-4504-A97C-C193F9A67EFC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gray">
            <a:xfrm>
              <a:off x="3978600" y="4136205"/>
              <a:ext cx="142374" cy="124577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95" name="Freeform 156">
              <a:extLst>
                <a:ext uri="{FF2B5EF4-FFF2-40B4-BE49-F238E27FC236}">
                  <a16:creationId xmlns:a16="http://schemas.microsoft.com/office/drawing/2014/main" xmlns="" id="{84781FF6-6B1A-4A9D-BFE8-3A3B86AA103A}"/>
                </a:ext>
              </a:extLst>
            </p:cNvPr>
            <p:cNvSpPr>
              <a:spLocks noEditPoints="1"/>
            </p:cNvSpPr>
            <p:nvPr>
              <p:custDataLst>
                <p:tags r:id="rId156"/>
              </p:custDataLst>
            </p:nvPr>
          </p:nvSpPr>
          <p:spPr bwMode="gray">
            <a:xfrm>
              <a:off x="5411239" y="4716082"/>
              <a:ext cx="212078" cy="136442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97" name="Freeform 157">
              <a:extLst>
                <a:ext uri="{FF2B5EF4-FFF2-40B4-BE49-F238E27FC236}">
                  <a16:creationId xmlns:a16="http://schemas.microsoft.com/office/drawing/2014/main" xmlns="" id="{93E524F6-DAFD-4E8A-9216-7EF7D6DE22CA}"/>
                </a:ext>
              </a:extLst>
            </p:cNvPr>
            <p:cNvSpPr>
              <a:spLocks noEditPoints="1"/>
            </p:cNvSpPr>
            <p:nvPr>
              <p:custDataLst>
                <p:tags r:id="rId157"/>
              </p:custDataLst>
            </p:nvPr>
          </p:nvSpPr>
          <p:spPr bwMode="gray">
            <a:xfrm>
              <a:off x="4079448" y="4326037"/>
              <a:ext cx="65255" cy="83052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98" name="Freeform 158">
              <a:extLst>
                <a:ext uri="{FF2B5EF4-FFF2-40B4-BE49-F238E27FC236}">
                  <a16:creationId xmlns:a16="http://schemas.microsoft.com/office/drawing/2014/main" xmlns="" id="{6BA8797B-0854-419F-B4B7-A24C2ADA4C67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gray">
            <a:xfrm>
              <a:off x="5298526" y="4266714"/>
              <a:ext cx="231358" cy="373732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199" name="Freeform 160">
              <a:extLst>
                <a:ext uri="{FF2B5EF4-FFF2-40B4-BE49-F238E27FC236}">
                  <a16:creationId xmlns:a16="http://schemas.microsoft.com/office/drawing/2014/main" xmlns="" id="{BCFBBB4F-3BC1-464C-A025-2385841CA555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gray">
            <a:xfrm>
              <a:off x="5067168" y="5303376"/>
              <a:ext cx="29661" cy="4597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00" name="Freeform 161">
              <a:extLst>
                <a:ext uri="{FF2B5EF4-FFF2-40B4-BE49-F238E27FC236}">
                  <a16:creationId xmlns:a16="http://schemas.microsoft.com/office/drawing/2014/main" xmlns="" id="{24402D91-F7C7-4264-BB36-744EBB7E6EA8}"/>
                </a:ext>
              </a:extLst>
            </p:cNvPr>
            <p:cNvSpPr>
              <a:spLocks noEditPoints="1"/>
            </p:cNvSpPr>
            <p:nvPr>
              <p:custDataLst>
                <p:tags r:id="rId160"/>
              </p:custDataLst>
            </p:nvPr>
          </p:nvSpPr>
          <p:spPr bwMode="gray">
            <a:xfrm>
              <a:off x="5031575" y="4622650"/>
              <a:ext cx="249155" cy="289197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01" name="Freeform 162">
              <a:extLst>
                <a:ext uri="{FF2B5EF4-FFF2-40B4-BE49-F238E27FC236}">
                  <a16:creationId xmlns:a16="http://schemas.microsoft.com/office/drawing/2014/main" xmlns="" id="{AB803C58-8B35-456A-A344-05E8523EBAFC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gray">
            <a:xfrm>
              <a:off x="3996396" y="4219256"/>
              <a:ext cx="71187" cy="1779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02" name="Freeform 163">
              <a:extLst>
                <a:ext uri="{FF2B5EF4-FFF2-40B4-BE49-F238E27FC236}">
                  <a16:creationId xmlns:a16="http://schemas.microsoft.com/office/drawing/2014/main" xmlns="" id="{E84AD2EE-DA92-4E0A-9AFF-743489EEED3F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gray">
            <a:xfrm>
              <a:off x="4370128" y="4290443"/>
              <a:ext cx="47458" cy="142374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04" name="Freeform 164">
              <a:extLst>
                <a:ext uri="{FF2B5EF4-FFF2-40B4-BE49-F238E27FC236}">
                  <a16:creationId xmlns:a16="http://schemas.microsoft.com/office/drawing/2014/main" xmlns="" id="{4DAB9018-08A2-4F65-8D2A-0054C0B08BCE}"/>
                </a:ext>
              </a:extLst>
            </p:cNvPr>
            <p:cNvSpPr>
              <a:spLocks noEditPoints="1"/>
            </p:cNvSpPr>
            <p:nvPr>
              <p:custDataLst>
                <p:tags r:id="rId163"/>
              </p:custDataLst>
            </p:nvPr>
          </p:nvSpPr>
          <p:spPr bwMode="gray">
            <a:xfrm>
              <a:off x="4540681" y="3544462"/>
              <a:ext cx="94916" cy="213561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06" name="Freeform 165">
              <a:extLst>
                <a:ext uri="{FF2B5EF4-FFF2-40B4-BE49-F238E27FC236}">
                  <a16:creationId xmlns:a16="http://schemas.microsoft.com/office/drawing/2014/main" xmlns="" id="{F4D288E8-E977-4A56-B319-2CE3D0612362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gray">
            <a:xfrm>
              <a:off x="5037507" y="4480276"/>
              <a:ext cx="124577" cy="154239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13" name="Freeform 166">
              <a:extLst>
                <a:ext uri="{FF2B5EF4-FFF2-40B4-BE49-F238E27FC236}">
                  <a16:creationId xmlns:a16="http://schemas.microsoft.com/office/drawing/2014/main" xmlns="" id="{AAC25FFA-926F-4A85-8A8C-B5B1B5FCECBB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gray">
            <a:xfrm>
              <a:off x="3990464" y="3829210"/>
              <a:ext cx="189832" cy="195764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14" name="Freeform 167">
              <a:extLst>
                <a:ext uri="{FF2B5EF4-FFF2-40B4-BE49-F238E27FC236}">
                  <a16:creationId xmlns:a16="http://schemas.microsoft.com/office/drawing/2014/main" xmlns="" id="{3BB875EE-9F3A-4C1E-ACEC-94A0E1B9639E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gray">
            <a:xfrm>
              <a:off x="4866955" y="4816931"/>
              <a:ext cx="265468" cy="272884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15" name="Freeform 168">
              <a:extLst>
                <a:ext uri="{FF2B5EF4-FFF2-40B4-BE49-F238E27FC236}">
                  <a16:creationId xmlns:a16="http://schemas.microsoft.com/office/drawing/2014/main" xmlns="" id="{2B67AA89-C905-4C16-8865-68753F4A282E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gray">
            <a:xfrm>
              <a:off x="4944075" y="5018627"/>
              <a:ext cx="176484" cy="195764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16" name="Freeform 169">
              <a:extLst>
                <a:ext uri="{FF2B5EF4-FFF2-40B4-BE49-F238E27FC236}">
                  <a16:creationId xmlns:a16="http://schemas.microsoft.com/office/drawing/2014/main" xmlns="" id="{85F9D7A7-8BCE-4027-8CDB-28B6B813F0D8}"/>
                </a:ext>
              </a:extLst>
            </p:cNvPr>
            <p:cNvSpPr>
              <a:spLocks noEditPoints="1"/>
            </p:cNvSpPr>
            <p:nvPr>
              <p:custDataLst>
                <p:tags r:id="rId168"/>
              </p:custDataLst>
            </p:nvPr>
          </p:nvSpPr>
          <p:spPr bwMode="gray">
            <a:xfrm>
              <a:off x="2725411" y="5190663"/>
              <a:ext cx="443436" cy="1023314"/>
            </a:xfrm>
            <a:custGeom>
              <a:avLst/>
              <a:gdLst/>
              <a:ahLst/>
              <a:cxnLst>
                <a:cxn ang="0">
                  <a:pos x="28" y="351"/>
                </a:cxn>
                <a:cxn ang="0">
                  <a:pos x="40" y="327"/>
                </a:cxn>
                <a:cxn ang="0">
                  <a:pos x="40" y="291"/>
                </a:cxn>
                <a:cxn ang="0">
                  <a:pos x="48" y="259"/>
                </a:cxn>
                <a:cxn ang="0">
                  <a:pos x="56" y="223"/>
                </a:cxn>
                <a:cxn ang="0">
                  <a:pos x="44" y="187"/>
                </a:cxn>
                <a:cxn ang="0">
                  <a:pos x="56" y="155"/>
                </a:cxn>
                <a:cxn ang="0">
                  <a:pos x="64" y="123"/>
                </a:cxn>
                <a:cxn ang="0">
                  <a:pos x="76" y="91"/>
                </a:cxn>
                <a:cxn ang="0">
                  <a:pos x="80" y="52"/>
                </a:cxn>
                <a:cxn ang="0">
                  <a:pos x="96" y="24"/>
                </a:cxn>
                <a:cxn ang="0">
                  <a:pos x="112" y="4"/>
                </a:cxn>
                <a:cxn ang="0">
                  <a:pos x="139" y="24"/>
                </a:cxn>
                <a:cxn ang="0">
                  <a:pos x="167" y="12"/>
                </a:cxn>
                <a:cxn ang="0">
                  <a:pos x="187" y="40"/>
                </a:cxn>
                <a:cxn ang="0">
                  <a:pos x="223" y="60"/>
                </a:cxn>
                <a:cxn ang="0">
                  <a:pos x="235" y="84"/>
                </a:cxn>
                <a:cxn ang="0">
                  <a:pos x="239" y="107"/>
                </a:cxn>
                <a:cxn ang="0">
                  <a:pos x="271" y="107"/>
                </a:cxn>
                <a:cxn ang="0">
                  <a:pos x="291" y="76"/>
                </a:cxn>
                <a:cxn ang="0">
                  <a:pos x="295" y="103"/>
                </a:cxn>
                <a:cxn ang="0">
                  <a:pos x="267" y="123"/>
                </a:cxn>
                <a:cxn ang="0">
                  <a:pos x="255" y="147"/>
                </a:cxn>
                <a:cxn ang="0">
                  <a:pos x="235" y="183"/>
                </a:cxn>
                <a:cxn ang="0">
                  <a:pos x="231" y="215"/>
                </a:cxn>
                <a:cxn ang="0">
                  <a:pos x="231" y="251"/>
                </a:cxn>
                <a:cxn ang="0">
                  <a:pos x="247" y="283"/>
                </a:cxn>
                <a:cxn ang="0">
                  <a:pos x="243" y="315"/>
                </a:cxn>
                <a:cxn ang="0">
                  <a:pos x="207" y="339"/>
                </a:cxn>
                <a:cxn ang="0">
                  <a:pos x="167" y="335"/>
                </a:cxn>
                <a:cxn ang="0">
                  <a:pos x="171" y="355"/>
                </a:cxn>
                <a:cxn ang="0">
                  <a:pos x="163" y="383"/>
                </a:cxn>
                <a:cxn ang="0">
                  <a:pos x="131" y="375"/>
                </a:cxn>
                <a:cxn ang="0">
                  <a:pos x="135" y="407"/>
                </a:cxn>
                <a:cxn ang="0">
                  <a:pos x="151" y="415"/>
                </a:cxn>
                <a:cxn ang="0">
                  <a:pos x="135" y="423"/>
                </a:cxn>
                <a:cxn ang="0">
                  <a:pos x="127" y="443"/>
                </a:cxn>
                <a:cxn ang="0">
                  <a:pos x="104" y="471"/>
                </a:cxn>
                <a:cxn ang="0">
                  <a:pos x="92" y="503"/>
                </a:cxn>
                <a:cxn ang="0">
                  <a:pos x="116" y="526"/>
                </a:cxn>
                <a:cxn ang="0">
                  <a:pos x="96" y="546"/>
                </a:cxn>
                <a:cxn ang="0">
                  <a:pos x="88" y="574"/>
                </a:cxn>
                <a:cxn ang="0">
                  <a:pos x="80" y="578"/>
                </a:cxn>
                <a:cxn ang="0">
                  <a:pos x="68" y="606"/>
                </a:cxn>
                <a:cxn ang="0">
                  <a:pos x="76" y="626"/>
                </a:cxn>
                <a:cxn ang="0">
                  <a:pos x="36" y="622"/>
                </a:cxn>
                <a:cxn ang="0">
                  <a:pos x="16" y="590"/>
                </a:cxn>
                <a:cxn ang="0">
                  <a:pos x="0" y="574"/>
                </a:cxn>
                <a:cxn ang="0">
                  <a:pos x="16" y="550"/>
                </a:cxn>
                <a:cxn ang="0">
                  <a:pos x="20" y="523"/>
                </a:cxn>
                <a:cxn ang="0">
                  <a:pos x="28" y="491"/>
                </a:cxn>
                <a:cxn ang="0">
                  <a:pos x="24" y="463"/>
                </a:cxn>
                <a:cxn ang="0">
                  <a:pos x="24" y="447"/>
                </a:cxn>
                <a:cxn ang="0">
                  <a:pos x="20" y="423"/>
                </a:cxn>
                <a:cxn ang="0">
                  <a:pos x="24" y="391"/>
                </a:cxn>
                <a:cxn ang="0">
                  <a:pos x="80" y="642"/>
                </a:cxn>
                <a:cxn ang="0">
                  <a:pos x="92" y="666"/>
                </a:cxn>
                <a:cxn ang="0">
                  <a:pos x="124" y="686"/>
                </a:cxn>
                <a:cxn ang="0">
                  <a:pos x="84" y="686"/>
                </a:cxn>
                <a:cxn ang="0">
                  <a:pos x="76" y="634"/>
                </a:cxn>
                <a:cxn ang="0">
                  <a:pos x="143" y="682"/>
                </a:cxn>
              </a:cxnLst>
              <a:rect l="0" t="0" r="r" b="b"/>
              <a:pathLst>
                <a:path w="299" h="690">
                  <a:moveTo>
                    <a:pt x="24" y="383"/>
                  </a:moveTo>
                  <a:lnTo>
                    <a:pt x="24" y="379"/>
                  </a:lnTo>
                  <a:lnTo>
                    <a:pt x="24" y="375"/>
                  </a:lnTo>
                  <a:lnTo>
                    <a:pt x="24" y="371"/>
                  </a:lnTo>
                  <a:lnTo>
                    <a:pt x="28" y="371"/>
                  </a:lnTo>
                  <a:lnTo>
                    <a:pt x="28" y="367"/>
                  </a:lnTo>
                  <a:lnTo>
                    <a:pt x="24" y="367"/>
                  </a:lnTo>
                  <a:lnTo>
                    <a:pt x="28" y="363"/>
                  </a:lnTo>
                  <a:lnTo>
                    <a:pt x="28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55"/>
                  </a:lnTo>
                  <a:lnTo>
                    <a:pt x="32" y="355"/>
                  </a:lnTo>
                  <a:lnTo>
                    <a:pt x="32" y="351"/>
                  </a:lnTo>
                  <a:lnTo>
                    <a:pt x="32" y="347"/>
                  </a:lnTo>
                  <a:lnTo>
                    <a:pt x="32" y="343"/>
                  </a:lnTo>
                  <a:lnTo>
                    <a:pt x="32" y="339"/>
                  </a:lnTo>
                  <a:lnTo>
                    <a:pt x="36" y="339"/>
                  </a:lnTo>
                  <a:lnTo>
                    <a:pt x="36" y="335"/>
                  </a:lnTo>
                  <a:lnTo>
                    <a:pt x="40" y="335"/>
                  </a:lnTo>
                  <a:lnTo>
                    <a:pt x="40" y="331"/>
                  </a:lnTo>
                  <a:lnTo>
                    <a:pt x="40" y="327"/>
                  </a:lnTo>
                  <a:lnTo>
                    <a:pt x="40" y="323"/>
                  </a:lnTo>
                  <a:lnTo>
                    <a:pt x="36" y="319"/>
                  </a:lnTo>
                  <a:lnTo>
                    <a:pt x="36" y="315"/>
                  </a:lnTo>
                  <a:lnTo>
                    <a:pt x="36" y="311"/>
                  </a:lnTo>
                  <a:lnTo>
                    <a:pt x="36" y="307"/>
                  </a:lnTo>
                  <a:lnTo>
                    <a:pt x="36" y="303"/>
                  </a:lnTo>
                  <a:lnTo>
                    <a:pt x="36" y="299"/>
                  </a:lnTo>
                  <a:lnTo>
                    <a:pt x="36" y="295"/>
                  </a:lnTo>
                  <a:lnTo>
                    <a:pt x="36" y="291"/>
                  </a:lnTo>
                  <a:lnTo>
                    <a:pt x="40" y="287"/>
                  </a:lnTo>
                  <a:lnTo>
                    <a:pt x="40" y="291"/>
                  </a:lnTo>
                  <a:lnTo>
                    <a:pt x="44" y="287"/>
                  </a:lnTo>
                  <a:lnTo>
                    <a:pt x="44" y="283"/>
                  </a:lnTo>
                  <a:lnTo>
                    <a:pt x="48" y="283"/>
                  </a:lnTo>
                  <a:lnTo>
                    <a:pt x="48" y="279"/>
                  </a:lnTo>
                  <a:lnTo>
                    <a:pt x="48" y="275"/>
                  </a:lnTo>
                  <a:lnTo>
                    <a:pt x="48" y="271"/>
                  </a:lnTo>
                  <a:lnTo>
                    <a:pt x="48" y="267"/>
                  </a:lnTo>
                  <a:lnTo>
                    <a:pt x="44" y="267"/>
                  </a:lnTo>
                  <a:lnTo>
                    <a:pt x="44" y="263"/>
                  </a:lnTo>
                  <a:lnTo>
                    <a:pt x="48" y="263"/>
                  </a:lnTo>
                  <a:lnTo>
                    <a:pt x="48" y="259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52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56" y="243"/>
                  </a:lnTo>
                  <a:lnTo>
                    <a:pt x="56" y="239"/>
                  </a:lnTo>
                  <a:lnTo>
                    <a:pt x="56" y="235"/>
                  </a:lnTo>
                  <a:lnTo>
                    <a:pt x="56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2" y="223"/>
                  </a:lnTo>
                  <a:lnTo>
                    <a:pt x="52" y="219"/>
                  </a:lnTo>
                  <a:lnTo>
                    <a:pt x="52" y="215"/>
                  </a:lnTo>
                  <a:lnTo>
                    <a:pt x="52" y="211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8" y="203"/>
                  </a:lnTo>
                  <a:lnTo>
                    <a:pt x="48" y="199"/>
                  </a:lnTo>
                  <a:lnTo>
                    <a:pt x="48" y="195"/>
                  </a:lnTo>
                  <a:lnTo>
                    <a:pt x="44" y="191"/>
                  </a:lnTo>
                  <a:lnTo>
                    <a:pt x="44" y="187"/>
                  </a:lnTo>
                  <a:lnTo>
                    <a:pt x="44" y="183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52" y="171"/>
                  </a:lnTo>
                  <a:lnTo>
                    <a:pt x="52" y="167"/>
                  </a:lnTo>
                  <a:lnTo>
                    <a:pt x="56" y="167"/>
                  </a:lnTo>
                  <a:lnTo>
                    <a:pt x="56" y="163"/>
                  </a:lnTo>
                  <a:lnTo>
                    <a:pt x="56" y="159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56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56" y="131"/>
                  </a:lnTo>
                  <a:lnTo>
                    <a:pt x="60" y="131"/>
                  </a:lnTo>
                  <a:lnTo>
                    <a:pt x="60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8" y="119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72" y="107"/>
                  </a:lnTo>
                  <a:lnTo>
                    <a:pt x="72" y="103"/>
                  </a:lnTo>
                  <a:lnTo>
                    <a:pt x="76" y="103"/>
                  </a:lnTo>
                  <a:lnTo>
                    <a:pt x="80" y="103"/>
                  </a:lnTo>
                  <a:lnTo>
                    <a:pt x="80" y="99"/>
                  </a:lnTo>
                  <a:lnTo>
                    <a:pt x="76" y="95"/>
                  </a:lnTo>
                  <a:lnTo>
                    <a:pt x="76" y="91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76" y="60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5" y="12"/>
                  </a:lnTo>
                  <a:lnTo>
                    <a:pt x="135" y="16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12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3" y="12"/>
                  </a:lnTo>
                  <a:lnTo>
                    <a:pt x="167" y="12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7" y="40"/>
                  </a:lnTo>
                  <a:lnTo>
                    <a:pt x="191" y="40"/>
                  </a:lnTo>
                  <a:lnTo>
                    <a:pt x="195" y="40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9" y="56"/>
                  </a:lnTo>
                  <a:lnTo>
                    <a:pt x="223" y="60"/>
                  </a:lnTo>
                  <a:lnTo>
                    <a:pt x="227" y="60"/>
                  </a:lnTo>
                  <a:lnTo>
                    <a:pt x="231" y="64"/>
                  </a:lnTo>
                  <a:lnTo>
                    <a:pt x="235" y="64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76"/>
                  </a:lnTo>
                  <a:lnTo>
                    <a:pt x="239" y="76"/>
                  </a:lnTo>
                  <a:lnTo>
                    <a:pt x="239" y="80"/>
                  </a:lnTo>
                  <a:lnTo>
                    <a:pt x="235" y="80"/>
                  </a:lnTo>
                  <a:lnTo>
                    <a:pt x="235" y="84"/>
                  </a:lnTo>
                  <a:lnTo>
                    <a:pt x="231" y="88"/>
                  </a:lnTo>
                  <a:lnTo>
                    <a:pt x="231" y="91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27" y="99"/>
                  </a:lnTo>
                  <a:lnTo>
                    <a:pt x="227" y="103"/>
                  </a:lnTo>
                  <a:lnTo>
                    <a:pt x="223" y="103"/>
                  </a:lnTo>
                  <a:lnTo>
                    <a:pt x="227" y="107"/>
                  </a:lnTo>
                  <a:lnTo>
                    <a:pt x="231" y="107"/>
                  </a:lnTo>
                  <a:lnTo>
                    <a:pt x="235" y="107"/>
                  </a:lnTo>
                  <a:lnTo>
                    <a:pt x="239" y="107"/>
                  </a:lnTo>
                  <a:lnTo>
                    <a:pt x="243" y="111"/>
                  </a:lnTo>
                  <a:lnTo>
                    <a:pt x="247" y="111"/>
                  </a:lnTo>
                  <a:lnTo>
                    <a:pt x="251" y="111"/>
                  </a:lnTo>
                  <a:lnTo>
                    <a:pt x="255" y="111"/>
                  </a:lnTo>
                  <a:lnTo>
                    <a:pt x="259" y="111"/>
                  </a:lnTo>
                  <a:lnTo>
                    <a:pt x="259" y="107"/>
                  </a:lnTo>
                  <a:lnTo>
                    <a:pt x="263" y="107"/>
                  </a:lnTo>
                  <a:lnTo>
                    <a:pt x="267" y="107"/>
                  </a:lnTo>
                  <a:lnTo>
                    <a:pt x="267" y="111"/>
                  </a:lnTo>
                  <a:lnTo>
                    <a:pt x="271" y="111"/>
                  </a:lnTo>
                  <a:lnTo>
                    <a:pt x="271" y="107"/>
                  </a:lnTo>
                  <a:lnTo>
                    <a:pt x="271" y="103"/>
                  </a:lnTo>
                  <a:lnTo>
                    <a:pt x="275" y="99"/>
                  </a:lnTo>
                  <a:lnTo>
                    <a:pt x="279" y="99"/>
                  </a:lnTo>
                  <a:lnTo>
                    <a:pt x="279" y="95"/>
                  </a:lnTo>
                  <a:lnTo>
                    <a:pt x="283" y="95"/>
                  </a:lnTo>
                  <a:lnTo>
                    <a:pt x="283" y="91"/>
                  </a:lnTo>
                  <a:lnTo>
                    <a:pt x="287" y="88"/>
                  </a:lnTo>
                  <a:lnTo>
                    <a:pt x="287" y="84"/>
                  </a:lnTo>
                  <a:lnTo>
                    <a:pt x="287" y="80"/>
                  </a:lnTo>
                  <a:lnTo>
                    <a:pt x="287" y="76"/>
                  </a:lnTo>
                  <a:lnTo>
                    <a:pt x="291" y="76"/>
                  </a:lnTo>
                  <a:lnTo>
                    <a:pt x="291" y="72"/>
                  </a:lnTo>
                  <a:lnTo>
                    <a:pt x="295" y="72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4"/>
                  </a:lnTo>
                  <a:lnTo>
                    <a:pt x="299" y="88"/>
                  </a:lnTo>
                  <a:lnTo>
                    <a:pt x="299" y="91"/>
                  </a:lnTo>
                  <a:lnTo>
                    <a:pt x="299" y="95"/>
                  </a:lnTo>
                  <a:lnTo>
                    <a:pt x="299" y="99"/>
                  </a:lnTo>
                  <a:lnTo>
                    <a:pt x="299" y="103"/>
                  </a:lnTo>
                  <a:lnTo>
                    <a:pt x="295" y="103"/>
                  </a:lnTo>
                  <a:lnTo>
                    <a:pt x="295" y="107"/>
                  </a:lnTo>
                  <a:lnTo>
                    <a:pt x="291" y="107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3" y="111"/>
                  </a:lnTo>
                  <a:lnTo>
                    <a:pt x="283" y="115"/>
                  </a:lnTo>
                  <a:lnTo>
                    <a:pt x="279" y="119"/>
                  </a:lnTo>
                  <a:lnTo>
                    <a:pt x="275" y="119"/>
                  </a:lnTo>
                  <a:lnTo>
                    <a:pt x="275" y="123"/>
                  </a:lnTo>
                  <a:lnTo>
                    <a:pt x="271" y="123"/>
                  </a:lnTo>
                  <a:lnTo>
                    <a:pt x="267" y="123"/>
                  </a:lnTo>
                  <a:lnTo>
                    <a:pt x="267" y="127"/>
                  </a:lnTo>
                  <a:lnTo>
                    <a:pt x="271" y="127"/>
                  </a:lnTo>
                  <a:lnTo>
                    <a:pt x="267" y="127"/>
                  </a:lnTo>
                  <a:lnTo>
                    <a:pt x="267" y="131"/>
                  </a:lnTo>
                  <a:lnTo>
                    <a:pt x="263" y="131"/>
                  </a:lnTo>
                  <a:lnTo>
                    <a:pt x="263" y="135"/>
                  </a:lnTo>
                  <a:lnTo>
                    <a:pt x="259" y="135"/>
                  </a:lnTo>
                  <a:lnTo>
                    <a:pt x="259" y="139"/>
                  </a:lnTo>
                  <a:lnTo>
                    <a:pt x="259" y="143"/>
                  </a:lnTo>
                  <a:lnTo>
                    <a:pt x="255" y="143"/>
                  </a:lnTo>
                  <a:lnTo>
                    <a:pt x="255" y="147"/>
                  </a:lnTo>
                  <a:lnTo>
                    <a:pt x="251" y="151"/>
                  </a:lnTo>
                  <a:lnTo>
                    <a:pt x="251" y="155"/>
                  </a:lnTo>
                  <a:lnTo>
                    <a:pt x="247" y="155"/>
                  </a:lnTo>
                  <a:lnTo>
                    <a:pt x="243" y="159"/>
                  </a:lnTo>
                  <a:lnTo>
                    <a:pt x="243" y="163"/>
                  </a:lnTo>
                  <a:lnTo>
                    <a:pt x="239" y="163"/>
                  </a:lnTo>
                  <a:lnTo>
                    <a:pt x="239" y="167"/>
                  </a:lnTo>
                  <a:lnTo>
                    <a:pt x="235" y="171"/>
                  </a:lnTo>
                  <a:lnTo>
                    <a:pt x="239" y="175"/>
                  </a:lnTo>
                  <a:lnTo>
                    <a:pt x="235" y="179"/>
                  </a:lnTo>
                  <a:lnTo>
                    <a:pt x="235" y="183"/>
                  </a:lnTo>
                  <a:lnTo>
                    <a:pt x="235" y="187"/>
                  </a:lnTo>
                  <a:lnTo>
                    <a:pt x="235" y="191"/>
                  </a:lnTo>
                  <a:lnTo>
                    <a:pt x="235" y="195"/>
                  </a:lnTo>
                  <a:lnTo>
                    <a:pt x="231" y="195"/>
                  </a:lnTo>
                  <a:lnTo>
                    <a:pt x="231" y="199"/>
                  </a:lnTo>
                  <a:lnTo>
                    <a:pt x="231" y="203"/>
                  </a:lnTo>
                  <a:lnTo>
                    <a:pt x="235" y="203"/>
                  </a:lnTo>
                  <a:lnTo>
                    <a:pt x="235" y="207"/>
                  </a:lnTo>
                  <a:lnTo>
                    <a:pt x="231" y="207"/>
                  </a:lnTo>
                  <a:lnTo>
                    <a:pt x="231" y="211"/>
                  </a:lnTo>
                  <a:lnTo>
                    <a:pt x="231" y="215"/>
                  </a:lnTo>
                  <a:lnTo>
                    <a:pt x="231" y="219"/>
                  </a:lnTo>
                  <a:lnTo>
                    <a:pt x="227" y="219"/>
                  </a:lnTo>
                  <a:lnTo>
                    <a:pt x="227" y="223"/>
                  </a:lnTo>
                  <a:lnTo>
                    <a:pt x="227" y="227"/>
                  </a:lnTo>
                  <a:lnTo>
                    <a:pt x="227" y="231"/>
                  </a:lnTo>
                  <a:lnTo>
                    <a:pt x="227" y="235"/>
                  </a:lnTo>
                  <a:lnTo>
                    <a:pt x="227" y="239"/>
                  </a:lnTo>
                  <a:lnTo>
                    <a:pt x="227" y="243"/>
                  </a:lnTo>
                  <a:lnTo>
                    <a:pt x="227" y="247"/>
                  </a:lnTo>
                  <a:lnTo>
                    <a:pt x="227" y="251"/>
                  </a:lnTo>
                  <a:lnTo>
                    <a:pt x="231" y="251"/>
                  </a:lnTo>
                  <a:lnTo>
                    <a:pt x="231" y="255"/>
                  </a:lnTo>
                  <a:lnTo>
                    <a:pt x="235" y="255"/>
                  </a:lnTo>
                  <a:lnTo>
                    <a:pt x="239" y="255"/>
                  </a:lnTo>
                  <a:lnTo>
                    <a:pt x="243" y="259"/>
                  </a:lnTo>
                  <a:lnTo>
                    <a:pt x="243" y="263"/>
                  </a:lnTo>
                  <a:lnTo>
                    <a:pt x="247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43" y="275"/>
                  </a:lnTo>
                  <a:lnTo>
                    <a:pt x="243" y="279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55" y="287"/>
                  </a:lnTo>
                  <a:lnTo>
                    <a:pt x="255" y="291"/>
                  </a:lnTo>
                  <a:lnTo>
                    <a:pt x="255" y="295"/>
                  </a:lnTo>
                  <a:lnTo>
                    <a:pt x="255" y="299"/>
                  </a:lnTo>
                  <a:lnTo>
                    <a:pt x="251" y="303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3" y="315"/>
                  </a:lnTo>
                  <a:lnTo>
                    <a:pt x="243" y="319"/>
                  </a:lnTo>
                  <a:lnTo>
                    <a:pt x="243" y="323"/>
                  </a:lnTo>
                  <a:lnTo>
                    <a:pt x="239" y="323"/>
                  </a:lnTo>
                  <a:lnTo>
                    <a:pt x="239" y="327"/>
                  </a:lnTo>
                  <a:lnTo>
                    <a:pt x="231" y="327"/>
                  </a:lnTo>
                  <a:lnTo>
                    <a:pt x="231" y="331"/>
                  </a:lnTo>
                  <a:lnTo>
                    <a:pt x="223" y="331"/>
                  </a:lnTo>
                  <a:lnTo>
                    <a:pt x="219" y="335"/>
                  </a:lnTo>
                  <a:lnTo>
                    <a:pt x="215" y="335"/>
                  </a:lnTo>
                  <a:lnTo>
                    <a:pt x="211" y="335"/>
                  </a:lnTo>
                  <a:lnTo>
                    <a:pt x="207" y="339"/>
                  </a:lnTo>
                  <a:lnTo>
                    <a:pt x="203" y="339"/>
                  </a:lnTo>
                  <a:lnTo>
                    <a:pt x="199" y="339"/>
                  </a:lnTo>
                  <a:lnTo>
                    <a:pt x="195" y="339"/>
                  </a:lnTo>
                  <a:lnTo>
                    <a:pt x="191" y="339"/>
                  </a:lnTo>
                  <a:lnTo>
                    <a:pt x="187" y="339"/>
                  </a:lnTo>
                  <a:lnTo>
                    <a:pt x="183" y="339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9"/>
                  </a:lnTo>
                  <a:lnTo>
                    <a:pt x="171" y="339"/>
                  </a:lnTo>
                  <a:lnTo>
                    <a:pt x="171" y="343"/>
                  </a:lnTo>
                  <a:lnTo>
                    <a:pt x="167" y="343"/>
                  </a:lnTo>
                  <a:lnTo>
                    <a:pt x="167" y="347"/>
                  </a:lnTo>
                  <a:lnTo>
                    <a:pt x="171" y="347"/>
                  </a:lnTo>
                  <a:lnTo>
                    <a:pt x="175" y="347"/>
                  </a:lnTo>
                  <a:lnTo>
                    <a:pt x="175" y="351"/>
                  </a:lnTo>
                  <a:lnTo>
                    <a:pt x="171" y="347"/>
                  </a:lnTo>
                  <a:lnTo>
                    <a:pt x="171" y="351"/>
                  </a:lnTo>
                  <a:lnTo>
                    <a:pt x="171" y="355"/>
                  </a:lnTo>
                  <a:lnTo>
                    <a:pt x="171" y="359"/>
                  </a:lnTo>
                  <a:lnTo>
                    <a:pt x="167" y="363"/>
                  </a:lnTo>
                  <a:lnTo>
                    <a:pt x="167" y="367"/>
                  </a:lnTo>
                  <a:lnTo>
                    <a:pt x="167" y="371"/>
                  </a:lnTo>
                  <a:lnTo>
                    <a:pt x="171" y="371"/>
                  </a:lnTo>
                  <a:lnTo>
                    <a:pt x="171" y="375"/>
                  </a:lnTo>
                  <a:lnTo>
                    <a:pt x="167" y="375"/>
                  </a:lnTo>
                  <a:lnTo>
                    <a:pt x="171" y="375"/>
                  </a:lnTo>
                  <a:lnTo>
                    <a:pt x="171" y="379"/>
                  </a:lnTo>
                  <a:lnTo>
                    <a:pt x="167" y="379"/>
                  </a:lnTo>
                  <a:lnTo>
                    <a:pt x="163" y="383"/>
                  </a:lnTo>
                  <a:lnTo>
                    <a:pt x="159" y="383"/>
                  </a:lnTo>
                  <a:lnTo>
                    <a:pt x="159" y="387"/>
                  </a:lnTo>
                  <a:lnTo>
                    <a:pt x="155" y="387"/>
                  </a:lnTo>
                  <a:lnTo>
                    <a:pt x="151" y="387"/>
                  </a:lnTo>
                  <a:lnTo>
                    <a:pt x="147" y="387"/>
                  </a:lnTo>
                  <a:lnTo>
                    <a:pt x="147" y="383"/>
                  </a:lnTo>
                  <a:lnTo>
                    <a:pt x="143" y="383"/>
                  </a:lnTo>
                  <a:lnTo>
                    <a:pt x="139" y="383"/>
                  </a:lnTo>
                  <a:lnTo>
                    <a:pt x="135" y="379"/>
                  </a:lnTo>
                  <a:lnTo>
                    <a:pt x="131" y="379"/>
                  </a:lnTo>
                  <a:lnTo>
                    <a:pt x="131" y="375"/>
                  </a:lnTo>
                  <a:lnTo>
                    <a:pt x="127" y="375"/>
                  </a:lnTo>
                  <a:lnTo>
                    <a:pt x="127" y="379"/>
                  </a:lnTo>
                  <a:lnTo>
                    <a:pt x="127" y="383"/>
                  </a:lnTo>
                  <a:lnTo>
                    <a:pt x="127" y="387"/>
                  </a:lnTo>
                  <a:lnTo>
                    <a:pt x="127" y="391"/>
                  </a:lnTo>
                  <a:lnTo>
                    <a:pt x="127" y="395"/>
                  </a:lnTo>
                  <a:lnTo>
                    <a:pt x="127" y="399"/>
                  </a:lnTo>
                  <a:lnTo>
                    <a:pt x="127" y="403"/>
                  </a:lnTo>
                  <a:lnTo>
                    <a:pt x="127" y="407"/>
                  </a:lnTo>
                  <a:lnTo>
                    <a:pt x="131" y="407"/>
                  </a:lnTo>
                  <a:lnTo>
                    <a:pt x="135" y="407"/>
                  </a:lnTo>
                  <a:lnTo>
                    <a:pt x="135" y="411"/>
                  </a:lnTo>
                  <a:lnTo>
                    <a:pt x="143" y="411"/>
                  </a:lnTo>
                  <a:lnTo>
                    <a:pt x="143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9"/>
                  </a:lnTo>
                  <a:lnTo>
                    <a:pt x="147" y="419"/>
                  </a:lnTo>
                  <a:lnTo>
                    <a:pt x="143" y="423"/>
                  </a:lnTo>
                  <a:lnTo>
                    <a:pt x="139" y="419"/>
                  </a:lnTo>
                  <a:lnTo>
                    <a:pt x="139" y="415"/>
                  </a:lnTo>
                  <a:lnTo>
                    <a:pt x="135" y="415"/>
                  </a:lnTo>
                  <a:lnTo>
                    <a:pt x="131" y="415"/>
                  </a:lnTo>
                  <a:lnTo>
                    <a:pt x="127" y="419"/>
                  </a:lnTo>
                  <a:lnTo>
                    <a:pt x="131" y="419"/>
                  </a:lnTo>
                  <a:lnTo>
                    <a:pt x="131" y="423"/>
                  </a:lnTo>
                  <a:lnTo>
                    <a:pt x="135" y="423"/>
                  </a:lnTo>
                  <a:lnTo>
                    <a:pt x="139" y="423"/>
                  </a:lnTo>
                  <a:lnTo>
                    <a:pt x="139" y="427"/>
                  </a:lnTo>
                  <a:lnTo>
                    <a:pt x="135" y="427"/>
                  </a:lnTo>
                  <a:lnTo>
                    <a:pt x="131" y="427"/>
                  </a:lnTo>
                  <a:lnTo>
                    <a:pt x="131" y="431"/>
                  </a:lnTo>
                  <a:lnTo>
                    <a:pt x="127" y="431"/>
                  </a:lnTo>
                  <a:lnTo>
                    <a:pt x="127" y="435"/>
                  </a:lnTo>
                  <a:lnTo>
                    <a:pt x="124" y="435"/>
                  </a:lnTo>
                  <a:lnTo>
                    <a:pt x="124" y="439"/>
                  </a:lnTo>
                  <a:lnTo>
                    <a:pt x="124" y="443"/>
                  </a:lnTo>
                  <a:lnTo>
                    <a:pt x="127" y="443"/>
                  </a:lnTo>
                  <a:lnTo>
                    <a:pt x="124" y="447"/>
                  </a:lnTo>
                  <a:lnTo>
                    <a:pt x="124" y="451"/>
                  </a:lnTo>
                  <a:lnTo>
                    <a:pt x="124" y="455"/>
                  </a:lnTo>
                  <a:lnTo>
                    <a:pt x="120" y="459"/>
                  </a:lnTo>
                  <a:lnTo>
                    <a:pt x="120" y="463"/>
                  </a:lnTo>
                  <a:lnTo>
                    <a:pt x="120" y="467"/>
                  </a:lnTo>
                  <a:lnTo>
                    <a:pt x="116" y="467"/>
                  </a:lnTo>
                  <a:lnTo>
                    <a:pt x="112" y="467"/>
                  </a:lnTo>
                  <a:lnTo>
                    <a:pt x="108" y="467"/>
                  </a:lnTo>
                  <a:lnTo>
                    <a:pt x="108" y="471"/>
                  </a:lnTo>
                  <a:lnTo>
                    <a:pt x="104" y="471"/>
                  </a:lnTo>
                  <a:lnTo>
                    <a:pt x="100" y="471"/>
                  </a:lnTo>
                  <a:lnTo>
                    <a:pt x="100" y="475"/>
                  </a:lnTo>
                  <a:lnTo>
                    <a:pt x="96" y="475"/>
                  </a:lnTo>
                  <a:lnTo>
                    <a:pt x="96" y="479"/>
                  </a:lnTo>
                  <a:lnTo>
                    <a:pt x="92" y="479"/>
                  </a:lnTo>
                  <a:lnTo>
                    <a:pt x="92" y="483"/>
                  </a:lnTo>
                  <a:lnTo>
                    <a:pt x="92" y="487"/>
                  </a:lnTo>
                  <a:lnTo>
                    <a:pt x="88" y="491"/>
                  </a:lnTo>
                  <a:lnTo>
                    <a:pt x="92" y="495"/>
                  </a:lnTo>
                  <a:lnTo>
                    <a:pt x="92" y="499"/>
                  </a:lnTo>
                  <a:lnTo>
                    <a:pt x="92" y="503"/>
                  </a:lnTo>
                  <a:lnTo>
                    <a:pt x="96" y="503"/>
                  </a:lnTo>
                  <a:lnTo>
                    <a:pt x="100" y="507"/>
                  </a:lnTo>
                  <a:lnTo>
                    <a:pt x="100" y="511"/>
                  </a:lnTo>
                  <a:lnTo>
                    <a:pt x="104" y="511"/>
                  </a:lnTo>
                  <a:lnTo>
                    <a:pt x="108" y="511"/>
                  </a:lnTo>
                  <a:lnTo>
                    <a:pt x="112" y="511"/>
                  </a:lnTo>
                  <a:lnTo>
                    <a:pt x="116" y="511"/>
                  </a:lnTo>
                  <a:lnTo>
                    <a:pt x="116" y="515"/>
                  </a:lnTo>
                  <a:lnTo>
                    <a:pt x="120" y="519"/>
                  </a:lnTo>
                  <a:lnTo>
                    <a:pt x="116" y="523"/>
                  </a:lnTo>
                  <a:lnTo>
                    <a:pt x="116" y="526"/>
                  </a:lnTo>
                  <a:lnTo>
                    <a:pt x="112" y="526"/>
                  </a:lnTo>
                  <a:lnTo>
                    <a:pt x="116" y="526"/>
                  </a:lnTo>
                  <a:lnTo>
                    <a:pt x="116" y="530"/>
                  </a:lnTo>
                  <a:lnTo>
                    <a:pt x="116" y="534"/>
                  </a:lnTo>
                  <a:lnTo>
                    <a:pt x="112" y="534"/>
                  </a:lnTo>
                  <a:lnTo>
                    <a:pt x="108" y="538"/>
                  </a:lnTo>
                  <a:lnTo>
                    <a:pt x="104" y="538"/>
                  </a:lnTo>
                  <a:lnTo>
                    <a:pt x="104" y="542"/>
                  </a:lnTo>
                  <a:lnTo>
                    <a:pt x="100" y="542"/>
                  </a:lnTo>
                  <a:lnTo>
                    <a:pt x="100" y="546"/>
                  </a:lnTo>
                  <a:lnTo>
                    <a:pt x="96" y="546"/>
                  </a:lnTo>
                  <a:lnTo>
                    <a:pt x="96" y="550"/>
                  </a:lnTo>
                  <a:lnTo>
                    <a:pt x="92" y="550"/>
                  </a:lnTo>
                  <a:lnTo>
                    <a:pt x="92" y="554"/>
                  </a:lnTo>
                  <a:lnTo>
                    <a:pt x="88" y="554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66"/>
                  </a:lnTo>
                  <a:lnTo>
                    <a:pt x="88" y="570"/>
                  </a:lnTo>
                  <a:lnTo>
                    <a:pt x="88" y="574"/>
                  </a:lnTo>
                  <a:lnTo>
                    <a:pt x="84" y="574"/>
                  </a:lnTo>
                  <a:lnTo>
                    <a:pt x="84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74"/>
                  </a:lnTo>
                  <a:lnTo>
                    <a:pt x="72" y="574"/>
                  </a:lnTo>
                  <a:lnTo>
                    <a:pt x="68" y="574"/>
                  </a:lnTo>
                  <a:lnTo>
                    <a:pt x="72" y="574"/>
                  </a:lnTo>
                  <a:lnTo>
                    <a:pt x="76" y="574"/>
                  </a:lnTo>
                  <a:lnTo>
                    <a:pt x="76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82"/>
                  </a:lnTo>
                  <a:lnTo>
                    <a:pt x="72" y="582"/>
                  </a:lnTo>
                  <a:lnTo>
                    <a:pt x="68" y="582"/>
                  </a:lnTo>
                  <a:lnTo>
                    <a:pt x="68" y="586"/>
                  </a:lnTo>
                  <a:lnTo>
                    <a:pt x="68" y="590"/>
                  </a:lnTo>
                  <a:lnTo>
                    <a:pt x="68" y="594"/>
                  </a:lnTo>
                  <a:lnTo>
                    <a:pt x="64" y="598"/>
                  </a:lnTo>
                  <a:lnTo>
                    <a:pt x="68" y="598"/>
                  </a:lnTo>
                  <a:lnTo>
                    <a:pt x="68" y="602"/>
                  </a:lnTo>
                  <a:lnTo>
                    <a:pt x="68" y="606"/>
                  </a:lnTo>
                  <a:lnTo>
                    <a:pt x="68" y="610"/>
                  </a:lnTo>
                  <a:lnTo>
                    <a:pt x="64" y="610"/>
                  </a:lnTo>
                  <a:lnTo>
                    <a:pt x="60" y="610"/>
                  </a:lnTo>
                  <a:lnTo>
                    <a:pt x="64" y="610"/>
                  </a:lnTo>
                  <a:lnTo>
                    <a:pt x="68" y="610"/>
                  </a:lnTo>
                  <a:lnTo>
                    <a:pt x="68" y="614"/>
                  </a:lnTo>
                  <a:lnTo>
                    <a:pt x="72" y="614"/>
                  </a:lnTo>
                  <a:lnTo>
                    <a:pt x="72" y="618"/>
                  </a:lnTo>
                  <a:lnTo>
                    <a:pt x="72" y="622"/>
                  </a:lnTo>
                  <a:lnTo>
                    <a:pt x="76" y="622"/>
                  </a:lnTo>
                  <a:lnTo>
                    <a:pt x="76" y="626"/>
                  </a:lnTo>
                  <a:lnTo>
                    <a:pt x="76" y="630"/>
                  </a:lnTo>
                  <a:lnTo>
                    <a:pt x="76" y="626"/>
                  </a:lnTo>
                  <a:lnTo>
                    <a:pt x="72" y="626"/>
                  </a:lnTo>
                  <a:lnTo>
                    <a:pt x="68" y="626"/>
                  </a:lnTo>
                  <a:lnTo>
                    <a:pt x="64" y="622"/>
                  </a:lnTo>
                  <a:lnTo>
                    <a:pt x="60" y="622"/>
                  </a:lnTo>
                  <a:lnTo>
                    <a:pt x="56" y="622"/>
                  </a:lnTo>
                  <a:lnTo>
                    <a:pt x="52" y="622"/>
                  </a:lnTo>
                  <a:lnTo>
                    <a:pt x="48" y="622"/>
                  </a:lnTo>
                  <a:lnTo>
                    <a:pt x="44" y="622"/>
                  </a:lnTo>
                  <a:lnTo>
                    <a:pt x="36" y="622"/>
                  </a:lnTo>
                  <a:lnTo>
                    <a:pt x="28" y="622"/>
                  </a:lnTo>
                  <a:lnTo>
                    <a:pt x="24" y="618"/>
                  </a:lnTo>
                  <a:lnTo>
                    <a:pt x="20" y="614"/>
                  </a:lnTo>
                  <a:lnTo>
                    <a:pt x="16" y="610"/>
                  </a:lnTo>
                  <a:lnTo>
                    <a:pt x="20" y="606"/>
                  </a:lnTo>
                  <a:lnTo>
                    <a:pt x="20" y="602"/>
                  </a:lnTo>
                  <a:lnTo>
                    <a:pt x="16" y="602"/>
                  </a:lnTo>
                  <a:lnTo>
                    <a:pt x="16" y="598"/>
                  </a:lnTo>
                  <a:lnTo>
                    <a:pt x="20" y="598"/>
                  </a:lnTo>
                  <a:lnTo>
                    <a:pt x="20" y="594"/>
                  </a:lnTo>
                  <a:lnTo>
                    <a:pt x="16" y="590"/>
                  </a:lnTo>
                  <a:lnTo>
                    <a:pt x="20" y="590"/>
                  </a:lnTo>
                  <a:lnTo>
                    <a:pt x="16" y="590"/>
                  </a:lnTo>
                  <a:lnTo>
                    <a:pt x="12" y="590"/>
                  </a:lnTo>
                  <a:lnTo>
                    <a:pt x="8" y="590"/>
                  </a:lnTo>
                  <a:lnTo>
                    <a:pt x="8" y="594"/>
                  </a:lnTo>
                  <a:lnTo>
                    <a:pt x="4" y="594"/>
                  </a:lnTo>
                  <a:lnTo>
                    <a:pt x="4" y="590"/>
                  </a:lnTo>
                  <a:lnTo>
                    <a:pt x="4" y="586"/>
                  </a:lnTo>
                  <a:lnTo>
                    <a:pt x="4" y="582"/>
                  </a:lnTo>
                  <a:lnTo>
                    <a:pt x="0" y="578"/>
                  </a:lnTo>
                  <a:lnTo>
                    <a:pt x="0" y="574"/>
                  </a:lnTo>
                  <a:lnTo>
                    <a:pt x="0" y="570"/>
                  </a:lnTo>
                  <a:lnTo>
                    <a:pt x="0" y="566"/>
                  </a:lnTo>
                  <a:lnTo>
                    <a:pt x="0" y="562"/>
                  </a:lnTo>
                  <a:lnTo>
                    <a:pt x="0" y="558"/>
                  </a:lnTo>
                  <a:lnTo>
                    <a:pt x="4" y="558"/>
                  </a:lnTo>
                  <a:lnTo>
                    <a:pt x="8" y="558"/>
                  </a:lnTo>
                  <a:lnTo>
                    <a:pt x="4" y="558"/>
                  </a:lnTo>
                  <a:lnTo>
                    <a:pt x="8" y="554"/>
                  </a:lnTo>
                  <a:lnTo>
                    <a:pt x="8" y="550"/>
                  </a:lnTo>
                  <a:lnTo>
                    <a:pt x="12" y="550"/>
                  </a:lnTo>
                  <a:lnTo>
                    <a:pt x="16" y="550"/>
                  </a:lnTo>
                  <a:lnTo>
                    <a:pt x="16" y="546"/>
                  </a:lnTo>
                  <a:lnTo>
                    <a:pt x="16" y="542"/>
                  </a:lnTo>
                  <a:lnTo>
                    <a:pt x="12" y="542"/>
                  </a:lnTo>
                  <a:lnTo>
                    <a:pt x="16" y="542"/>
                  </a:lnTo>
                  <a:lnTo>
                    <a:pt x="16" y="538"/>
                  </a:lnTo>
                  <a:lnTo>
                    <a:pt x="20" y="538"/>
                  </a:lnTo>
                  <a:lnTo>
                    <a:pt x="20" y="534"/>
                  </a:lnTo>
                  <a:lnTo>
                    <a:pt x="16" y="530"/>
                  </a:lnTo>
                  <a:lnTo>
                    <a:pt x="16" y="526"/>
                  </a:lnTo>
                  <a:lnTo>
                    <a:pt x="16" y="523"/>
                  </a:lnTo>
                  <a:lnTo>
                    <a:pt x="20" y="523"/>
                  </a:lnTo>
                  <a:lnTo>
                    <a:pt x="16" y="519"/>
                  </a:lnTo>
                  <a:lnTo>
                    <a:pt x="20" y="519"/>
                  </a:lnTo>
                  <a:lnTo>
                    <a:pt x="24" y="515"/>
                  </a:lnTo>
                  <a:lnTo>
                    <a:pt x="24" y="511"/>
                  </a:lnTo>
                  <a:lnTo>
                    <a:pt x="24" y="507"/>
                  </a:lnTo>
                  <a:lnTo>
                    <a:pt x="28" y="503"/>
                  </a:lnTo>
                  <a:lnTo>
                    <a:pt x="28" y="499"/>
                  </a:lnTo>
                  <a:lnTo>
                    <a:pt x="28" y="495"/>
                  </a:lnTo>
                  <a:lnTo>
                    <a:pt x="28" y="491"/>
                  </a:lnTo>
                  <a:lnTo>
                    <a:pt x="24" y="491"/>
                  </a:lnTo>
                  <a:lnTo>
                    <a:pt x="28" y="491"/>
                  </a:lnTo>
                  <a:lnTo>
                    <a:pt x="28" y="487"/>
                  </a:lnTo>
                  <a:lnTo>
                    <a:pt x="28" y="483"/>
                  </a:lnTo>
                  <a:lnTo>
                    <a:pt x="28" y="479"/>
                  </a:lnTo>
                  <a:lnTo>
                    <a:pt x="32" y="475"/>
                  </a:lnTo>
                  <a:lnTo>
                    <a:pt x="32" y="471"/>
                  </a:lnTo>
                  <a:lnTo>
                    <a:pt x="32" y="467"/>
                  </a:lnTo>
                  <a:lnTo>
                    <a:pt x="28" y="467"/>
                  </a:lnTo>
                  <a:lnTo>
                    <a:pt x="24" y="467"/>
                  </a:lnTo>
                  <a:lnTo>
                    <a:pt x="24" y="463"/>
                  </a:lnTo>
                  <a:lnTo>
                    <a:pt x="20" y="463"/>
                  </a:lnTo>
                  <a:lnTo>
                    <a:pt x="24" y="463"/>
                  </a:lnTo>
                  <a:lnTo>
                    <a:pt x="28" y="463"/>
                  </a:lnTo>
                  <a:lnTo>
                    <a:pt x="32" y="463"/>
                  </a:lnTo>
                  <a:lnTo>
                    <a:pt x="36" y="463"/>
                  </a:lnTo>
                  <a:lnTo>
                    <a:pt x="36" y="459"/>
                  </a:lnTo>
                  <a:lnTo>
                    <a:pt x="36" y="455"/>
                  </a:lnTo>
                  <a:lnTo>
                    <a:pt x="32" y="455"/>
                  </a:lnTo>
                  <a:lnTo>
                    <a:pt x="28" y="455"/>
                  </a:lnTo>
                  <a:lnTo>
                    <a:pt x="24" y="455"/>
                  </a:lnTo>
                  <a:lnTo>
                    <a:pt x="24" y="451"/>
                  </a:lnTo>
                  <a:lnTo>
                    <a:pt x="28" y="451"/>
                  </a:lnTo>
                  <a:lnTo>
                    <a:pt x="24" y="447"/>
                  </a:lnTo>
                  <a:lnTo>
                    <a:pt x="28" y="447"/>
                  </a:lnTo>
                  <a:lnTo>
                    <a:pt x="28" y="443"/>
                  </a:lnTo>
                  <a:lnTo>
                    <a:pt x="28" y="439"/>
                  </a:lnTo>
                  <a:lnTo>
                    <a:pt x="28" y="435"/>
                  </a:lnTo>
                  <a:lnTo>
                    <a:pt x="24" y="435"/>
                  </a:lnTo>
                  <a:lnTo>
                    <a:pt x="24" y="431"/>
                  </a:lnTo>
                  <a:lnTo>
                    <a:pt x="28" y="431"/>
                  </a:lnTo>
                  <a:lnTo>
                    <a:pt x="28" y="427"/>
                  </a:lnTo>
                  <a:lnTo>
                    <a:pt x="24" y="427"/>
                  </a:lnTo>
                  <a:lnTo>
                    <a:pt x="20" y="427"/>
                  </a:lnTo>
                  <a:lnTo>
                    <a:pt x="20" y="423"/>
                  </a:lnTo>
                  <a:lnTo>
                    <a:pt x="20" y="419"/>
                  </a:lnTo>
                  <a:lnTo>
                    <a:pt x="20" y="415"/>
                  </a:lnTo>
                  <a:lnTo>
                    <a:pt x="24" y="411"/>
                  </a:lnTo>
                  <a:lnTo>
                    <a:pt x="20" y="411"/>
                  </a:lnTo>
                  <a:lnTo>
                    <a:pt x="24" y="407"/>
                  </a:lnTo>
                  <a:lnTo>
                    <a:pt x="28" y="407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24" y="399"/>
                  </a:lnTo>
                  <a:lnTo>
                    <a:pt x="24" y="395"/>
                  </a:lnTo>
                  <a:lnTo>
                    <a:pt x="24" y="391"/>
                  </a:lnTo>
                  <a:lnTo>
                    <a:pt x="24" y="387"/>
                  </a:lnTo>
                  <a:lnTo>
                    <a:pt x="24" y="383"/>
                  </a:lnTo>
                  <a:close/>
                  <a:moveTo>
                    <a:pt x="175" y="347"/>
                  </a:moveTo>
                  <a:lnTo>
                    <a:pt x="171" y="343"/>
                  </a:lnTo>
                  <a:lnTo>
                    <a:pt x="175" y="343"/>
                  </a:lnTo>
                  <a:lnTo>
                    <a:pt x="175" y="347"/>
                  </a:lnTo>
                  <a:close/>
                  <a:moveTo>
                    <a:pt x="76" y="634"/>
                  </a:moveTo>
                  <a:lnTo>
                    <a:pt x="76" y="638"/>
                  </a:lnTo>
                  <a:lnTo>
                    <a:pt x="80" y="642"/>
                  </a:lnTo>
                  <a:lnTo>
                    <a:pt x="80" y="646"/>
                  </a:lnTo>
                  <a:lnTo>
                    <a:pt x="80" y="642"/>
                  </a:lnTo>
                  <a:lnTo>
                    <a:pt x="76" y="642"/>
                  </a:lnTo>
                  <a:lnTo>
                    <a:pt x="76" y="646"/>
                  </a:lnTo>
                  <a:lnTo>
                    <a:pt x="76" y="650"/>
                  </a:lnTo>
                  <a:lnTo>
                    <a:pt x="80" y="650"/>
                  </a:lnTo>
                  <a:lnTo>
                    <a:pt x="84" y="650"/>
                  </a:lnTo>
                  <a:lnTo>
                    <a:pt x="84" y="654"/>
                  </a:lnTo>
                  <a:lnTo>
                    <a:pt x="84" y="658"/>
                  </a:lnTo>
                  <a:lnTo>
                    <a:pt x="88" y="658"/>
                  </a:lnTo>
                  <a:lnTo>
                    <a:pt x="88" y="662"/>
                  </a:lnTo>
                  <a:lnTo>
                    <a:pt x="92" y="662"/>
                  </a:lnTo>
                  <a:lnTo>
                    <a:pt x="92" y="666"/>
                  </a:lnTo>
                  <a:lnTo>
                    <a:pt x="96" y="666"/>
                  </a:lnTo>
                  <a:lnTo>
                    <a:pt x="100" y="670"/>
                  </a:lnTo>
                  <a:lnTo>
                    <a:pt x="104" y="670"/>
                  </a:lnTo>
                  <a:lnTo>
                    <a:pt x="104" y="674"/>
                  </a:lnTo>
                  <a:lnTo>
                    <a:pt x="108" y="678"/>
                  </a:lnTo>
                  <a:lnTo>
                    <a:pt x="112" y="678"/>
                  </a:lnTo>
                  <a:lnTo>
                    <a:pt x="116" y="682"/>
                  </a:lnTo>
                  <a:lnTo>
                    <a:pt x="120" y="682"/>
                  </a:lnTo>
                  <a:lnTo>
                    <a:pt x="124" y="682"/>
                  </a:lnTo>
                  <a:lnTo>
                    <a:pt x="127" y="682"/>
                  </a:lnTo>
                  <a:lnTo>
                    <a:pt x="124" y="686"/>
                  </a:lnTo>
                  <a:lnTo>
                    <a:pt x="120" y="686"/>
                  </a:lnTo>
                  <a:lnTo>
                    <a:pt x="116" y="686"/>
                  </a:lnTo>
                  <a:lnTo>
                    <a:pt x="112" y="690"/>
                  </a:lnTo>
                  <a:lnTo>
                    <a:pt x="108" y="690"/>
                  </a:lnTo>
                  <a:lnTo>
                    <a:pt x="104" y="690"/>
                  </a:lnTo>
                  <a:lnTo>
                    <a:pt x="104" y="686"/>
                  </a:lnTo>
                  <a:lnTo>
                    <a:pt x="100" y="686"/>
                  </a:lnTo>
                  <a:lnTo>
                    <a:pt x="96" y="686"/>
                  </a:lnTo>
                  <a:lnTo>
                    <a:pt x="92" y="686"/>
                  </a:lnTo>
                  <a:lnTo>
                    <a:pt x="88" y="686"/>
                  </a:lnTo>
                  <a:lnTo>
                    <a:pt x="84" y="686"/>
                  </a:lnTo>
                  <a:lnTo>
                    <a:pt x="80" y="686"/>
                  </a:lnTo>
                  <a:lnTo>
                    <a:pt x="76" y="686"/>
                  </a:lnTo>
                  <a:lnTo>
                    <a:pt x="76" y="678"/>
                  </a:lnTo>
                  <a:lnTo>
                    <a:pt x="76" y="674"/>
                  </a:lnTo>
                  <a:lnTo>
                    <a:pt x="76" y="666"/>
                  </a:lnTo>
                  <a:lnTo>
                    <a:pt x="76" y="662"/>
                  </a:lnTo>
                  <a:lnTo>
                    <a:pt x="76" y="654"/>
                  </a:lnTo>
                  <a:lnTo>
                    <a:pt x="76" y="650"/>
                  </a:lnTo>
                  <a:lnTo>
                    <a:pt x="76" y="646"/>
                  </a:lnTo>
                  <a:lnTo>
                    <a:pt x="76" y="638"/>
                  </a:lnTo>
                  <a:lnTo>
                    <a:pt x="76" y="634"/>
                  </a:lnTo>
                  <a:close/>
                  <a:moveTo>
                    <a:pt x="135" y="686"/>
                  </a:moveTo>
                  <a:lnTo>
                    <a:pt x="131" y="686"/>
                  </a:lnTo>
                  <a:lnTo>
                    <a:pt x="135" y="682"/>
                  </a:lnTo>
                  <a:lnTo>
                    <a:pt x="135" y="686"/>
                  </a:lnTo>
                  <a:lnTo>
                    <a:pt x="135" y="682"/>
                  </a:lnTo>
                  <a:lnTo>
                    <a:pt x="139" y="682"/>
                  </a:lnTo>
                  <a:lnTo>
                    <a:pt x="143" y="682"/>
                  </a:lnTo>
                  <a:lnTo>
                    <a:pt x="147" y="682"/>
                  </a:lnTo>
                  <a:lnTo>
                    <a:pt x="147" y="686"/>
                  </a:lnTo>
                  <a:lnTo>
                    <a:pt x="143" y="686"/>
                  </a:lnTo>
                  <a:lnTo>
                    <a:pt x="143" y="682"/>
                  </a:lnTo>
                  <a:lnTo>
                    <a:pt x="143" y="686"/>
                  </a:lnTo>
                  <a:lnTo>
                    <a:pt x="139" y="686"/>
                  </a:lnTo>
                  <a:lnTo>
                    <a:pt x="135" y="68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17" name="Freeform 170">
              <a:extLst>
                <a:ext uri="{FF2B5EF4-FFF2-40B4-BE49-F238E27FC236}">
                  <a16:creationId xmlns:a16="http://schemas.microsoft.com/office/drawing/2014/main" xmlns="" id="{75A82348-5EA0-4A97-8411-01464500F7BD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gray">
            <a:xfrm>
              <a:off x="2814395" y="4858456"/>
              <a:ext cx="271400" cy="367800"/>
            </a:xfrm>
            <a:custGeom>
              <a:avLst/>
              <a:gdLst/>
              <a:ahLst/>
              <a:cxnLst>
                <a:cxn ang="0">
                  <a:pos x="111" y="212"/>
                </a:cxn>
                <a:cxn ang="0">
                  <a:pos x="103" y="232"/>
                </a:cxn>
                <a:cxn ang="0">
                  <a:pos x="95" y="232"/>
                </a:cxn>
                <a:cxn ang="0">
                  <a:pos x="83" y="236"/>
                </a:cxn>
                <a:cxn ang="0">
                  <a:pos x="79" y="244"/>
                </a:cxn>
                <a:cxn ang="0">
                  <a:pos x="75" y="232"/>
                </a:cxn>
                <a:cxn ang="0">
                  <a:pos x="56" y="232"/>
                </a:cxn>
                <a:cxn ang="0">
                  <a:pos x="52" y="228"/>
                </a:cxn>
                <a:cxn ang="0">
                  <a:pos x="44" y="236"/>
                </a:cxn>
                <a:cxn ang="0">
                  <a:pos x="36" y="244"/>
                </a:cxn>
                <a:cxn ang="0">
                  <a:pos x="28" y="240"/>
                </a:cxn>
                <a:cxn ang="0">
                  <a:pos x="24" y="228"/>
                </a:cxn>
                <a:cxn ang="0">
                  <a:pos x="16" y="208"/>
                </a:cxn>
                <a:cxn ang="0">
                  <a:pos x="12" y="204"/>
                </a:cxn>
                <a:cxn ang="0">
                  <a:pos x="16" y="192"/>
                </a:cxn>
                <a:cxn ang="0">
                  <a:pos x="16" y="180"/>
                </a:cxn>
                <a:cxn ang="0">
                  <a:pos x="8" y="168"/>
                </a:cxn>
                <a:cxn ang="0">
                  <a:pos x="4" y="156"/>
                </a:cxn>
                <a:cxn ang="0">
                  <a:pos x="0" y="144"/>
                </a:cxn>
                <a:cxn ang="0">
                  <a:pos x="4" y="132"/>
                </a:cxn>
                <a:cxn ang="0">
                  <a:pos x="12" y="124"/>
                </a:cxn>
                <a:cxn ang="0">
                  <a:pos x="4" y="108"/>
                </a:cxn>
                <a:cxn ang="0">
                  <a:pos x="4" y="100"/>
                </a:cxn>
                <a:cxn ang="0">
                  <a:pos x="8" y="84"/>
                </a:cxn>
                <a:cxn ang="0">
                  <a:pos x="8" y="76"/>
                </a:cxn>
                <a:cxn ang="0">
                  <a:pos x="8" y="60"/>
                </a:cxn>
                <a:cxn ang="0">
                  <a:pos x="12" y="48"/>
                </a:cxn>
                <a:cxn ang="0">
                  <a:pos x="4" y="36"/>
                </a:cxn>
                <a:cxn ang="0">
                  <a:pos x="4" y="24"/>
                </a:cxn>
                <a:cxn ang="0">
                  <a:pos x="16" y="28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40" y="12"/>
                </a:cxn>
                <a:cxn ang="0">
                  <a:pos x="52" y="0"/>
                </a:cxn>
                <a:cxn ang="0">
                  <a:pos x="60" y="0"/>
                </a:cxn>
                <a:cxn ang="0">
                  <a:pos x="64" y="12"/>
                </a:cxn>
                <a:cxn ang="0">
                  <a:pos x="64" y="28"/>
                </a:cxn>
                <a:cxn ang="0">
                  <a:pos x="67" y="36"/>
                </a:cxn>
                <a:cxn ang="0">
                  <a:pos x="75" y="48"/>
                </a:cxn>
                <a:cxn ang="0">
                  <a:pos x="91" y="52"/>
                </a:cxn>
                <a:cxn ang="0">
                  <a:pos x="99" y="60"/>
                </a:cxn>
                <a:cxn ang="0">
                  <a:pos x="111" y="68"/>
                </a:cxn>
                <a:cxn ang="0">
                  <a:pos x="123" y="72"/>
                </a:cxn>
                <a:cxn ang="0">
                  <a:pos x="139" y="76"/>
                </a:cxn>
                <a:cxn ang="0">
                  <a:pos x="139" y="88"/>
                </a:cxn>
                <a:cxn ang="0">
                  <a:pos x="135" y="100"/>
                </a:cxn>
                <a:cxn ang="0">
                  <a:pos x="143" y="124"/>
                </a:cxn>
                <a:cxn ang="0">
                  <a:pos x="171" y="124"/>
                </a:cxn>
                <a:cxn ang="0">
                  <a:pos x="167" y="136"/>
                </a:cxn>
                <a:cxn ang="0">
                  <a:pos x="175" y="144"/>
                </a:cxn>
                <a:cxn ang="0">
                  <a:pos x="183" y="160"/>
                </a:cxn>
                <a:cxn ang="0">
                  <a:pos x="175" y="176"/>
                </a:cxn>
                <a:cxn ang="0">
                  <a:pos x="175" y="188"/>
                </a:cxn>
                <a:cxn ang="0">
                  <a:pos x="171" y="188"/>
                </a:cxn>
                <a:cxn ang="0">
                  <a:pos x="151" y="180"/>
                </a:cxn>
                <a:cxn ang="0">
                  <a:pos x="135" y="184"/>
                </a:cxn>
                <a:cxn ang="0">
                  <a:pos x="119" y="188"/>
                </a:cxn>
              </a:cxnLst>
              <a:rect l="0" t="0" r="r" b="b"/>
              <a:pathLst>
                <a:path w="183" h="248">
                  <a:moveTo>
                    <a:pt x="111" y="200"/>
                  </a:moveTo>
                  <a:lnTo>
                    <a:pt x="111" y="204"/>
                  </a:lnTo>
                  <a:lnTo>
                    <a:pt x="111" y="208"/>
                  </a:lnTo>
                  <a:lnTo>
                    <a:pt x="111" y="212"/>
                  </a:lnTo>
                  <a:lnTo>
                    <a:pt x="107" y="220"/>
                  </a:lnTo>
                  <a:lnTo>
                    <a:pt x="107" y="224"/>
                  </a:lnTo>
                  <a:lnTo>
                    <a:pt x="107" y="228"/>
                  </a:lnTo>
                  <a:lnTo>
                    <a:pt x="103" y="232"/>
                  </a:lnTo>
                  <a:lnTo>
                    <a:pt x="103" y="236"/>
                  </a:lnTo>
                  <a:lnTo>
                    <a:pt x="103" y="232"/>
                  </a:lnTo>
                  <a:lnTo>
                    <a:pt x="99" y="232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87" y="232"/>
                  </a:lnTo>
                  <a:lnTo>
                    <a:pt x="83" y="232"/>
                  </a:lnTo>
                  <a:lnTo>
                    <a:pt x="83" y="236"/>
                  </a:lnTo>
                  <a:lnTo>
                    <a:pt x="79" y="240"/>
                  </a:lnTo>
                  <a:lnTo>
                    <a:pt x="79" y="244"/>
                  </a:lnTo>
                  <a:lnTo>
                    <a:pt x="79" y="248"/>
                  </a:lnTo>
                  <a:lnTo>
                    <a:pt x="79" y="244"/>
                  </a:lnTo>
                  <a:lnTo>
                    <a:pt x="75" y="244"/>
                  </a:lnTo>
                  <a:lnTo>
                    <a:pt x="75" y="240"/>
                  </a:lnTo>
                  <a:lnTo>
                    <a:pt x="75" y="236"/>
                  </a:lnTo>
                  <a:lnTo>
                    <a:pt x="75" y="232"/>
                  </a:lnTo>
                  <a:lnTo>
                    <a:pt x="71" y="232"/>
                  </a:lnTo>
                  <a:lnTo>
                    <a:pt x="67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6" y="228"/>
                  </a:lnTo>
                  <a:lnTo>
                    <a:pt x="52" y="228"/>
                  </a:lnTo>
                  <a:lnTo>
                    <a:pt x="52" y="224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32"/>
                  </a:lnTo>
                  <a:lnTo>
                    <a:pt x="44" y="236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40" y="244"/>
                  </a:lnTo>
                  <a:lnTo>
                    <a:pt x="36" y="244"/>
                  </a:lnTo>
                  <a:lnTo>
                    <a:pt x="32" y="248"/>
                  </a:lnTo>
                  <a:lnTo>
                    <a:pt x="28" y="248"/>
                  </a:lnTo>
                  <a:lnTo>
                    <a:pt x="24" y="244"/>
                  </a:lnTo>
                  <a:lnTo>
                    <a:pt x="28" y="240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0" y="224"/>
                  </a:lnTo>
                  <a:lnTo>
                    <a:pt x="20" y="216"/>
                  </a:lnTo>
                  <a:lnTo>
                    <a:pt x="16" y="208"/>
                  </a:lnTo>
                  <a:lnTo>
                    <a:pt x="16" y="212"/>
                  </a:lnTo>
                  <a:lnTo>
                    <a:pt x="16" y="208"/>
                  </a:lnTo>
                  <a:lnTo>
                    <a:pt x="16" y="204"/>
                  </a:lnTo>
                  <a:lnTo>
                    <a:pt x="12" y="204"/>
                  </a:lnTo>
                  <a:lnTo>
                    <a:pt x="12" y="200"/>
                  </a:lnTo>
                  <a:lnTo>
                    <a:pt x="12" y="196"/>
                  </a:lnTo>
                  <a:lnTo>
                    <a:pt x="12" y="192"/>
                  </a:lnTo>
                  <a:lnTo>
                    <a:pt x="16" y="192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12" y="176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5" y="48"/>
                  </a:lnTo>
                  <a:lnTo>
                    <a:pt x="79" y="52"/>
                  </a:lnTo>
                  <a:lnTo>
                    <a:pt x="83" y="52"/>
                  </a:lnTo>
                  <a:lnTo>
                    <a:pt x="87" y="52"/>
                  </a:lnTo>
                  <a:lnTo>
                    <a:pt x="91" y="52"/>
                  </a:lnTo>
                  <a:lnTo>
                    <a:pt x="91" y="56"/>
                  </a:lnTo>
                  <a:lnTo>
                    <a:pt x="95" y="56"/>
                  </a:lnTo>
                  <a:lnTo>
                    <a:pt x="99" y="56"/>
                  </a:lnTo>
                  <a:lnTo>
                    <a:pt x="99" y="60"/>
                  </a:lnTo>
                  <a:lnTo>
                    <a:pt x="103" y="60"/>
                  </a:lnTo>
                  <a:lnTo>
                    <a:pt x="107" y="64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9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35" y="100"/>
                  </a:lnTo>
                  <a:lnTo>
                    <a:pt x="139" y="104"/>
                  </a:lnTo>
                  <a:lnTo>
                    <a:pt x="139" y="108"/>
                  </a:lnTo>
                  <a:lnTo>
                    <a:pt x="143" y="116"/>
                  </a:lnTo>
                  <a:lnTo>
                    <a:pt x="143" y="124"/>
                  </a:lnTo>
                  <a:lnTo>
                    <a:pt x="151" y="124"/>
                  </a:lnTo>
                  <a:lnTo>
                    <a:pt x="159" y="124"/>
                  </a:lnTo>
                  <a:lnTo>
                    <a:pt x="167" y="124"/>
                  </a:lnTo>
                  <a:lnTo>
                    <a:pt x="171" y="124"/>
                  </a:lnTo>
                  <a:lnTo>
                    <a:pt x="171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36"/>
                  </a:lnTo>
                  <a:lnTo>
                    <a:pt x="167" y="140"/>
                  </a:lnTo>
                  <a:lnTo>
                    <a:pt x="171" y="140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9" y="148"/>
                  </a:lnTo>
                  <a:lnTo>
                    <a:pt x="179" y="152"/>
                  </a:lnTo>
                  <a:lnTo>
                    <a:pt x="179" y="156"/>
                  </a:lnTo>
                  <a:lnTo>
                    <a:pt x="183" y="160"/>
                  </a:lnTo>
                  <a:lnTo>
                    <a:pt x="179" y="164"/>
                  </a:lnTo>
                  <a:lnTo>
                    <a:pt x="179" y="172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5" y="188"/>
                  </a:lnTo>
                  <a:lnTo>
                    <a:pt x="171" y="188"/>
                  </a:lnTo>
                  <a:lnTo>
                    <a:pt x="175" y="188"/>
                  </a:lnTo>
                  <a:lnTo>
                    <a:pt x="175" y="192"/>
                  </a:lnTo>
                  <a:lnTo>
                    <a:pt x="171" y="196"/>
                  </a:lnTo>
                  <a:lnTo>
                    <a:pt x="171" y="192"/>
                  </a:lnTo>
                  <a:lnTo>
                    <a:pt x="171" y="188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0"/>
                  </a:lnTo>
                  <a:lnTo>
                    <a:pt x="151" y="180"/>
                  </a:lnTo>
                  <a:lnTo>
                    <a:pt x="143" y="180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3" y="184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15" y="192"/>
                  </a:lnTo>
                  <a:lnTo>
                    <a:pt x="111" y="2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18" name="Freeform 171">
              <a:extLst>
                <a:ext uri="{FF2B5EF4-FFF2-40B4-BE49-F238E27FC236}">
                  <a16:creationId xmlns:a16="http://schemas.microsoft.com/office/drawing/2014/main" xmlns="" id="{C81DAD1B-6CFB-4C48-BE5B-0A8DAB2CAB49}"/>
                </a:ext>
              </a:extLst>
            </p:cNvPr>
            <p:cNvSpPr>
              <a:spLocks noEditPoints="1"/>
            </p:cNvSpPr>
            <p:nvPr>
              <p:custDataLst>
                <p:tags r:id="rId170"/>
              </p:custDataLst>
            </p:nvPr>
          </p:nvSpPr>
          <p:spPr bwMode="gray">
            <a:xfrm>
              <a:off x="2713547" y="4450614"/>
              <a:ext cx="880940" cy="1088569"/>
            </a:xfrm>
            <a:custGeom>
              <a:avLst/>
              <a:gdLst/>
              <a:ahLst/>
              <a:cxnLst>
                <a:cxn ang="0">
                  <a:pos x="451" y="152"/>
                </a:cxn>
                <a:cxn ang="0">
                  <a:pos x="494" y="152"/>
                </a:cxn>
                <a:cxn ang="0">
                  <a:pos x="550" y="179"/>
                </a:cxn>
                <a:cxn ang="0">
                  <a:pos x="594" y="223"/>
                </a:cxn>
                <a:cxn ang="0">
                  <a:pos x="566" y="291"/>
                </a:cxn>
                <a:cxn ang="0">
                  <a:pos x="538" y="335"/>
                </a:cxn>
                <a:cxn ang="0">
                  <a:pos x="530" y="355"/>
                </a:cxn>
                <a:cxn ang="0">
                  <a:pos x="530" y="423"/>
                </a:cxn>
                <a:cxn ang="0">
                  <a:pos x="502" y="483"/>
                </a:cxn>
                <a:cxn ang="0">
                  <a:pos x="463" y="523"/>
                </a:cxn>
                <a:cxn ang="0">
                  <a:pos x="435" y="539"/>
                </a:cxn>
                <a:cxn ang="0">
                  <a:pos x="391" y="567"/>
                </a:cxn>
                <a:cxn ang="0">
                  <a:pos x="387" y="606"/>
                </a:cxn>
                <a:cxn ang="0">
                  <a:pos x="363" y="650"/>
                </a:cxn>
                <a:cxn ang="0">
                  <a:pos x="331" y="694"/>
                </a:cxn>
                <a:cxn ang="0">
                  <a:pos x="351" y="666"/>
                </a:cxn>
                <a:cxn ang="0">
                  <a:pos x="331" y="702"/>
                </a:cxn>
                <a:cxn ang="0">
                  <a:pos x="307" y="706"/>
                </a:cxn>
                <a:cxn ang="0">
                  <a:pos x="271" y="670"/>
                </a:cxn>
                <a:cxn ang="0">
                  <a:pos x="267" y="638"/>
                </a:cxn>
                <a:cxn ang="0">
                  <a:pos x="307" y="602"/>
                </a:cxn>
                <a:cxn ang="0">
                  <a:pos x="295" y="539"/>
                </a:cxn>
                <a:cxn ang="0">
                  <a:pos x="255" y="511"/>
                </a:cxn>
                <a:cxn ang="0">
                  <a:pos x="247" y="447"/>
                </a:cxn>
                <a:cxn ang="0">
                  <a:pos x="207" y="383"/>
                </a:cxn>
                <a:cxn ang="0">
                  <a:pos x="175" y="339"/>
                </a:cxn>
                <a:cxn ang="0">
                  <a:pos x="132" y="295"/>
                </a:cxn>
                <a:cxn ang="0">
                  <a:pos x="96" y="291"/>
                </a:cxn>
                <a:cxn ang="0">
                  <a:pos x="52" y="279"/>
                </a:cxn>
                <a:cxn ang="0">
                  <a:pos x="12" y="259"/>
                </a:cxn>
                <a:cxn ang="0">
                  <a:pos x="16" y="199"/>
                </a:cxn>
                <a:cxn ang="0">
                  <a:pos x="64" y="175"/>
                </a:cxn>
                <a:cxn ang="0">
                  <a:pos x="60" y="88"/>
                </a:cxn>
                <a:cxn ang="0">
                  <a:pos x="92" y="68"/>
                </a:cxn>
                <a:cxn ang="0">
                  <a:pos x="128" y="84"/>
                </a:cxn>
                <a:cxn ang="0">
                  <a:pos x="151" y="44"/>
                </a:cxn>
                <a:cxn ang="0">
                  <a:pos x="159" y="24"/>
                </a:cxn>
                <a:cxn ang="0">
                  <a:pos x="203" y="4"/>
                </a:cxn>
                <a:cxn ang="0">
                  <a:pos x="215" y="56"/>
                </a:cxn>
                <a:cxn ang="0">
                  <a:pos x="255" y="60"/>
                </a:cxn>
                <a:cxn ang="0">
                  <a:pos x="303" y="56"/>
                </a:cxn>
                <a:cxn ang="0">
                  <a:pos x="343" y="24"/>
                </a:cxn>
                <a:cxn ang="0">
                  <a:pos x="367" y="76"/>
                </a:cxn>
                <a:cxn ang="0">
                  <a:pos x="327" y="128"/>
                </a:cxn>
                <a:cxn ang="0">
                  <a:pos x="343" y="128"/>
                </a:cxn>
                <a:cxn ang="0">
                  <a:pos x="359" y="132"/>
                </a:cxn>
                <a:cxn ang="0">
                  <a:pos x="387" y="124"/>
                </a:cxn>
                <a:cxn ang="0">
                  <a:pos x="411" y="112"/>
                </a:cxn>
                <a:cxn ang="0">
                  <a:pos x="439" y="124"/>
                </a:cxn>
                <a:cxn ang="0">
                  <a:pos x="351" y="124"/>
                </a:cxn>
                <a:cxn ang="0">
                  <a:pos x="375" y="100"/>
                </a:cxn>
                <a:cxn ang="0">
                  <a:pos x="363" y="80"/>
                </a:cxn>
                <a:cxn ang="0">
                  <a:pos x="359" y="92"/>
                </a:cxn>
                <a:cxn ang="0">
                  <a:pos x="375" y="96"/>
                </a:cxn>
                <a:cxn ang="0">
                  <a:pos x="347" y="100"/>
                </a:cxn>
                <a:cxn ang="0">
                  <a:pos x="347" y="112"/>
                </a:cxn>
                <a:cxn ang="0">
                  <a:pos x="387" y="120"/>
                </a:cxn>
                <a:cxn ang="0">
                  <a:pos x="443" y="128"/>
                </a:cxn>
                <a:cxn ang="0">
                  <a:pos x="447" y="148"/>
                </a:cxn>
                <a:cxn ang="0">
                  <a:pos x="387" y="606"/>
                </a:cxn>
                <a:cxn ang="0">
                  <a:pos x="455" y="527"/>
                </a:cxn>
              </a:cxnLst>
              <a:rect l="0" t="0" r="r" b="b"/>
              <a:pathLst>
                <a:path w="594" h="734">
                  <a:moveTo>
                    <a:pt x="443" y="132"/>
                  </a:moveTo>
                  <a:lnTo>
                    <a:pt x="447" y="132"/>
                  </a:lnTo>
                  <a:lnTo>
                    <a:pt x="447" y="136"/>
                  </a:lnTo>
                  <a:lnTo>
                    <a:pt x="447" y="140"/>
                  </a:lnTo>
                  <a:lnTo>
                    <a:pt x="447" y="136"/>
                  </a:lnTo>
                  <a:lnTo>
                    <a:pt x="451" y="140"/>
                  </a:lnTo>
                  <a:lnTo>
                    <a:pt x="447" y="144"/>
                  </a:lnTo>
                  <a:lnTo>
                    <a:pt x="447" y="148"/>
                  </a:lnTo>
                  <a:lnTo>
                    <a:pt x="443" y="152"/>
                  </a:lnTo>
                  <a:lnTo>
                    <a:pt x="447" y="152"/>
                  </a:lnTo>
                  <a:lnTo>
                    <a:pt x="443" y="155"/>
                  </a:lnTo>
                  <a:lnTo>
                    <a:pt x="443" y="159"/>
                  </a:lnTo>
                  <a:lnTo>
                    <a:pt x="447" y="155"/>
                  </a:lnTo>
                  <a:lnTo>
                    <a:pt x="447" y="152"/>
                  </a:lnTo>
                  <a:lnTo>
                    <a:pt x="451" y="148"/>
                  </a:lnTo>
                  <a:lnTo>
                    <a:pt x="451" y="144"/>
                  </a:lnTo>
                  <a:lnTo>
                    <a:pt x="455" y="144"/>
                  </a:lnTo>
                  <a:lnTo>
                    <a:pt x="455" y="148"/>
                  </a:lnTo>
                  <a:lnTo>
                    <a:pt x="451" y="148"/>
                  </a:lnTo>
                  <a:lnTo>
                    <a:pt x="451" y="152"/>
                  </a:lnTo>
                  <a:lnTo>
                    <a:pt x="455" y="148"/>
                  </a:lnTo>
                  <a:lnTo>
                    <a:pt x="455" y="144"/>
                  </a:lnTo>
                  <a:lnTo>
                    <a:pt x="459" y="144"/>
                  </a:lnTo>
                  <a:lnTo>
                    <a:pt x="463" y="144"/>
                  </a:lnTo>
                  <a:lnTo>
                    <a:pt x="463" y="140"/>
                  </a:lnTo>
                  <a:lnTo>
                    <a:pt x="467" y="140"/>
                  </a:lnTo>
                  <a:lnTo>
                    <a:pt x="467" y="144"/>
                  </a:lnTo>
                  <a:lnTo>
                    <a:pt x="471" y="144"/>
                  </a:lnTo>
                  <a:lnTo>
                    <a:pt x="475" y="144"/>
                  </a:lnTo>
                  <a:lnTo>
                    <a:pt x="475" y="148"/>
                  </a:lnTo>
                  <a:lnTo>
                    <a:pt x="479" y="148"/>
                  </a:lnTo>
                  <a:lnTo>
                    <a:pt x="483" y="148"/>
                  </a:lnTo>
                  <a:lnTo>
                    <a:pt x="483" y="152"/>
                  </a:lnTo>
                  <a:lnTo>
                    <a:pt x="483" y="148"/>
                  </a:lnTo>
                  <a:lnTo>
                    <a:pt x="487" y="148"/>
                  </a:lnTo>
                  <a:lnTo>
                    <a:pt x="487" y="152"/>
                  </a:lnTo>
                  <a:lnTo>
                    <a:pt x="487" y="148"/>
                  </a:lnTo>
                  <a:lnTo>
                    <a:pt x="490" y="148"/>
                  </a:lnTo>
                  <a:lnTo>
                    <a:pt x="490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48"/>
                  </a:lnTo>
                  <a:lnTo>
                    <a:pt x="510" y="148"/>
                  </a:lnTo>
                  <a:lnTo>
                    <a:pt x="514" y="152"/>
                  </a:lnTo>
                  <a:lnTo>
                    <a:pt x="518" y="152"/>
                  </a:lnTo>
                  <a:lnTo>
                    <a:pt x="522" y="155"/>
                  </a:lnTo>
                  <a:lnTo>
                    <a:pt x="526" y="155"/>
                  </a:lnTo>
                  <a:lnTo>
                    <a:pt x="526" y="159"/>
                  </a:lnTo>
                  <a:lnTo>
                    <a:pt x="530" y="159"/>
                  </a:lnTo>
                  <a:lnTo>
                    <a:pt x="534" y="163"/>
                  </a:lnTo>
                  <a:lnTo>
                    <a:pt x="538" y="167"/>
                  </a:lnTo>
                  <a:lnTo>
                    <a:pt x="542" y="167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8" y="183"/>
                  </a:lnTo>
                  <a:lnTo>
                    <a:pt x="558" y="187"/>
                  </a:lnTo>
                  <a:lnTo>
                    <a:pt x="562" y="187"/>
                  </a:lnTo>
                  <a:lnTo>
                    <a:pt x="562" y="191"/>
                  </a:lnTo>
                  <a:lnTo>
                    <a:pt x="566" y="191"/>
                  </a:lnTo>
                  <a:lnTo>
                    <a:pt x="570" y="191"/>
                  </a:lnTo>
                  <a:lnTo>
                    <a:pt x="574" y="191"/>
                  </a:lnTo>
                  <a:lnTo>
                    <a:pt x="578" y="191"/>
                  </a:lnTo>
                  <a:lnTo>
                    <a:pt x="582" y="191"/>
                  </a:lnTo>
                  <a:lnTo>
                    <a:pt x="586" y="191"/>
                  </a:lnTo>
                  <a:lnTo>
                    <a:pt x="586" y="195"/>
                  </a:lnTo>
                  <a:lnTo>
                    <a:pt x="586" y="199"/>
                  </a:lnTo>
                  <a:lnTo>
                    <a:pt x="586" y="203"/>
                  </a:lnTo>
                  <a:lnTo>
                    <a:pt x="590" y="207"/>
                  </a:lnTo>
                  <a:lnTo>
                    <a:pt x="590" y="211"/>
                  </a:lnTo>
                  <a:lnTo>
                    <a:pt x="590" y="215"/>
                  </a:lnTo>
                  <a:lnTo>
                    <a:pt x="590" y="219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4" y="239"/>
                  </a:lnTo>
                  <a:lnTo>
                    <a:pt x="594" y="243"/>
                  </a:lnTo>
                  <a:lnTo>
                    <a:pt x="594" y="247"/>
                  </a:lnTo>
                  <a:lnTo>
                    <a:pt x="590" y="251"/>
                  </a:lnTo>
                  <a:lnTo>
                    <a:pt x="590" y="255"/>
                  </a:lnTo>
                  <a:lnTo>
                    <a:pt x="590" y="259"/>
                  </a:lnTo>
                  <a:lnTo>
                    <a:pt x="590" y="263"/>
                  </a:lnTo>
                  <a:lnTo>
                    <a:pt x="586" y="263"/>
                  </a:lnTo>
                  <a:lnTo>
                    <a:pt x="586" y="267"/>
                  </a:lnTo>
                  <a:lnTo>
                    <a:pt x="582" y="271"/>
                  </a:lnTo>
                  <a:lnTo>
                    <a:pt x="582" y="275"/>
                  </a:lnTo>
                  <a:lnTo>
                    <a:pt x="578" y="275"/>
                  </a:lnTo>
                  <a:lnTo>
                    <a:pt x="578" y="279"/>
                  </a:lnTo>
                  <a:lnTo>
                    <a:pt x="574" y="283"/>
                  </a:lnTo>
                  <a:lnTo>
                    <a:pt x="570" y="287"/>
                  </a:lnTo>
                  <a:lnTo>
                    <a:pt x="570" y="291"/>
                  </a:lnTo>
                  <a:lnTo>
                    <a:pt x="566" y="291"/>
                  </a:lnTo>
                  <a:lnTo>
                    <a:pt x="562" y="295"/>
                  </a:lnTo>
                  <a:lnTo>
                    <a:pt x="562" y="299"/>
                  </a:lnTo>
                  <a:lnTo>
                    <a:pt x="558" y="299"/>
                  </a:lnTo>
                  <a:lnTo>
                    <a:pt x="558" y="295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4" y="307"/>
                  </a:lnTo>
                  <a:lnTo>
                    <a:pt x="554" y="303"/>
                  </a:lnTo>
                  <a:lnTo>
                    <a:pt x="554" y="307"/>
                  </a:lnTo>
                  <a:lnTo>
                    <a:pt x="554" y="311"/>
                  </a:lnTo>
                  <a:lnTo>
                    <a:pt x="550" y="315"/>
                  </a:lnTo>
                  <a:lnTo>
                    <a:pt x="550" y="319"/>
                  </a:lnTo>
                  <a:lnTo>
                    <a:pt x="550" y="323"/>
                  </a:lnTo>
                  <a:lnTo>
                    <a:pt x="546" y="323"/>
                  </a:lnTo>
                  <a:lnTo>
                    <a:pt x="546" y="327"/>
                  </a:lnTo>
                  <a:lnTo>
                    <a:pt x="546" y="331"/>
                  </a:lnTo>
                  <a:lnTo>
                    <a:pt x="542" y="335"/>
                  </a:lnTo>
                  <a:lnTo>
                    <a:pt x="538" y="335"/>
                  </a:lnTo>
                  <a:lnTo>
                    <a:pt x="538" y="331"/>
                  </a:lnTo>
                  <a:lnTo>
                    <a:pt x="534" y="331"/>
                  </a:lnTo>
                  <a:lnTo>
                    <a:pt x="534" y="327"/>
                  </a:lnTo>
                  <a:lnTo>
                    <a:pt x="534" y="331"/>
                  </a:lnTo>
                  <a:lnTo>
                    <a:pt x="534" y="335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5"/>
                  </a:lnTo>
                  <a:lnTo>
                    <a:pt x="534" y="339"/>
                  </a:lnTo>
                  <a:lnTo>
                    <a:pt x="530" y="339"/>
                  </a:lnTo>
                  <a:lnTo>
                    <a:pt x="530" y="343"/>
                  </a:lnTo>
                  <a:lnTo>
                    <a:pt x="530" y="347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55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63"/>
                  </a:lnTo>
                  <a:lnTo>
                    <a:pt x="530" y="367"/>
                  </a:lnTo>
                  <a:lnTo>
                    <a:pt x="530" y="371"/>
                  </a:lnTo>
                  <a:lnTo>
                    <a:pt x="530" y="375"/>
                  </a:lnTo>
                  <a:lnTo>
                    <a:pt x="530" y="379"/>
                  </a:lnTo>
                  <a:lnTo>
                    <a:pt x="530" y="383"/>
                  </a:lnTo>
                  <a:lnTo>
                    <a:pt x="530" y="387"/>
                  </a:lnTo>
                  <a:lnTo>
                    <a:pt x="530" y="391"/>
                  </a:lnTo>
                  <a:lnTo>
                    <a:pt x="530" y="395"/>
                  </a:lnTo>
                  <a:lnTo>
                    <a:pt x="530" y="399"/>
                  </a:lnTo>
                  <a:lnTo>
                    <a:pt x="530" y="403"/>
                  </a:lnTo>
                  <a:lnTo>
                    <a:pt x="530" y="407"/>
                  </a:lnTo>
                  <a:lnTo>
                    <a:pt x="526" y="407"/>
                  </a:lnTo>
                  <a:lnTo>
                    <a:pt x="530" y="407"/>
                  </a:lnTo>
                  <a:lnTo>
                    <a:pt x="526" y="411"/>
                  </a:lnTo>
                  <a:lnTo>
                    <a:pt x="526" y="415"/>
                  </a:lnTo>
                  <a:lnTo>
                    <a:pt x="526" y="419"/>
                  </a:lnTo>
                  <a:lnTo>
                    <a:pt x="526" y="423"/>
                  </a:lnTo>
                  <a:lnTo>
                    <a:pt x="530" y="423"/>
                  </a:lnTo>
                  <a:lnTo>
                    <a:pt x="526" y="427"/>
                  </a:lnTo>
                  <a:lnTo>
                    <a:pt x="522" y="427"/>
                  </a:lnTo>
                  <a:lnTo>
                    <a:pt x="522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8" y="439"/>
                  </a:lnTo>
                  <a:lnTo>
                    <a:pt x="518" y="443"/>
                  </a:lnTo>
                  <a:lnTo>
                    <a:pt x="518" y="447"/>
                  </a:lnTo>
                  <a:lnTo>
                    <a:pt x="518" y="451"/>
                  </a:lnTo>
                  <a:lnTo>
                    <a:pt x="518" y="455"/>
                  </a:lnTo>
                  <a:lnTo>
                    <a:pt x="518" y="459"/>
                  </a:lnTo>
                  <a:lnTo>
                    <a:pt x="518" y="463"/>
                  </a:lnTo>
                  <a:lnTo>
                    <a:pt x="514" y="463"/>
                  </a:lnTo>
                  <a:lnTo>
                    <a:pt x="514" y="467"/>
                  </a:lnTo>
                  <a:lnTo>
                    <a:pt x="514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0" y="479"/>
                  </a:lnTo>
                  <a:lnTo>
                    <a:pt x="506" y="483"/>
                  </a:lnTo>
                  <a:lnTo>
                    <a:pt x="502" y="483"/>
                  </a:lnTo>
                  <a:lnTo>
                    <a:pt x="502" y="487"/>
                  </a:lnTo>
                  <a:lnTo>
                    <a:pt x="502" y="491"/>
                  </a:lnTo>
                  <a:lnTo>
                    <a:pt x="498" y="495"/>
                  </a:lnTo>
                  <a:lnTo>
                    <a:pt x="498" y="499"/>
                  </a:lnTo>
                  <a:lnTo>
                    <a:pt x="502" y="503"/>
                  </a:lnTo>
                  <a:lnTo>
                    <a:pt x="498" y="507"/>
                  </a:lnTo>
                  <a:lnTo>
                    <a:pt x="494" y="507"/>
                  </a:lnTo>
                  <a:lnTo>
                    <a:pt x="490" y="511"/>
                  </a:lnTo>
                  <a:lnTo>
                    <a:pt x="487" y="515"/>
                  </a:lnTo>
                  <a:lnTo>
                    <a:pt x="487" y="519"/>
                  </a:lnTo>
                  <a:lnTo>
                    <a:pt x="483" y="523"/>
                  </a:lnTo>
                  <a:lnTo>
                    <a:pt x="479" y="523"/>
                  </a:lnTo>
                  <a:lnTo>
                    <a:pt x="475" y="523"/>
                  </a:lnTo>
                  <a:lnTo>
                    <a:pt x="471" y="523"/>
                  </a:lnTo>
                  <a:lnTo>
                    <a:pt x="467" y="523"/>
                  </a:lnTo>
                  <a:lnTo>
                    <a:pt x="467" y="519"/>
                  </a:lnTo>
                  <a:lnTo>
                    <a:pt x="471" y="519"/>
                  </a:lnTo>
                  <a:lnTo>
                    <a:pt x="467" y="519"/>
                  </a:lnTo>
                  <a:lnTo>
                    <a:pt x="467" y="523"/>
                  </a:lnTo>
                  <a:lnTo>
                    <a:pt x="463" y="523"/>
                  </a:lnTo>
                  <a:lnTo>
                    <a:pt x="459" y="527"/>
                  </a:lnTo>
                  <a:lnTo>
                    <a:pt x="455" y="527"/>
                  </a:lnTo>
                  <a:lnTo>
                    <a:pt x="455" y="523"/>
                  </a:lnTo>
                  <a:lnTo>
                    <a:pt x="455" y="527"/>
                  </a:lnTo>
                  <a:lnTo>
                    <a:pt x="459" y="527"/>
                  </a:lnTo>
                  <a:lnTo>
                    <a:pt x="463" y="523"/>
                  </a:lnTo>
                  <a:lnTo>
                    <a:pt x="459" y="523"/>
                  </a:lnTo>
                  <a:lnTo>
                    <a:pt x="455" y="523"/>
                  </a:lnTo>
                  <a:lnTo>
                    <a:pt x="451" y="527"/>
                  </a:lnTo>
                  <a:lnTo>
                    <a:pt x="451" y="523"/>
                  </a:lnTo>
                  <a:lnTo>
                    <a:pt x="447" y="523"/>
                  </a:lnTo>
                  <a:lnTo>
                    <a:pt x="447" y="527"/>
                  </a:lnTo>
                  <a:lnTo>
                    <a:pt x="443" y="527"/>
                  </a:lnTo>
                  <a:lnTo>
                    <a:pt x="447" y="527"/>
                  </a:lnTo>
                  <a:lnTo>
                    <a:pt x="447" y="531"/>
                  </a:lnTo>
                  <a:lnTo>
                    <a:pt x="443" y="531"/>
                  </a:lnTo>
                  <a:lnTo>
                    <a:pt x="439" y="531"/>
                  </a:lnTo>
                  <a:lnTo>
                    <a:pt x="439" y="535"/>
                  </a:lnTo>
                  <a:lnTo>
                    <a:pt x="435" y="535"/>
                  </a:lnTo>
                  <a:lnTo>
                    <a:pt x="435" y="539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19" y="543"/>
                  </a:lnTo>
                  <a:lnTo>
                    <a:pt x="419" y="539"/>
                  </a:lnTo>
                  <a:lnTo>
                    <a:pt x="419" y="543"/>
                  </a:lnTo>
                  <a:lnTo>
                    <a:pt x="415" y="547"/>
                  </a:lnTo>
                  <a:lnTo>
                    <a:pt x="411" y="547"/>
                  </a:lnTo>
                  <a:lnTo>
                    <a:pt x="411" y="551"/>
                  </a:lnTo>
                  <a:lnTo>
                    <a:pt x="407" y="555"/>
                  </a:lnTo>
                  <a:lnTo>
                    <a:pt x="403" y="555"/>
                  </a:lnTo>
                  <a:lnTo>
                    <a:pt x="399" y="559"/>
                  </a:lnTo>
                  <a:lnTo>
                    <a:pt x="395" y="559"/>
                  </a:lnTo>
                  <a:lnTo>
                    <a:pt x="395" y="563"/>
                  </a:lnTo>
                  <a:lnTo>
                    <a:pt x="395" y="567"/>
                  </a:lnTo>
                  <a:lnTo>
                    <a:pt x="391" y="571"/>
                  </a:lnTo>
                  <a:lnTo>
                    <a:pt x="391" y="567"/>
                  </a:lnTo>
                  <a:lnTo>
                    <a:pt x="387" y="567"/>
                  </a:lnTo>
                  <a:lnTo>
                    <a:pt x="387" y="571"/>
                  </a:lnTo>
                  <a:lnTo>
                    <a:pt x="383" y="571"/>
                  </a:lnTo>
                  <a:lnTo>
                    <a:pt x="387" y="571"/>
                  </a:lnTo>
                  <a:lnTo>
                    <a:pt x="387" y="575"/>
                  </a:lnTo>
                  <a:lnTo>
                    <a:pt x="387" y="579"/>
                  </a:lnTo>
                  <a:lnTo>
                    <a:pt x="383" y="579"/>
                  </a:lnTo>
                  <a:lnTo>
                    <a:pt x="387" y="579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3" y="587"/>
                  </a:lnTo>
                  <a:lnTo>
                    <a:pt x="383" y="583"/>
                  </a:lnTo>
                  <a:lnTo>
                    <a:pt x="383" y="587"/>
                  </a:lnTo>
                  <a:lnTo>
                    <a:pt x="383" y="590"/>
                  </a:lnTo>
                  <a:lnTo>
                    <a:pt x="387" y="590"/>
                  </a:lnTo>
                  <a:lnTo>
                    <a:pt x="383" y="590"/>
                  </a:lnTo>
                  <a:lnTo>
                    <a:pt x="383" y="594"/>
                  </a:lnTo>
                  <a:lnTo>
                    <a:pt x="383" y="598"/>
                  </a:lnTo>
                  <a:lnTo>
                    <a:pt x="387" y="602"/>
                  </a:lnTo>
                  <a:lnTo>
                    <a:pt x="387" y="606"/>
                  </a:lnTo>
                  <a:lnTo>
                    <a:pt x="387" y="602"/>
                  </a:lnTo>
                  <a:lnTo>
                    <a:pt x="383" y="606"/>
                  </a:lnTo>
                  <a:lnTo>
                    <a:pt x="383" y="610"/>
                  </a:lnTo>
                  <a:lnTo>
                    <a:pt x="387" y="610"/>
                  </a:lnTo>
                  <a:lnTo>
                    <a:pt x="383" y="614"/>
                  </a:lnTo>
                  <a:lnTo>
                    <a:pt x="387" y="614"/>
                  </a:lnTo>
                  <a:lnTo>
                    <a:pt x="387" y="618"/>
                  </a:lnTo>
                  <a:lnTo>
                    <a:pt x="383" y="622"/>
                  </a:lnTo>
                  <a:lnTo>
                    <a:pt x="383" y="630"/>
                  </a:lnTo>
                  <a:lnTo>
                    <a:pt x="383" y="626"/>
                  </a:lnTo>
                  <a:lnTo>
                    <a:pt x="383" y="630"/>
                  </a:lnTo>
                  <a:lnTo>
                    <a:pt x="379" y="634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1" y="642"/>
                  </a:lnTo>
                  <a:lnTo>
                    <a:pt x="371" y="646"/>
                  </a:lnTo>
                  <a:lnTo>
                    <a:pt x="367" y="646"/>
                  </a:lnTo>
                  <a:lnTo>
                    <a:pt x="367" y="650"/>
                  </a:lnTo>
                  <a:lnTo>
                    <a:pt x="363" y="650"/>
                  </a:lnTo>
                  <a:lnTo>
                    <a:pt x="363" y="654"/>
                  </a:lnTo>
                  <a:lnTo>
                    <a:pt x="363" y="658"/>
                  </a:lnTo>
                  <a:lnTo>
                    <a:pt x="363" y="662"/>
                  </a:lnTo>
                  <a:lnTo>
                    <a:pt x="359" y="662"/>
                  </a:lnTo>
                  <a:lnTo>
                    <a:pt x="359" y="666"/>
                  </a:lnTo>
                  <a:lnTo>
                    <a:pt x="359" y="670"/>
                  </a:lnTo>
                  <a:lnTo>
                    <a:pt x="355" y="674"/>
                  </a:lnTo>
                  <a:lnTo>
                    <a:pt x="355" y="678"/>
                  </a:lnTo>
                  <a:lnTo>
                    <a:pt x="351" y="678"/>
                  </a:lnTo>
                  <a:lnTo>
                    <a:pt x="351" y="682"/>
                  </a:lnTo>
                  <a:lnTo>
                    <a:pt x="347" y="686"/>
                  </a:lnTo>
                  <a:lnTo>
                    <a:pt x="347" y="690"/>
                  </a:lnTo>
                  <a:lnTo>
                    <a:pt x="343" y="694"/>
                  </a:lnTo>
                  <a:lnTo>
                    <a:pt x="339" y="694"/>
                  </a:lnTo>
                  <a:lnTo>
                    <a:pt x="335" y="698"/>
                  </a:lnTo>
                  <a:lnTo>
                    <a:pt x="331" y="702"/>
                  </a:lnTo>
                  <a:lnTo>
                    <a:pt x="331" y="698"/>
                  </a:lnTo>
                  <a:lnTo>
                    <a:pt x="335" y="698"/>
                  </a:lnTo>
                  <a:lnTo>
                    <a:pt x="331" y="698"/>
                  </a:lnTo>
                  <a:lnTo>
                    <a:pt x="331" y="694"/>
                  </a:lnTo>
                  <a:lnTo>
                    <a:pt x="335" y="694"/>
                  </a:lnTo>
                  <a:lnTo>
                    <a:pt x="339" y="694"/>
                  </a:lnTo>
                  <a:lnTo>
                    <a:pt x="339" y="690"/>
                  </a:lnTo>
                  <a:lnTo>
                    <a:pt x="343" y="690"/>
                  </a:lnTo>
                  <a:lnTo>
                    <a:pt x="343" y="686"/>
                  </a:lnTo>
                  <a:lnTo>
                    <a:pt x="347" y="686"/>
                  </a:lnTo>
                  <a:lnTo>
                    <a:pt x="347" y="682"/>
                  </a:lnTo>
                  <a:lnTo>
                    <a:pt x="347" y="678"/>
                  </a:lnTo>
                  <a:lnTo>
                    <a:pt x="347" y="682"/>
                  </a:lnTo>
                  <a:lnTo>
                    <a:pt x="351" y="682"/>
                  </a:lnTo>
                  <a:lnTo>
                    <a:pt x="351" y="678"/>
                  </a:lnTo>
                  <a:lnTo>
                    <a:pt x="351" y="674"/>
                  </a:lnTo>
                  <a:lnTo>
                    <a:pt x="355" y="674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62"/>
                  </a:lnTo>
                  <a:lnTo>
                    <a:pt x="355" y="666"/>
                  </a:lnTo>
                  <a:lnTo>
                    <a:pt x="351" y="666"/>
                  </a:lnTo>
                  <a:lnTo>
                    <a:pt x="347" y="666"/>
                  </a:lnTo>
                  <a:lnTo>
                    <a:pt x="347" y="662"/>
                  </a:lnTo>
                  <a:lnTo>
                    <a:pt x="347" y="658"/>
                  </a:lnTo>
                  <a:lnTo>
                    <a:pt x="343" y="658"/>
                  </a:lnTo>
                  <a:lnTo>
                    <a:pt x="343" y="662"/>
                  </a:lnTo>
                  <a:lnTo>
                    <a:pt x="343" y="666"/>
                  </a:lnTo>
                  <a:lnTo>
                    <a:pt x="347" y="666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8"/>
                  </a:lnTo>
                  <a:lnTo>
                    <a:pt x="343" y="682"/>
                  </a:lnTo>
                  <a:lnTo>
                    <a:pt x="339" y="682"/>
                  </a:lnTo>
                  <a:lnTo>
                    <a:pt x="335" y="686"/>
                  </a:lnTo>
                  <a:lnTo>
                    <a:pt x="335" y="690"/>
                  </a:lnTo>
                  <a:lnTo>
                    <a:pt x="331" y="690"/>
                  </a:lnTo>
                  <a:lnTo>
                    <a:pt x="331" y="694"/>
                  </a:lnTo>
                  <a:lnTo>
                    <a:pt x="331" y="698"/>
                  </a:lnTo>
                  <a:lnTo>
                    <a:pt x="331" y="702"/>
                  </a:lnTo>
                  <a:lnTo>
                    <a:pt x="331" y="706"/>
                  </a:lnTo>
                  <a:lnTo>
                    <a:pt x="327" y="710"/>
                  </a:lnTo>
                  <a:lnTo>
                    <a:pt x="327" y="714"/>
                  </a:lnTo>
                  <a:lnTo>
                    <a:pt x="327" y="718"/>
                  </a:lnTo>
                  <a:lnTo>
                    <a:pt x="323" y="722"/>
                  </a:lnTo>
                  <a:lnTo>
                    <a:pt x="319" y="726"/>
                  </a:lnTo>
                  <a:lnTo>
                    <a:pt x="315" y="730"/>
                  </a:lnTo>
                  <a:lnTo>
                    <a:pt x="315" y="734"/>
                  </a:lnTo>
                  <a:lnTo>
                    <a:pt x="311" y="734"/>
                  </a:lnTo>
                  <a:lnTo>
                    <a:pt x="311" y="730"/>
                  </a:lnTo>
                  <a:lnTo>
                    <a:pt x="311" y="726"/>
                  </a:lnTo>
                  <a:lnTo>
                    <a:pt x="311" y="722"/>
                  </a:lnTo>
                  <a:lnTo>
                    <a:pt x="311" y="718"/>
                  </a:lnTo>
                  <a:lnTo>
                    <a:pt x="315" y="718"/>
                  </a:lnTo>
                  <a:lnTo>
                    <a:pt x="315" y="714"/>
                  </a:lnTo>
                  <a:lnTo>
                    <a:pt x="319" y="714"/>
                  </a:lnTo>
                  <a:lnTo>
                    <a:pt x="315" y="710"/>
                  </a:lnTo>
                  <a:lnTo>
                    <a:pt x="311" y="710"/>
                  </a:lnTo>
                  <a:lnTo>
                    <a:pt x="311" y="706"/>
                  </a:lnTo>
                  <a:lnTo>
                    <a:pt x="307" y="706"/>
                  </a:lnTo>
                  <a:lnTo>
                    <a:pt x="307" y="702"/>
                  </a:lnTo>
                  <a:lnTo>
                    <a:pt x="307" y="698"/>
                  </a:lnTo>
                  <a:lnTo>
                    <a:pt x="303" y="698"/>
                  </a:lnTo>
                  <a:lnTo>
                    <a:pt x="303" y="694"/>
                  </a:lnTo>
                  <a:lnTo>
                    <a:pt x="299" y="694"/>
                  </a:lnTo>
                  <a:lnTo>
                    <a:pt x="295" y="690"/>
                  </a:lnTo>
                  <a:lnTo>
                    <a:pt x="295" y="686"/>
                  </a:lnTo>
                  <a:lnTo>
                    <a:pt x="291" y="686"/>
                  </a:lnTo>
                  <a:lnTo>
                    <a:pt x="287" y="686"/>
                  </a:lnTo>
                  <a:lnTo>
                    <a:pt x="283" y="682"/>
                  </a:lnTo>
                  <a:lnTo>
                    <a:pt x="283" y="678"/>
                  </a:lnTo>
                  <a:lnTo>
                    <a:pt x="279" y="678"/>
                  </a:lnTo>
                  <a:lnTo>
                    <a:pt x="279" y="674"/>
                  </a:lnTo>
                  <a:lnTo>
                    <a:pt x="279" y="678"/>
                  </a:lnTo>
                  <a:lnTo>
                    <a:pt x="275" y="678"/>
                  </a:lnTo>
                  <a:lnTo>
                    <a:pt x="271" y="678"/>
                  </a:lnTo>
                  <a:lnTo>
                    <a:pt x="275" y="678"/>
                  </a:lnTo>
                  <a:lnTo>
                    <a:pt x="275" y="674"/>
                  </a:lnTo>
                  <a:lnTo>
                    <a:pt x="271" y="674"/>
                  </a:lnTo>
                  <a:lnTo>
                    <a:pt x="271" y="670"/>
                  </a:lnTo>
                  <a:lnTo>
                    <a:pt x="267" y="670"/>
                  </a:lnTo>
                  <a:lnTo>
                    <a:pt x="267" y="666"/>
                  </a:lnTo>
                  <a:lnTo>
                    <a:pt x="263" y="666"/>
                  </a:lnTo>
                  <a:lnTo>
                    <a:pt x="263" y="662"/>
                  </a:lnTo>
                  <a:lnTo>
                    <a:pt x="259" y="662"/>
                  </a:lnTo>
                  <a:lnTo>
                    <a:pt x="255" y="662"/>
                  </a:lnTo>
                  <a:lnTo>
                    <a:pt x="255" y="666"/>
                  </a:lnTo>
                  <a:lnTo>
                    <a:pt x="251" y="662"/>
                  </a:lnTo>
                  <a:lnTo>
                    <a:pt x="251" y="666"/>
                  </a:lnTo>
                  <a:lnTo>
                    <a:pt x="251" y="662"/>
                  </a:lnTo>
                  <a:lnTo>
                    <a:pt x="247" y="662"/>
                  </a:lnTo>
                  <a:lnTo>
                    <a:pt x="251" y="662"/>
                  </a:lnTo>
                  <a:lnTo>
                    <a:pt x="251" y="658"/>
                  </a:lnTo>
                  <a:lnTo>
                    <a:pt x="255" y="654"/>
                  </a:lnTo>
                  <a:lnTo>
                    <a:pt x="259" y="654"/>
                  </a:lnTo>
                  <a:lnTo>
                    <a:pt x="259" y="650"/>
                  </a:lnTo>
                  <a:lnTo>
                    <a:pt x="263" y="646"/>
                  </a:lnTo>
                  <a:lnTo>
                    <a:pt x="263" y="642"/>
                  </a:lnTo>
                  <a:lnTo>
                    <a:pt x="267" y="642"/>
                  </a:lnTo>
                  <a:lnTo>
                    <a:pt x="267" y="638"/>
                  </a:lnTo>
                  <a:lnTo>
                    <a:pt x="267" y="634"/>
                  </a:lnTo>
                  <a:lnTo>
                    <a:pt x="271" y="634"/>
                  </a:lnTo>
                  <a:lnTo>
                    <a:pt x="271" y="630"/>
                  </a:lnTo>
                  <a:lnTo>
                    <a:pt x="275" y="630"/>
                  </a:lnTo>
                  <a:lnTo>
                    <a:pt x="275" y="626"/>
                  </a:lnTo>
                  <a:lnTo>
                    <a:pt x="279" y="626"/>
                  </a:lnTo>
                  <a:lnTo>
                    <a:pt x="275" y="626"/>
                  </a:lnTo>
                  <a:lnTo>
                    <a:pt x="275" y="622"/>
                  </a:lnTo>
                  <a:lnTo>
                    <a:pt x="279" y="622"/>
                  </a:lnTo>
                  <a:lnTo>
                    <a:pt x="283" y="622"/>
                  </a:lnTo>
                  <a:lnTo>
                    <a:pt x="283" y="618"/>
                  </a:lnTo>
                  <a:lnTo>
                    <a:pt x="287" y="618"/>
                  </a:lnTo>
                  <a:lnTo>
                    <a:pt x="291" y="614"/>
                  </a:lnTo>
                  <a:lnTo>
                    <a:pt x="291" y="610"/>
                  </a:lnTo>
                  <a:lnTo>
                    <a:pt x="295" y="610"/>
                  </a:lnTo>
                  <a:lnTo>
                    <a:pt x="299" y="610"/>
                  </a:lnTo>
                  <a:lnTo>
                    <a:pt x="299" y="606"/>
                  </a:lnTo>
                  <a:lnTo>
                    <a:pt x="303" y="606"/>
                  </a:lnTo>
                  <a:lnTo>
                    <a:pt x="303" y="602"/>
                  </a:lnTo>
                  <a:lnTo>
                    <a:pt x="307" y="602"/>
                  </a:lnTo>
                  <a:lnTo>
                    <a:pt x="307" y="598"/>
                  </a:lnTo>
                  <a:lnTo>
                    <a:pt x="307" y="594"/>
                  </a:lnTo>
                  <a:lnTo>
                    <a:pt x="307" y="590"/>
                  </a:lnTo>
                  <a:lnTo>
                    <a:pt x="307" y="587"/>
                  </a:lnTo>
                  <a:lnTo>
                    <a:pt x="307" y="583"/>
                  </a:lnTo>
                  <a:lnTo>
                    <a:pt x="307" y="579"/>
                  </a:lnTo>
                  <a:lnTo>
                    <a:pt x="307" y="575"/>
                  </a:lnTo>
                  <a:lnTo>
                    <a:pt x="303" y="571"/>
                  </a:lnTo>
                  <a:lnTo>
                    <a:pt x="299" y="571"/>
                  </a:lnTo>
                  <a:lnTo>
                    <a:pt x="299" y="575"/>
                  </a:lnTo>
                  <a:lnTo>
                    <a:pt x="295" y="575"/>
                  </a:lnTo>
                  <a:lnTo>
                    <a:pt x="295" y="571"/>
                  </a:lnTo>
                  <a:lnTo>
                    <a:pt x="295" y="567"/>
                  </a:lnTo>
                  <a:lnTo>
                    <a:pt x="295" y="563"/>
                  </a:lnTo>
                  <a:lnTo>
                    <a:pt x="299" y="559"/>
                  </a:lnTo>
                  <a:lnTo>
                    <a:pt x="299" y="555"/>
                  </a:lnTo>
                  <a:lnTo>
                    <a:pt x="299" y="551"/>
                  </a:lnTo>
                  <a:lnTo>
                    <a:pt x="299" y="547"/>
                  </a:lnTo>
                  <a:lnTo>
                    <a:pt x="299" y="543"/>
                  </a:lnTo>
                  <a:lnTo>
                    <a:pt x="295" y="539"/>
                  </a:lnTo>
                  <a:lnTo>
                    <a:pt x="291" y="543"/>
                  </a:lnTo>
                  <a:lnTo>
                    <a:pt x="287" y="543"/>
                  </a:lnTo>
                  <a:lnTo>
                    <a:pt x="283" y="543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79" y="535"/>
                  </a:lnTo>
                  <a:lnTo>
                    <a:pt x="279" y="531"/>
                  </a:lnTo>
                  <a:lnTo>
                    <a:pt x="279" y="527"/>
                  </a:lnTo>
                  <a:lnTo>
                    <a:pt x="279" y="523"/>
                  </a:lnTo>
                  <a:lnTo>
                    <a:pt x="279" y="519"/>
                  </a:lnTo>
                  <a:lnTo>
                    <a:pt x="279" y="515"/>
                  </a:lnTo>
                  <a:lnTo>
                    <a:pt x="275" y="515"/>
                  </a:lnTo>
                  <a:lnTo>
                    <a:pt x="275" y="511"/>
                  </a:lnTo>
                  <a:lnTo>
                    <a:pt x="271" y="511"/>
                  </a:lnTo>
                  <a:lnTo>
                    <a:pt x="267" y="511"/>
                  </a:lnTo>
                  <a:lnTo>
                    <a:pt x="267" y="507"/>
                  </a:lnTo>
                  <a:lnTo>
                    <a:pt x="263" y="507"/>
                  </a:lnTo>
                  <a:lnTo>
                    <a:pt x="263" y="511"/>
                  </a:lnTo>
                  <a:lnTo>
                    <a:pt x="259" y="511"/>
                  </a:lnTo>
                  <a:lnTo>
                    <a:pt x="255" y="511"/>
                  </a:lnTo>
                  <a:lnTo>
                    <a:pt x="251" y="511"/>
                  </a:lnTo>
                  <a:lnTo>
                    <a:pt x="247" y="507"/>
                  </a:lnTo>
                  <a:lnTo>
                    <a:pt x="243" y="507"/>
                  </a:lnTo>
                  <a:lnTo>
                    <a:pt x="243" y="503"/>
                  </a:lnTo>
                  <a:lnTo>
                    <a:pt x="243" y="499"/>
                  </a:lnTo>
                  <a:lnTo>
                    <a:pt x="243" y="495"/>
                  </a:lnTo>
                  <a:lnTo>
                    <a:pt x="243" y="491"/>
                  </a:lnTo>
                  <a:lnTo>
                    <a:pt x="247" y="487"/>
                  </a:lnTo>
                  <a:lnTo>
                    <a:pt x="243" y="483"/>
                  </a:lnTo>
                  <a:lnTo>
                    <a:pt x="243" y="479"/>
                  </a:lnTo>
                  <a:lnTo>
                    <a:pt x="243" y="475"/>
                  </a:lnTo>
                  <a:lnTo>
                    <a:pt x="239" y="471"/>
                  </a:lnTo>
                  <a:lnTo>
                    <a:pt x="243" y="467"/>
                  </a:lnTo>
                  <a:lnTo>
                    <a:pt x="243" y="463"/>
                  </a:lnTo>
                  <a:lnTo>
                    <a:pt x="239" y="463"/>
                  </a:lnTo>
                  <a:lnTo>
                    <a:pt x="243" y="463"/>
                  </a:lnTo>
                  <a:lnTo>
                    <a:pt x="243" y="455"/>
                  </a:lnTo>
                  <a:lnTo>
                    <a:pt x="243" y="451"/>
                  </a:lnTo>
                  <a:lnTo>
                    <a:pt x="247" y="451"/>
                  </a:lnTo>
                  <a:lnTo>
                    <a:pt x="247" y="447"/>
                  </a:lnTo>
                  <a:lnTo>
                    <a:pt x="247" y="439"/>
                  </a:lnTo>
                  <a:lnTo>
                    <a:pt x="251" y="435"/>
                  </a:lnTo>
                  <a:lnTo>
                    <a:pt x="247" y="431"/>
                  </a:lnTo>
                  <a:lnTo>
                    <a:pt x="247" y="427"/>
                  </a:lnTo>
                  <a:lnTo>
                    <a:pt x="247" y="423"/>
                  </a:lnTo>
                  <a:lnTo>
                    <a:pt x="243" y="419"/>
                  </a:lnTo>
                  <a:lnTo>
                    <a:pt x="239" y="419"/>
                  </a:lnTo>
                  <a:lnTo>
                    <a:pt x="239" y="415"/>
                  </a:lnTo>
                  <a:lnTo>
                    <a:pt x="235" y="415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9" y="399"/>
                  </a:lnTo>
                  <a:lnTo>
                    <a:pt x="235" y="399"/>
                  </a:lnTo>
                  <a:lnTo>
                    <a:pt x="227" y="399"/>
                  </a:lnTo>
                  <a:lnTo>
                    <a:pt x="219" y="399"/>
                  </a:lnTo>
                  <a:lnTo>
                    <a:pt x="211" y="399"/>
                  </a:lnTo>
                  <a:lnTo>
                    <a:pt x="211" y="391"/>
                  </a:lnTo>
                  <a:lnTo>
                    <a:pt x="207" y="383"/>
                  </a:lnTo>
                  <a:lnTo>
                    <a:pt x="207" y="379"/>
                  </a:lnTo>
                  <a:lnTo>
                    <a:pt x="203" y="375"/>
                  </a:lnTo>
                  <a:lnTo>
                    <a:pt x="207" y="375"/>
                  </a:lnTo>
                  <a:lnTo>
                    <a:pt x="207" y="371"/>
                  </a:lnTo>
                  <a:lnTo>
                    <a:pt x="207" y="367"/>
                  </a:lnTo>
                  <a:lnTo>
                    <a:pt x="207" y="363"/>
                  </a:lnTo>
                  <a:lnTo>
                    <a:pt x="207" y="359"/>
                  </a:lnTo>
                  <a:lnTo>
                    <a:pt x="203" y="359"/>
                  </a:lnTo>
                  <a:lnTo>
                    <a:pt x="207" y="355"/>
                  </a:lnTo>
                  <a:lnTo>
                    <a:pt x="207" y="351"/>
                  </a:lnTo>
                  <a:lnTo>
                    <a:pt x="203" y="351"/>
                  </a:lnTo>
                  <a:lnTo>
                    <a:pt x="199" y="347"/>
                  </a:lnTo>
                  <a:lnTo>
                    <a:pt x="195" y="347"/>
                  </a:lnTo>
                  <a:lnTo>
                    <a:pt x="191" y="347"/>
                  </a:lnTo>
                  <a:lnTo>
                    <a:pt x="187" y="347"/>
                  </a:lnTo>
                  <a:lnTo>
                    <a:pt x="183" y="347"/>
                  </a:lnTo>
                  <a:lnTo>
                    <a:pt x="183" y="343"/>
                  </a:lnTo>
                  <a:lnTo>
                    <a:pt x="179" y="343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1"/>
                  </a:lnTo>
                  <a:lnTo>
                    <a:pt x="163" y="331"/>
                  </a:lnTo>
                  <a:lnTo>
                    <a:pt x="159" y="331"/>
                  </a:lnTo>
                  <a:lnTo>
                    <a:pt x="159" y="327"/>
                  </a:lnTo>
                  <a:lnTo>
                    <a:pt x="155" y="327"/>
                  </a:lnTo>
                  <a:lnTo>
                    <a:pt x="151" y="327"/>
                  </a:lnTo>
                  <a:lnTo>
                    <a:pt x="147" y="327"/>
                  </a:lnTo>
                  <a:lnTo>
                    <a:pt x="143" y="323"/>
                  </a:lnTo>
                  <a:lnTo>
                    <a:pt x="139" y="319"/>
                  </a:lnTo>
                  <a:lnTo>
                    <a:pt x="135" y="319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2" y="307"/>
                  </a:lnTo>
                  <a:lnTo>
                    <a:pt x="132" y="303"/>
                  </a:lnTo>
                  <a:lnTo>
                    <a:pt x="132" y="299"/>
                  </a:lnTo>
                  <a:lnTo>
                    <a:pt x="132" y="295"/>
                  </a:lnTo>
                  <a:lnTo>
                    <a:pt x="132" y="291"/>
                  </a:lnTo>
                  <a:lnTo>
                    <a:pt x="132" y="287"/>
                  </a:lnTo>
                  <a:lnTo>
                    <a:pt x="132" y="283"/>
                  </a:lnTo>
                  <a:lnTo>
                    <a:pt x="132" y="279"/>
                  </a:lnTo>
                  <a:lnTo>
                    <a:pt x="132" y="275"/>
                  </a:lnTo>
                  <a:lnTo>
                    <a:pt x="128" y="275"/>
                  </a:lnTo>
                  <a:lnTo>
                    <a:pt x="128" y="279"/>
                  </a:lnTo>
                  <a:lnTo>
                    <a:pt x="128" y="275"/>
                  </a:lnTo>
                  <a:lnTo>
                    <a:pt x="124" y="275"/>
                  </a:lnTo>
                  <a:lnTo>
                    <a:pt x="120" y="275"/>
                  </a:lnTo>
                  <a:lnTo>
                    <a:pt x="116" y="279"/>
                  </a:lnTo>
                  <a:lnTo>
                    <a:pt x="112" y="279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7"/>
                  </a:lnTo>
                  <a:lnTo>
                    <a:pt x="100" y="291"/>
                  </a:lnTo>
                  <a:lnTo>
                    <a:pt x="96" y="291"/>
                  </a:lnTo>
                  <a:lnTo>
                    <a:pt x="96" y="295"/>
                  </a:lnTo>
                  <a:lnTo>
                    <a:pt x="96" y="291"/>
                  </a:lnTo>
                  <a:lnTo>
                    <a:pt x="92" y="291"/>
                  </a:lnTo>
                  <a:lnTo>
                    <a:pt x="92" y="295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84" y="299"/>
                  </a:lnTo>
                  <a:lnTo>
                    <a:pt x="84" y="303"/>
                  </a:lnTo>
                  <a:lnTo>
                    <a:pt x="80" y="303"/>
                  </a:lnTo>
                  <a:lnTo>
                    <a:pt x="80" y="299"/>
                  </a:lnTo>
                  <a:lnTo>
                    <a:pt x="76" y="299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4" y="299"/>
                  </a:lnTo>
                  <a:lnTo>
                    <a:pt x="60" y="299"/>
                  </a:lnTo>
                  <a:lnTo>
                    <a:pt x="56" y="299"/>
                  </a:lnTo>
                  <a:lnTo>
                    <a:pt x="52" y="299"/>
                  </a:lnTo>
                  <a:lnTo>
                    <a:pt x="52" y="295"/>
                  </a:lnTo>
                  <a:lnTo>
                    <a:pt x="52" y="291"/>
                  </a:lnTo>
                  <a:lnTo>
                    <a:pt x="52" y="287"/>
                  </a:lnTo>
                  <a:lnTo>
                    <a:pt x="52" y="283"/>
                  </a:lnTo>
                  <a:lnTo>
                    <a:pt x="52" y="279"/>
                  </a:lnTo>
                  <a:lnTo>
                    <a:pt x="52" y="275"/>
                  </a:lnTo>
                  <a:lnTo>
                    <a:pt x="52" y="271"/>
                  </a:lnTo>
                  <a:lnTo>
                    <a:pt x="48" y="275"/>
                  </a:lnTo>
                  <a:lnTo>
                    <a:pt x="48" y="279"/>
                  </a:lnTo>
                  <a:lnTo>
                    <a:pt x="44" y="279"/>
                  </a:lnTo>
                  <a:lnTo>
                    <a:pt x="40" y="279"/>
                  </a:lnTo>
                  <a:lnTo>
                    <a:pt x="36" y="279"/>
                  </a:lnTo>
                  <a:lnTo>
                    <a:pt x="32" y="279"/>
                  </a:lnTo>
                  <a:lnTo>
                    <a:pt x="28" y="279"/>
                  </a:lnTo>
                  <a:lnTo>
                    <a:pt x="28" y="275"/>
                  </a:lnTo>
                  <a:lnTo>
                    <a:pt x="28" y="271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16" y="271"/>
                  </a:lnTo>
                  <a:lnTo>
                    <a:pt x="12" y="271"/>
                  </a:lnTo>
                  <a:lnTo>
                    <a:pt x="12" y="267"/>
                  </a:lnTo>
                  <a:lnTo>
                    <a:pt x="16" y="267"/>
                  </a:lnTo>
                  <a:lnTo>
                    <a:pt x="16" y="263"/>
                  </a:lnTo>
                  <a:lnTo>
                    <a:pt x="16" y="259"/>
                  </a:lnTo>
                  <a:lnTo>
                    <a:pt x="12" y="259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8" y="247"/>
                  </a:lnTo>
                  <a:lnTo>
                    <a:pt x="8" y="243"/>
                  </a:lnTo>
                  <a:lnTo>
                    <a:pt x="4" y="243"/>
                  </a:lnTo>
                  <a:lnTo>
                    <a:pt x="4" y="239"/>
                  </a:lnTo>
                  <a:lnTo>
                    <a:pt x="0" y="235"/>
                  </a:lnTo>
                  <a:lnTo>
                    <a:pt x="0" y="231"/>
                  </a:lnTo>
                  <a:lnTo>
                    <a:pt x="4" y="231"/>
                  </a:lnTo>
                  <a:lnTo>
                    <a:pt x="4" y="227"/>
                  </a:lnTo>
                  <a:lnTo>
                    <a:pt x="4" y="223"/>
                  </a:lnTo>
                  <a:lnTo>
                    <a:pt x="8" y="219"/>
                  </a:lnTo>
                  <a:lnTo>
                    <a:pt x="12" y="219"/>
                  </a:lnTo>
                  <a:lnTo>
                    <a:pt x="12" y="215"/>
                  </a:lnTo>
                  <a:lnTo>
                    <a:pt x="16" y="215"/>
                  </a:lnTo>
                  <a:lnTo>
                    <a:pt x="12" y="211"/>
                  </a:lnTo>
                  <a:lnTo>
                    <a:pt x="12" y="207"/>
                  </a:lnTo>
                  <a:lnTo>
                    <a:pt x="12" y="203"/>
                  </a:lnTo>
                  <a:lnTo>
                    <a:pt x="16" y="203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20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8" y="183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6" y="175"/>
                  </a:lnTo>
                  <a:lnTo>
                    <a:pt x="56" y="171"/>
                  </a:lnTo>
                  <a:lnTo>
                    <a:pt x="56" y="175"/>
                  </a:lnTo>
                  <a:lnTo>
                    <a:pt x="60" y="175"/>
                  </a:lnTo>
                  <a:lnTo>
                    <a:pt x="64" y="175"/>
                  </a:lnTo>
                  <a:lnTo>
                    <a:pt x="64" y="167"/>
                  </a:lnTo>
                  <a:lnTo>
                    <a:pt x="64" y="159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8" y="132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68"/>
                  </a:lnTo>
                  <a:lnTo>
                    <a:pt x="68" y="64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80" y="68"/>
                  </a:lnTo>
                  <a:lnTo>
                    <a:pt x="88" y="68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8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12" y="76"/>
                  </a:lnTo>
                  <a:lnTo>
                    <a:pt x="116" y="84"/>
                  </a:lnTo>
                  <a:lnTo>
                    <a:pt x="120" y="84"/>
                  </a:lnTo>
                  <a:lnTo>
                    <a:pt x="124" y="84"/>
                  </a:lnTo>
                  <a:lnTo>
                    <a:pt x="124" y="80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5" y="80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43" y="72"/>
                  </a:lnTo>
                  <a:lnTo>
                    <a:pt x="147" y="72"/>
                  </a:lnTo>
                  <a:lnTo>
                    <a:pt x="151" y="68"/>
                  </a:lnTo>
                  <a:lnTo>
                    <a:pt x="151" y="64"/>
                  </a:lnTo>
                  <a:lnTo>
                    <a:pt x="151" y="60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56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5" y="52"/>
                  </a:lnTo>
                  <a:lnTo>
                    <a:pt x="151" y="52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47" y="32"/>
                  </a:lnTo>
                  <a:lnTo>
                    <a:pt x="147" y="28"/>
                  </a:lnTo>
                  <a:lnTo>
                    <a:pt x="143" y="28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59" y="28"/>
                  </a:lnTo>
                  <a:lnTo>
                    <a:pt x="159" y="24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67" y="32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1" y="24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0"/>
                  </a:lnTo>
                  <a:lnTo>
                    <a:pt x="187" y="20"/>
                  </a:lnTo>
                  <a:lnTo>
                    <a:pt x="191" y="20"/>
                  </a:lnTo>
                  <a:lnTo>
                    <a:pt x="191" y="16"/>
                  </a:lnTo>
                  <a:lnTo>
                    <a:pt x="195" y="16"/>
                  </a:lnTo>
                  <a:lnTo>
                    <a:pt x="199" y="16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3" y="8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1" y="4"/>
                  </a:lnTo>
                  <a:lnTo>
                    <a:pt x="211" y="8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5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5" y="32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19" y="68"/>
                  </a:lnTo>
                  <a:lnTo>
                    <a:pt x="223" y="68"/>
                  </a:lnTo>
                  <a:lnTo>
                    <a:pt x="223" y="72"/>
                  </a:lnTo>
                  <a:lnTo>
                    <a:pt x="227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5" y="76"/>
                  </a:lnTo>
                  <a:lnTo>
                    <a:pt x="235" y="72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51" y="68"/>
                  </a:lnTo>
                  <a:lnTo>
                    <a:pt x="251" y="64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5" y="60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5" y="64"/>
                  </a:lnTo>
                  <a:lnTo>
                    <a:pt x="275" y="60"/>
                  </a:lnTo>
                  <a:lnTo>
                    <a:pt x="271" y="56"/>
                  </a:lnTo>
                  <a:lnTo>
                    <a:pt x="271" y="52"/>
                  </a:lnTo>
                  <a:lnTo>
                    <a:pt x="275" y="52"/>
                  </a:lnTo>
                  <a:lnTo>
                    <a:pt x="279" y="56"/>
                  </a:lnTo>
                  <a:lnTo>
                    <a:pt x="279" y="52"/>
                  </a:lnTo>
                  <a:lnTo>
                    <a:pt x="287" y="52"/>
                  </a:lnTo>
                  <a:lnTo>
                    <a:pt x="291" y="52"/>
                  </a:lnTo>
                  <a:lnTo>
                    <a:pt x="291" y="56"/>
                  </a:lnTo>
                  <a:lnTo>
                    <a:pt x="295" y="56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11" y="56"/>
                  </a:lnTo>
                  <a:lnTo>
                    <a:pt x="315" y="56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7" y="52"/>
                  </a:lnTo>
                  <a:lnTo>
                    <a:pt x="327" y="48"/>
                  </a:lnTo>
                  <a:lnTo>
                    <a:pt x="327" y="44"/>
                  </a:lnTo>
                  <a:lnTo>
                    <a:pt x="327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2"/>
                  </a:lnTo>
                  <a:lnTo>
                    <a:pt x="335" y="28"/>
                  </a:lnTo>
                  <a:lnTo>
                    <a:pt x="335" y="24"/>
                  </a:lnTo>
                  <a:lnTo>
                    <a:pt x="339" y="24"/>
                  </a:lnTo>
                  <a:lnTo>
                    <a:pt x="339" y="20"/>
                  </a:lnTo>
                  <a:lnTo>
                    <a:pt x="343" y="24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20"/>
                  </a:lnTo>
                  <a:lnTo>
                    <a:pt x="347" y="24"/>
                  </a:lnTo>
                  <a:lnTo>
                    <a:pt x="347" y="28"/>
                  </a:lnTo>
                  <a:lnTo>
                    <a:pt x="347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47" y="44"/>
                  </a:lnTo>
                  <a:lnTo>
                    <a:pt x="351" y="44"/>
                  </a:lnTo>
                  <a:lnTo>
                    <a:pt x="351" y="48"/>
                  </a:lnTo>
                  <a:lnTo>
                    <a:pt x="351" y="52"/>
                  </a:lnTo>
                  <a:lnTo>
                    <a:pt x="355" y="60"/>
                  </a:lnTo>
                  <a:lnTo>
                    <a:pt x="355" y="64"/>
                  </a:lnTo>
                  <a:lnTo>
                    <a:pt x="359" y="64"/>
                  </a:lnTo>
                  <a:lnTo>
                    <a:pt x="363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6"/>
                  </a:lnTo>
                  <a:lnTo>
                    <a:pt x="367" y="76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59" y="80"/>
                  </a:lnTo>
                  <a:lnTo>
                    <a:pt x="359" y="84"/>
                  </a:lnTo>
                  <a:lnTo>
                    <a:pt x="355" y="88"/>
                  </a:lnTo>
                  <a:lnTo>
                    <a:pt x="355" y="92"/>
                  </a:lnTo>
                  <a:lnTo>
                    <a:pt x="351" y="96"/>
                  </a:lnTo>
                  <a:lnTo>
                    <a:pt x="347" y="96"/>
                  </a:lnTo>
                  <a:lnTo>
                    <a:pt x="347" y="100"/>
                  </a:lnTo>
                  <a:lnTo>
                    <a:pt x="343" y="100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5" y="120"/>
                  </a:lnTo>
                  <a:lnTo>
                    <a:pt x="335" y="124"/>
                  </a:lnTo>
                  <a:lnTo>
                    <a:pt x="331" y="124"/>
                  </a:lnTo>
                  <a:lnTo>
                    <a:pt x="327" y="124"/>
                  </a:lnTo>
                  <a:lnTo>
                    <a:pt x="327" y="128"/>
                  </a:lnTo>
                  <a:lnTo>
                    <a:pt x="323" y="124"/>
                  </a:lnTo>
                  <a:lnTo>
                    <a:pt x="323" y="128"/>
                  </a:lnTo>
                  <a:lnTo>
                    <a:pt x="327" y="128"/>
                  </a:lnTo>
                  <a:lnTo>
                    <a:pt x="331" y="128"/>
                  </a:lnTo>
                  <a:lnTo>
                    <a:pt x="335" y="128"/>
                  </a:lnTo>
                  <a:lnTo>
                    <a:pt x="335" y="124"/>
                  </a:lnTo>
                  <a:lnTo>
                    <a:pt x="339" y="124"/>
                  </a:lnTo>
                  <a:lnTo>
                    <a:pt x="343" y="124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51" y="116"/>
                  </a:lnTo>
                  <a:lnTo>
                    <a:pt x="351" y="120"/>
                  </a:lnTo>
                  <a:lnTo>
                    <a:pt x="351" y="124"/>
                  </a:lnTo>
                  <a:lnTo>
                    <a:pt x="351" y="128"/>
                  </a:lnTo>
                  <a:lnTo>
                    <a:pt x="355" y="128"/>
                  </a:lnTo>
                  <a:lnTo>
                    <a:pt x="355" y="132"/>
                  </a:lnTo>
                  <a:lnTo>
                    <a:pt x="351" y="132"/>
                  </a:lnTo>
                  <a:lnTo>
                    <a:pt x="347" y="132"/>
                  </a:lnTo>
                  <a:lnTo>
                    <a:pt x="343" y="132"/>
                  </a:lnTo>
                  <a:lnTo>
                    <a:pt x="343" y="128"/>
                  </a:lnTo>
                  <a:lnTo>
                    <a:pt x="343" y="132"/>
                  </a:lnTo>
                  <a:lnTo>
                    <a:pt x="343" y="136"/>
                  </a:lnTo>
                  <a:lnTo>
                    <a:pt x="339" y="136"/>
                  </a:lnTo>
                  <a:lnTo>
                    <a:pt x="343" y="140"/>
                  </a:lnTo>
                  <a:lnTo>
                    <a:pt x="343" y="136"/>
                  </a:lnTo>
                  <a:lnTo>
                    <a:pt x="343" y="132"/>
                  </a:lnTo>
                  <a:lnTo>
                    <a:pt x="347" y="132"/>
                  </a:lnTo>
                  <a:lnTo>
                    <a:pt x="347" y="136"/>
                  </a:lnTo>
                  <a:lnTo>
                    <a:pt x="347" y="140"/>
                  </a:lnTo>
                  <a:lnTo>
                    <a:pt x="347" y="144"/>
                  </a:lnTo>
                  <a:lnTo>
                    <a:pt x="351" y="144"/>
                  </a:lnTo>
                  <a:lnTo>
                    <a:pt x="347" y="140"/>
                  </a:lnTo>
                  <a:lnTo>
                    <a:pt x="351" y="136"/>
                  </a:lnTo>
                  <a:lnTo>
                    <a:pt x="355" y="140"/>
                  </a:lnTo>
                  <a:lnTo>
                    <a:pt x="351" y="136"/>
                  </a:lnTo>
                  <a:lnTo>
                    <a:pt x="351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63" y="132"/>
                  </a:lnTo>
                  <a:lnTo>
                    <a:pt x="367" y="132"/>
                  </a:lnTo>
                  <a:lnTo>
                    <a:pt x="371" y="132"/>
                  </a:lnTo>
                  <a:lnTo>
                    <a:pt x="371" y="128"/>
                  </a:lnTo>
                  <a:lnTo>
                    <a:pt x="375" y="128"/>
                  </a:lnTo>
                  <a:lnTo>
                    <a:pt x="375" y="132"/>
                  </a:lnTo>
                  <a:lnTo>
                    <a:pt x="375" y="136"/>
                  </a:lnTo>
                  <a:lnTo>
                    <a:pt x="371" y="136"/>
                  </a:lnTo>
                  <a:lnTo>
                    <a:pt x="371" y="140"/>
                  </a:lnTo>
                  <a:lnTo>
                    <a:pt x="371" y="144"/>
                  </a:lnTo>
                  <a:lnTo>
                    <a:pt x="371" y="140"/>
                  </a:lnTo>
                  <a:lnTo>
                    <a:pt x="375" y="140"/>
                  </a:lnTo>
                  <a:lnTo>
                    <a:pt x="375" y="136"/>
                  </a:lnTo>
                  <a:lnTo>
                    <a:pt x="375" y="132"/>
                  </a:lnTo>
                  <a:lnTo>
                    <a:pt x="379" y="132"/>
                  </a:lnTo>
                  <a:lnTo>
                    <a:pt x="383" y="128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87" y="128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87" y="124"/>
                  </a:lnTo>
                  <a:lnTo>
                    <a:pt x="387" y="120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1" y="120"/>
                  </a:lnTo>
                  <a:lnTo>
                    <a:pt x="391" y="116"/>
                  </a:lnTo>
                  <a:lnTo>
                    <a:pt x="391" y="112"/>
                  </a:lnTo>
                  <a:lnTo>
                    <a:pt x="395" y="112"/>
                  </a:lnTo>
                  <a:lnTo>
                    <a:pt x="399" y="108"/>
                  </a:lnTo>
                  <a:lnTo>
                    <a:pt x="399" y="112"/>
                  </a:lnTo>
                  <a:lnTo>
                    <a:pt x="399" y="108"/>
                  </a:lnTo>
                  <a:lnTo>
                    <a:pt x="403" y="108"/>
                  </a:lnTo>
                  <a:lnTo>
                    <a:pt x="403" y="112"/>
                  </a:lnTo>
                  <a:lnTo>
                    <a:pt x="403" y="108"/>
                  </a:lnTo>
                  <a:lnTo>
                    <a:pt x="407" y="108"/>
                  </a:lnTo>
                  <a:lnTo>
                    <a:pt x="407" y="112"/>
                  </a:lnTo>
                  <a:lnTo>
                    <a:pt x="411" y="112"/>
                  </a:lnTo>
                  <a:lnTo>
                    <a:pt x="411" y="116"/>
                  </a:lnTo>
                  <a:lnTo>
                    <a:pt x="411" y="112"/>
                  </a:lnTo>
                  <a:lnTo>
                    <a:pt x="415" y="112"/>
                  </a:lnTo>
                  <a:lnTo>
                    <a:pt x="415" y="116"/>
                  </a:lnTo>
                  <a:lnTo>
                    <a:pt x="419" y="116"/>
                  </a:lnTo>
                  <a:lnTo>
                    <a:pt x="423" y="116"/>
                  </a:lnTo>
                  <a:lnTo>
                    <a:pt x="423" y="120"/>
                  </a:lnTo>
                  <a:lnTo>
                    <a:pt x="419" y="120"/>
                  </a:lnTo>
                  <a:lnTo>
                    <a:pt x="423" y="120"/>
                  </a:lnTo>
                  <a:lnTo>
                    <a:pt x="427" y="116"/>
                  </a:lnTo>
                  <a:lnTo>
                    <a:pt x="427" y="120"/>
                  </a:lnTo>
                  <a:lnTo>
                    <a:pt x="431" y="120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5" y="124"/>
                  </a:lnTo>
                  <a:lnTo>
                    <a:pt x="431" y="124"/>
                  </a:lnTo>
                  <a:lnTo>
                    <a:pt x="431" y="128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9" y="124"/>
                  </a:lnTo>
                  <a:lnTo>
                    <a:pt x="443" y="124"/>
                  </a:lnTo>
                  <a:lnTo>
                    <a:pt x="443" y="128"/>
                  </a:lnTo>
                  <a:lnTo>
                    <a:pt x="439" y="128"/>
                  </a:lnTo>
                  <a:lnTo>
                    <a:pt x="443" y="128"/>
                  </a:lnTo>
                  <a:lnTo>
                    <a:pt x="443" y="132"/>
                  </a:lnTo>
                  <a:close/>
                  <a:moveTo>
                    <a:pt x="383" y="124"/>
                  </a:moveTo>
                  <a:lnTo>
                    <a:pt x="379" y="124"/>
                  </a:lnTo>
                  <a:lnTo>
                    <a:pt x="375" y="128"/>
                  </a:lnTo>
                  <a:lnTo>
                    <a:pt x="371" y="128"/>
                  </a:lnTo>
                  <a:lnTo>
                    <a:pt x="371" y="132"/>
                  </a:lnTo>
                  <a:lnTo>
                    <a:pt x="367" y="128"/>
                  </a:lnTo>
                  <a:lnTo>
                    <a:pt x="367" y="132"/>
                  </a:lnTo>
                  <a:lnTo>
                    <a:pt x="363" y="132"/>
                  </a:lnTo>
                  <a:lnTo>
                    <a:pt x="363" y="128"/>
                  </a:lnTo>
                  <a:lnTo>
                    <a:pt x="363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5" y="128"/>
                  </a:lnTo>
                  <a:lnTo>
                    <a:pt x="351" y="128"/>
                  </a:lnTo>
                  <a:lnTo>
                    <a:pt x="351" y="124"/>
                  </a:lnTo>
                  <a:lnTo>
                    <a:pt x="351" y="120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8"/>
                  </a:lnTo>
                  <a:lnTo>
                    <a:pt x="355" y="108"/>
                  </a:lnTo>
                  <a:lnTo>
                    <a:pt x="355" y="112"/>
                  </a:lnTo>
                  <a:lnTo>
                    <a:pt x="355" y="108"/>
                  </a:lnTo>
                  <a:lnTo>
                    <a:pt x="355" y="104"/>
                  </a:lnTo>
                  <a:lnTo>
                    <a:pt x="355" y="100"/>
                  </a:lnTo>
                  <a:lnTo>
                    <a:pt x="359" y="100"/>
                  </a:lnTo>
                  <a:lnTo>
                    <a:pt x="363" y="100"/>
                  </a:lnTo>
                  <a:lnTo>
                    <a:pt x="367" y="100"/>
                  </a:lnTo>
                  <a:lnTo>
                    <a:pt x="367" y="104"/>
                  </a:lnTo>
                  <a:lnTo>
                    <a:pt x="371" y="104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87" y="104"/>
                  </a:lnTo>
                  <a:lnTo>
                    <a:pt x="387" y="108"/>
                  </a:lnTo>
                  <a:lnTo>
                    <a:pt x="387" y="112"/>
                  </a:lnTo>
                  <a:lnTo>
                    <a:pt x="387" y="116"/>
                  </a:lnTo>
                  <a:lnTo>
                    <a:pt x="383" y="116"/>
                  </a:lnTo>
                  <a:lnTo>
                    <a:pt x="383" y="120"/>
                  </a:lnTo>
                  <a:lnTo>
                    <a:pt x="383" y="124"/>
                  </a:lnTo>
                  <a:close/>
                  <a:moveTo>
                    <a:pt x="355" y="60"/>
                  </a:moveTo>
                  <a:lnTo>
                    <a:pt x="355" y="56"/>
                  </a:lnTo>
                  <a:lnTo>
                    <a:pt x="359" y="56"/>
                  </a:lnTo>
                  <a:lnTo>
                    <a:pt x="359" y="60"/>
                  </a:lnTo>
                  <a:lnTo>
                    <a:pt x="355" y="60"/>
                  </a:lnTo>
                  <a:close/>
                  <a:moveTo>
                    <a:pt x="359" y="64"/>
                  </a:moveTo>
                  <a:lnTo>
                    <a:pt x="355" y="60"/>
                  </a:lnTo>
                  <a:lnTo>
                    <a:pt x="359" y="60"/>
                  </a:lnTo>
                  <a:lnTo>
                    <a:pt x="359" y="64"/>
                  </a:lnTo>
                  <a:close/>
                  <a:moveTo>
                    <a:pt x="363" y="80"/>
                  </a:moveTo>
                  <a:lnTo>
                    <a:pt x="367" y="80"/>
                  </a:lnTo>
                  <a:lnTo>
                    <a:pt x="363" y="80"/>
                  </a:lnTo>
                  <a:close/>
                  <a:moveTo>
                    <a:pt x="359" y="84"/>
                  </a:moveTo>
                  <a:lnTo>
                    <a:pt x="359" y="80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59" y="84"/>
                  </a:lnTo>
                  <a:close/>
                  <a:moveTo>
                    <a:pt x="359" y="92"/>
                  </a:moveTo>
                  <a:lnTo>
                    <a:pt x="359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2"/>
                  </a:lnTo>
                  <a:close/>
                  <a:moveTo>
                    <a:pt x="359" y="96"/>
                  </a:moveTo>
                  <a:lnTo>
                    <a:pt x="355" y="96"/>
                  </a:lnTo>
                  <a:lnTo>
                    <a:pt x="355" y="92"/>
                  </a:lnTo>
                  <a:lnTo>
                    <a:pt x="359" y="92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59" y="96"/>
                  </a:lnTo>
                  <a:close/>
                  <a:moveTo>
                    <a:pt x="363" y="96"/>
                  </a:moveTo>
                  <a:lnTo>
                    <a:pt x="359" y="96"/>
                  </a:lnTo>
                  <a:lnTo>
                    <a:pt x="363" y="96"/>
                  </a:lnTo>
                  <a:lnTo>
                    <a:pt x="363" y="92"/>
                  </a:lnTo>
                  <a:lnTo>
                    <a:pt x="367" y="92"/>
                  </a:lnTo>
                  <a:lnTo>
                    <a:pt x="371" y="92"/>
                  </a:lnTo>
                  <a:lnTo>
                    <a:pt x="371" y="96"/>
                  </a:lnTo>
                  <a:lnTo>
                    <a:pt x="367" y="96"/>
                  </a:lnTo>
                  <a:lnTo>
                    <a:pt x="367" y="100"/>
                  </a:lnTo>
                  <a:lnTo>
                    <a:pt x="363" y="100"/>
                  </a:lnTo>
                  <a:lnTo>
                    <a:pt x="363" y="96"/>
                  </a:lnTo>
                  <a:close/>
                  <a:moveTo>
                    <a:pt x="355" y="100"/>
                  </a:moveTo>
                  <a:lnTo>
                    <a:pt x="355" y="96"/>
                  </a:lnTo>
                  <a:lnTo>
                    <a:pt x="359" y="96"/>
                  </a:lnTo>
                  <a:lnTo>
                    <a:pt x="359" y="100"/>
                  </a:lnTo>
                  <a:lnTo>
                    <a:pt x="355" y="100"/>
                  </a:lnTo>
                  <a:close/>
                  <a:moveTo>
                    <a:pt x="367" y="96"/>
                  </a:moveTo>
                  <a:lnTo>
                    <a:pt x="371" y="96"/>
                  </a:lnTo>
                  <a:lnTo>
                    <a:pt x="375" y="96"/>
                  </a:lnTo>
                  <a:lnTo>
                    <a:pt x="375" y="100"/>
                  </a:lnTo>
                  <a:lnTo>
                    <a:pt x="371" y="100"/>
                  </a:lnTo>
                  <a:lnTo>
                    <a:pt x="367" y="100"/>
                  </a:lnTo>
                  <a:lnTo>
                    <a:pt x="367" y="96"/>
                  </a:lnTo>
                  <a:close/>
                  <a:moveTo>
                    <a:pt x="351" y="96"/>
                  </a:moveTo>
                  <a:lnTo>
                    <a:pt x="355" y="96"/>
                  </a:lnTo>
                  <a:lnTo>
                    <a:pt x="351" y="96"/>
                  </a:lnTo>
                  <a:lnTo>
                    <a:pt x="351" y="100"/>
                  </a:lnTo>
                  <a:lnTo>
                    <a:pt x="351" y="96"/>
                  </a:lnTo>
                  <a:close/>
                  <a:moveTo>
                    <a:pt x="351" y="104"/>
                  </a:moveTo>
                  <a:lnTo>
                    <a:pt x="347" y="104"/>
                  </a:lnTo>
                  <a:lnTo>
                    <a:pt x="347" y="100"/>
                  </a:lnTo>
                  <a:lnTo>
                    <a:pt x="351" y="100"/>
                  </a:lnTo>
                  <a:lnTo>
                    <a:pt x="355" y="100"/>
                  </a:lnTo>
                  <a:lnTo>
                    <a:pt x="351" y="100"/>
                  </a:lnTo>
                  <a:lnTo>
                    <a:pt x="351" y="104"/>
                  </a:lnTo>
                  <a:close/>
                  <a:moveTo>
                    <a:pt x="343" y="108"/>
                  </a:moveTo>
                  <a:lnTo>
                    <a:pt x="343" y="104"/>
                  </a:lnTo>
                  <a:lnTo>
                    <a:pt x="347" y="104"/>
                  </a:lnTo>
                  <a:lnTo>
                    <a:pt x="347" y="100"/>
                  </a:lnTo>
                  <a:lnTo>
                    <a:pt x="347" y="104"/>
                  </a:lnTo>
                  <a:lnTo>
                    <a:pt x="343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7" y="108"/>
                  </a:lnTo>
                  <a:close/>
                  <a:moveTo>
                    <a:pt x="351" y="108"/>
                  </a:moveTo>
                  <a:lnTo>
                    <a:pt x="351" y="104"/>
                  </a:lnTo>
                  <a:lnTo>
                    <a:pt x="351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51" y="108"/>
                  </a:lnTo>
                  <a:lnTo>
                    <a:pt x="347" y="108"/>
                  </a:lnTo>
                  <a:close/>
                  <a:moveTo>
                    <a:pt x="347" y="116"/>
                  </a:moveTo>
                  <a:lnTo>
                    <a:pt x="347" y="112"/>
                  </a:lnTo>
                  <a:lnTo>
                    <a:pt x="351" y="108"/>
                  </a:lnTo>
                  <a:lnTo>
                    <a:pt x="351" y="112"/>
                  </a:lnTo>
                  <a:lnTo>
                    <a:pt x="347" y="112"/>
                  </a:lnTo>
                  <a:lnTo>
                    <a:pt x="347" y="116"/>
                  </a:lnTo>
                  <a:close/>
                  <a:moveTo>
                    <a:pt x="343" y="120"/>
                  </a:moveTo>
                  <a:lnTo>
                    <a:pt x="343" y="116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3" y="120"/>
                  </a:lnTo>
                  <a:close/>
                  <a:moveTo>
                    <a:pt x="351" y="112"/>
                  </a:moveTo>
                  <a:lnTo>
                    <a:pt x="351" y="116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51" y="112"/>
                  </a:lnTo>
                  <a:close/>
                  <a:moveTo>
                    <a:pt x="415" y="116"/>
                  </a:moveTo>
                  <a:lnTo>
                    <a:pt x="419" y="116"/>
                  </a:lnTo>
                  <a:lnTo>
                    <a:pt x="415" y="116"/>
                  </a:lnTo>
                  <a:close/>
                  <a:moveTo>
                    <a:pt x="391" y="120"/>
                  </a:moveTo>
                  <a:lnTo>
                    <a:pt x="387" y="120"/>
                  </a:lnTo>
                  <a:lnTo>
                    <a:pt x="387" y="116"/>
                  </a:lnTo>
                  <a:lnTo>
                    <a:pt x="391" y="116"/>
                  </a:lnTo>
                  <a:lnTo>
                    <a:pt x="391" y="120"/>
                  </a:lnTo>
                  <a:close/>
                  <a:moveTo>
                    <a:pt x="431" y="124"/>
                  </a:moveTo>
                  <a:lnTo>
                    <a:pt x="431" y="120"/>
                  </a:lnTo>
                  <a:lnTo>
                    <a:pt x="431" y="124"/>
                  </a:lnTo>
                  <a:close/>
                  <a:moveTo>
                    <a:pt x="439" y="124"/>
                  </a:moveTo>
                  <a:lnTo>
                    <a:pt x="439" y="120"/>
                  </a:lnTo>
                  <a:lnTo>
                    <a:pt x="443" y="120"/>
                  </a:lnTo>
                  <a:lnTo>
                    <a:pt x="443" y="124"/>
                  </a:lnTo>
                  <a:lnTo>
                    <a:pt x="439" y="124"/>
                  </a:lnTo>
                  <a:close/>
                  <a:moveTo>
                    <a:pt x="327" y="124"/>
                  </a:moveTo>
                  <a:lnTo>
                    <a:pt x="331" y="124"/>
                  </a:lnTo>
                  <a:lnTo>
                    <a:pt x="327" y="124"/>
                  </a:lnTo>
                  <a:close/>
                  <a:moveTo>
                    <a:pt x="331" y="128"/>
                  </a:moveTo>
                  <a:lnTo>
                    <a:pt x="331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close/>
                  <a:moveTo>
                    <a:pt x="443" y="128"/>
                  </a:moveTo>
                  <a:lnTo>
                    <a:pt x="447" y="128"/>
                  </a:lnTo>
                  <a:lnTo>
                    <a:pt x="443" y="128"/>
                  </a:lnTo>
                  <a:close/>
                  <a:moveTo>
                    <a:pt x="379" y="132"/>
                  </a:move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79" y="132"/>
                  </a:moveTo>
                  <a:lnTo>
                    <a:pt x="375" y="132"/>
                  </a:lnTo>
                  <a:lnTo>
                    <a:pt x="379" y="132"/>
                  </a:ln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51" y="136"/>
                  </a:moveTo>
                  <a:lnTo>
                    <a:pt x="351" y="132"/>
                  </a:lnTo>
                  <a:lnTo>
                    <a:pt x="351" y="136"/>
                  </a:lnTo>
                  <a:lnTo>
                    <a:pt x="347" y="136"/>
                  </a:lnTo>
                  <a:lnTo>
                    <a:pt x="347" y="132"/>
                  </a:lnTo>
                  <a:lnTo>
                    <a:pt x="351" y="132"/>
                  </a:lnTo>
                  <a:lnTo>
                    <a:pt x="351" y="136"/>
                  </a:lnTo>
                  <a:close/>
                  <a:moveTo>
                    <a:pt x="447" y="155"/>
                  </a:moveTo>
                  <a:lnTo>
                    <a:pt x="447" y="152"/>
                  </a:lnTo>
                  <a:lnTo>
                    <a:pt x="447" y="148"/>
                  </a:lnTo>
                  <a:lnTo>
                    <a:pt x="447" y="152"/>
                  </a:lnTo>
                  <a:lnTo>
                    <a:pt x="447" y="155"/>
                  </a:lnTo>
                  <a:close/>
                  <a:moveTo>
                    <a:pt x="534" y="339"/>
                  </a:moveTo>
                  <a:lnTo>
                    <a:pt x="534" y="335"/>
                  </a:lnTo>
                  <a:lnTo>
                    <a:pt x="538" y="335"/>
                  </a:lnTo>
                  <a:lnTo>
                    <a:pt x="534" y="335"/>
                  </a:lnTo>
                  <a:lnTo>
                    <a:pt x="534" y="339"/>
                  </a:lnTo>
                  <a:close/>
                  <a:moveTo>
                    <a:pt x="530" y="347"/>
                  </a:moveTo>
                  <a:lnTo>
                    <a:pt x="530" y="343"/>
                  </a:lnTo>
                  <a:lnTo>
                    <a:pt x="530" y="347"/>
                  </a:lnTo>
                  <a:close/>
                  <a:moveTo>
                    <a:pt x="387" y="590"/>
                  </a:moveTo>
                  <a:lnTo>
                    <a:pt x="383" y="590"/>
                  </a:lnTo>
                  <a:lnTo>
                    <a:pt x="383" y="587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7" y="590"/>
                  </a:lnTo>
                  <a:close/>
                  <a:moveTo>
                    <a:pt x="387" y="618"/>
                  </a:moveTo>
                  <a:lnTo>
                    <a:pt x="387" y="614"/>
                  </a:lnTo>
                  <a:lnTo>
                    <a:pt x="387" y="610"/>
                  </a:lnTo>
                  <a:lnTo>
                    <a:pt x="387" y="606"/>
                  </a:lnTo>
                  <a:lnTo>
                    <a:pt x="387" y="610"/>
                  </a:lnTo>
                  <a:lnTo>
                    <a:pt x="387" y="614"/>
                  </a:lnTo>
                  <a:lnTo>
                    <a:pt x="387" y="618"/>
                  </a:lnTo>
                  <a:close/>
                  <a:moveTo>
                    <a:pt x="335" y="124"/>
                  </a:moveTo>
                  <a:lnTo>
                    <a:pt x="335" y="120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12"/>
                  </a:lnTo>
                  <a:lnTo>
                    <a:pt x="339" y="108"/>
                  </a:lnTo>
                  <a:lnTo>
                    <a:pt x="343" y="108"/>
                  </a:lnTo>
                  <a:lnTo>
                    <a:pt x="347" y="108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3" y="116"/>
                  </a:lnTo>
                  <a:lnTo>
                    <a:pt x="343" y="120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close/>
                  <a:moveTo>
                    <a:pt x="451" y="527"/>
                  </a:moveTo>
                  <a:lnTo>
                    <a:pt x="455" y="527"/>
                  </a:lnTo>
                  <a:lnTo>
                    <a:pt x="451" y="527"/>
                  </a:lnTo>
                  <a:close/>
                  <a:moveTo>
                    <a:pt x="435" y="543"/>
                  </a:moveTo>
                  <a:lnTo>
                    <a:pt x="435" y="539"/>
                  </a:lnTo>
                  <a:lnTo>
                    <a:pt x="435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19" name="Freeform 172">
              <a:extLst>
                <a:ext uri="{FF2B5EF4-FFF2-40B4-BE49-F238E27FC236}">
                  <a16:creationId xmlns:a16="http://schemas.microsoft.com/office/drawing/2014/main" xmlns="" id="{886C564D-497B-4702-B86F-CA731EF6FFDB}"/>
                </a:ext>
              </a:extLst>
            </p:cNvPr>
            <p:cNvSpPr>
              <a:spLocks noEditPoints="1"/>
            </p:cNvSpPr>
            <p:nvPr>
              <p:custDataLst>
                <p:tags r:id="rId171"/>
              </p:custDataLst>
            </p:nvPr>
          </p:nvSpPr>
          <p:spPr bwMode="gray">
            <a:xfrm>
              <a:off x="2600834" y="4254850"/>
              <a:ext cx="272884" cy="455300"/>
            </a:xfrm>
            <a:custGeom>
              <a:avLst/>
              <a:gdLst/>
              <a:ahLst/>
              <a:cxnLst>
                <a:cxn ang="0">
                  <a:pos x="72" y="32"/>
                </a:cxn>
                <a:cxn ang="0">
                  <a:pos x="88" y="24"/>
                </a:cxn>
                <a:cxn ang="0">
                  <a:pos x="104" y="8"/>
                </a:cxn>
                <a:cxn ang="0">
                  <a:pos x="112" y="0"/>
                </a:cxn>
                <a:cxn ang="0">
                  <a:pos x="112" y="12"/>
                </a:cxn>
                <a:cxn ang="0">
                  <a:pos x="100" y="28"/>
                </a:cxn>
                <a:cxn ang="0">
                  <a:pos x="92" y="48"/>
                </a:cxn>
                <a:cxn ang="0">
                  <a:pos x="92" y="64"/>
                </a:cxn>
                <a:cxn ang="0">
                  <a:pos x="104" y="80"/>
                </a:cxn>
                <a:cxn ang="0">
                  <a:pos x="104" y="96"/>
                </a:cxn>
                <a:cxn ang="0">
                  <a:pos x="120" y="104"/>
                </a:cxn>
                <a:cxn ang="0">
                  <a:pos x="136" y="104"/>
                </a:cxn>
                <a:cxn ang="0">
                  <a:pos x="152" y="116"/>
                </a:cxn>
                <a:cxn ang="0">
                  <a:pos x="176" y="116"/>
                </a:cxn>
                <a:cxn ang="0">
                  <a:pos x="172" y="140"/>
                </a:cxn>
                <a:cxn ang="0">
                  <a:pos x="176" y="160"/>
                </a:cxn>
                <a:cxn ang="0">
                  <a:pos x="172" y="176"/>
                </a:cxn>
                <a:cxn ang="0">
                  <a:pos x="184" y="200"/>
                </a:cxn>
                <a:cxn ang="0">
                  <a:pos x="180" y="200"/>
                </a:cxn>
                <a:cxn ang="0">
                  <a:pos x="168" y="196"/>
                </a:cxn>
                <a:cxn ang="0">
                  <a:pos x="164" y="200"/>
                </a:cxn>
                <a:cxn ang="0">
                  <a:pos x="140" y="212"/>
                </a:cxn>
                <a:cxn ang="0">
                  <a:pos x="148" y="216"/>
                </a:cxn>
                <a:cxn ang="0">
                  <a:pos x="136" y="232"/>
                </a:cxn>
                <a:cxn ang="0">
                  <a:pos x="148" y="248"/>
                </a:cxn>
                <a:cxn ang="0">
                  <a:pos x="144" y="264"/>
                </a:cxn>
                <a:cxn ang="0">
                  <a:pos x="136" y="307"/>
                </a:cxn>
                <a:cxn ang="0">
                  <a:pos x="136" y="280"/>
                </a:cxn>
                <a:cxn ang="0">
                  <a:pos x="120" y="272"/>
                </a:cxn>
                <a:cxn ang="0">
                  <a:pos x="104" y="276"/>
                </a:cxn>
                <a:cxn ang="0">
                  <a:pos x="92" y="272"/>
                </a:cxn>
                <a:cxn ang="0">
                  <a:pos x="84" y="264"/>
                </a:cxn>
                <a:cxn ang="0">
                  <a:pos x="72" y="244"/>
                </a:cxn>
                <a:cxn ang="0">
                  <a:pos x="64" y="232"/>
                </a:cxn>
                <a:cxn ang="0">
                  <a:pos x="48" y="224"/>
                </a:cxn>
                <a:cxn ang="0">
                  <a:pos x="24" y="224"/>
                </a:cxn>
                <a:cxn ang="0">
                  <a:pos x="12" y="212"/>
                </a:cxn>
                <a:cxn ang="0">
                  <a:pos x="0" y="196"/>
                </a:cxn>
                <a:cxn ang="0">
                  <a:pos x="8" y="188"/>
                </a:cxn>
                <a:cxn ang="0">
                  <a:pos x="16" y="180"/>
                </a:cxn>
                <a:cxn ang="0">
                  <a:pos x="24" y="172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24" y="136"/>
                </a:cxn>
                <a:cxn ang="0">
                  <a:pos x="24" y="120"/>
                </a:cxn>
                <a:cxn ang="0">
                  <a:pos x="20" y="100"/>
                </a:cxn>
                <a:cxn ang="0">
                  <a:pos x="28" y="88"/>
                </a:cxn>
                <a:cxn ang="0">
                  <a:pos x="24" y="72"/>
                </a:cxn>
                <a:cxn ang="0">
                  <a:pos x="36" y="80"/>
                </a:cxn>
                <a:cxn ang="0">
                  <a:pos x="40" y="64"/>
                </a:cxn>
                <a:cxn ang="0">
                  <a:pos x="52" y="48"/>
                </a:cxn>
                <a:cxn ang="0">
                  <a:pos x="56" y="36"/>
                </a:cxn>
                <a:cxn ang="0">
                  <a:pos x="64" y="28"/>
                </a:cxn>
                <a:cxn ang="0">
                  <a:pos x="12" y="184"/>
                </a:cxn>
              </a:cxnLst>
              <a:rect l="0" t="0" r="r" b="b"/>
              <a:pathLst>
                <a:path w="184" h="307">
                  <a:moveTo>
                    <a:pt x="64" y="24"/>
                  </a:moveTo>
                  <a:lnTo>
                    <a:pt x="68" y="28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6" y="0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08" y="16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60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20" y="100"/>
                  </a:lnTo>
                  <a:lnTo>
                    <a:pt x="120" y="104"/>
                  </a:lnTo>
                  <a:lnTo>
                    <a:pt x="120" y="100"/>
                  </a:lnTo>
                  <a:lnTo>
                    <a:pt x="124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0"/>
                  </a:lnTo>
                  <a:lnTo>
                    <a:pt x="136" y="104"/>
                  </a:lnTo>
                  <a:lnTo>
                    <a:pt x="140" y="112"/>
                  </a:lnTo>
                  <a:lnTo>
                    <a:pt x="148" y="116"/>
                  </a:lnTo>
                  <a:lnTo>
                    <a:pt x="148" y="120"/>
                  </a:lnTo>
                  <a:lnTo>
                    <a:pt x="152" y="116"/>
                  </a:lnTo>
                  <a:lnTo>
                    <a:pt x="156" y="116"/>
                  </a:lnTo>
                  <a:lnTo>
                    <a:pt x="160" y="116"/>
                  </a:lnTo>
                  <a:lnTo>
                    <a:pt x="164" y="116"/>
                  </a:lnTo>
                  <a:lnTo>
                    <a:pt x="168" y="116"/>
                  </a:lnTo>
                  <a:lnTo>
                    <a:pt x="172" y="116"/>
                  </a:lnTo>
                  <a:lnTo>
                    <a:pt x="176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8"/>
                  </a:lnTo>
                  <a:lnTo>
                    <a:pt x="172" y="132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4"/>
                  </a:lnTo>
                  <a:lnTo>
                    <a:pt x="168" y="148"/>
                  </a:lnTo>
                  <a:lnTo>
                    <a:pt x="172" y="152"/>
                  </a:lnTo>
                  <a:lnTo>
                    <a:pt x="172" y="156"/>
                  </a:lnTo>
                  <a:lnTo>
                    <a:pt x="172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6" y="168"/>
                  </a:lnTo>
                  <a:lnTo>
                    <a:pt x="180" y="168"/>
                  </a:lnTo>
                  <a:lnTo>
                    <a:pt x="176" y="168"/>
                  </a:lnTo>
                  <a:lnTo>
                    <a:pt x="176" y="172"/>
                  </a:lnTo>
                  <a:lnTo>
                    <a:pt x="172" y="176"/>
                  </a:lnTo>
                  <a:lnTo>
                    <a:pt x="172" y="180"/>
                  </a:lnTo>
                  <a:lnTo>
                    <a:pt x="176" y="180"/>
                  </a:lnTo>
                  <a:lnTo>
                    <a:pt x="180" y="184"/>
                  </a:lnTo>
                  <a:lnTo>
                    <a:pt x="180" y="188"/>
                  </a:lnTo>
                  <a:lnTo>
                    <a:pt x="180" y="192"/>
                  </a:lnTo>
                  <a:lnTo>
                    <a:pt x="184" y="200"/>
                  </a:lnTo>
                  <a:lnTo>
                    <a:pt x="184" y="204"/>
                  </a:lnTo>
                  <a:lnTo>
                    <a:pt x="184" y="208"/>
                  </a:lnTo>
                  <a:lnTo>
                    <a:pt x="180" y="208"/>
                  </a:lnTo>
                  <a:lnTo>
                    <a:pt x="180" y="204"/>
                  </a:lnTo>
                  <a:lnTo>
                    <a:pt x="184" y="204"/>
                  </a:lnTo>
                  <a:lnTo>
                    <a:pt x="180" y="200"/>
                  </a:lnTo>
                  <a:lnTo>
                    <a:pt x="180" y="196"/>
                  </a:lnTo>
                  <a:lnTo>
                    <a:pt x="180" y="192"/>
                  </a:lnTo>
                  <a:lnTo>
                    <a:pt x="176" y="192"/>
                  </a:lnTo>
                  <a:lnTo>
                    <a:pt x="172" y="192"/>
                  </a:lnTo>
                  <a:lnTo>
                    <a:pt x="172" y="196"/>
                  </a:lnTo>
                  <a:lnTo>
                    <a:pt x="168" y="196"/>
                  </a:lnTo>
                  <a:lnTo>
                    <a:pt x="168" y="200"/>
                  </a:lnTo>
                  <a:lnTo>
                    <a:pt x="168" y="196"/>
                  </a:lnTo>
                  <a:lnTo>
                    <a:pt x="164" y="196"/>
                  </a:lnTo>
                  <a:lnTo>
                    <a:pt x="164" y="192"/>
                  </a:lnTo>
                  <a:lnTo>
                    <a:pt x="164" y="196"/>
                  </a:lnTo>
                  <a:lnTo>
                    <a:pt x="164" y="200"/>
                  </a:lnTo>
                  <a:lnTo>
                    <a:pt x="156" y="200"/>
                  </a:lnTo>
                  <a:lnTo>
                    <a:pt x="152" y="200"/>
                  </a:lnTo>
                  <a:lnTo>
                    <a:pt x="148" y="200"/>
                  </a:lnTo>
                  <a:lnTo>
                    <a:pt x="144" y="196"/>
                  </a:lnTo>
                  <a:lnTo>
                    <a:pt x="140" y="200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8" y="212"/>
                  </a:lnTo>
                  <a:lnTo>
                    <a:pt x="152" y="216"/>
                  </a:lnTo>
                  <a:lnTo>
                    <a:pt x="152" y="220"/>
                  </a:lnTo>
                  <a:lnTo>
                    <a:pt x="148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6" y="228"/>
                  </a:lnTo>
                  <a:lnTo>
                    <a:pt x="136" y="232"/>
                  </a:lnTo>
                  <a:lnTo>
                    <a:pt x="140" y="236"/>
                  </a:lnTo>
                  <a:lnTo>
                    <a:pt x="140" y="240"/>
                  </a:lnTo>
                  <a:lnTo>
                    <a:pt x="144" y="240"/>
                  </a:lnTo>
                  <a:lnTo>
                    <a:pt x="144" y="244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8" y="252"/>
                  </a:lnTo>
                  <a:lnTo>
                    <a:pt x="148" y="256"/>
                  </a:lnTo>
                  <a:lnTo>
                    <a:pt x="144" y="256"/>
                  </a:lnTo>
                  <a:lnTo>
                    <a:pt x="144" y="264"/>
                  </a:lnTo>
                  <a:lnTo>
                    <a:pt x="144" y="272"/>
                  </a:lnTo>
                  <a:lnTo>
                    <a:pt x="144" y="276"/>
                  </a:lnTo>
                  <a:lnTo>
                    <a:pt x="140" y="291"/>
                  </a:lnTo>
                  <a:lnTo>
                    <a:pt x="140" y="299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295"/>
                  </a:lnTo>
                  <a:lnTo>
                    <a:pt x="132" y="291"/>
                  </a:lnTo>
                  <a:lnTo>
                    <a:pt x="136" y="280"/>
                  </a:lnTo>
                  <a:lnTo>
                    <a:pt x="136" y="276"/>
                  </a:lnTo>
                  <a:lnTo>
                    <a:pt x="132" y="276"/>
                  </a:lnTo>
                  <a:lnTo>
                    <a:pt x="128" y="276"/>
                  </a:lnTo>
                  <a:lnTo>
                    <a:pt x="128" y="272"/>
                  </a:lnTo>
                  <a:lnTo>
                    <a:pt x="124" y="272"/>
                  </a:lnTo>
                  <a:lnTo>
                    <a:pt x="120" y="272"/>
                  </a:lnTo>
                  <a:lnTo>
                    <a:pt x="116" y="272"/>
                  </a:lnTo>
                  <a:lnTo>
                    <a:pt x="112" y="272"/>
                  </a:lnTo>
                  <a:lnTo>
                    <a:pt x="112" y="268"/>
                  </a:lnTo>
                  <a:lnTo>
                    <a:pt x="108" y="272"/>
                  </a:lnTo>
                  <a:lnTo>
                    <a:pt x="108" y="276"/>
                  </a:lnTo>
                  <a:lnTo>
                    <a:pt x="104" y="276"/>
                  </a:lnTo>
                  <a:lnTo>
                    <a:pt x="100" y="276"/>
                  </a:lnTo>
                  <a:lnTo>
                    <a:pt x="96" y="276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88" y="272"/>
                  </a:lnTo>
                  <a:lnTo>
                    <a:pt x="92" y="272"/>
                  </a:lnTo>
                  <a:lnTo>
                    <a:pt x="92" y="268"/>
                  </a:lnTo>
                  <a:lnTo>
                    <a:pt x="92" y="264"/>
                  </a:lnTo>
                  <a:lnTo>
                    <a:pt x="88" y="264"/>
                  </a:lnTo>
                  <a:lnTo>
                    <a:pt x="84" y="264"/>
                  </a:lnTo>
                  <a:lnTo>
                    <a:pt x="84" y="260"/>
                  </a:lnTo>
                  <a:lnTo>
                    <a:pt x="84" y="256"/>
                  </a:lnTo>
                  <a:lnTo>
                    <a:pt x="80" y="252"/>
                  </a:lnTo>
                  <a:lnTo>
                    <a:pt x="76" y="248"/>
                  </a:lnTo>
                  <a:lnTo>
                    <a:pt x="72" y="248"/>
                  </a:lnTo>
                  <a:lnTo>
                    <a:pt x="72" y="244"/>
                  </a:lnTo>
                  <a:lnTo>
                    <a:pt x="72" y="240"/>
                  </a:lnTo>
                  <a:lnTo>
                    <a:pt x="68" y="236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24"/>
                  </a:lnTo>
                  <a:lnTo>
                    <a:pt x="44" y="224"/>
                  </a:lnTo>
                  <a:lnTo>
                    <a:pt x="40" y="224"/>
                  </a:lnTo>
                  <a:lnTo>
                    <a:pt x="36" y="224"/>
                  </a:lnTo>
                  <a:lnTo>
                    <a:pt x="32" y="224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0"/>
                  </a:lnTo>
                  <a:lnTo>
                    <a:pt x="24" y="216"/>
                  </a:lnTo>
                  <a:lnTo>
                    <a:pt x="20" y="216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12" y="212"/>
                  </a:lnTo>
                  <a:lnTo>
                    <a:pt x="8" y="208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4" y="196"/>
                  </a:lnTo>
                  <a:lnTo>
                    <a:pt x="8" y="196"/>
                  </a:lnTo>
                  <a:lnTo>
                    <a:pt x="8" y="192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12" y="184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24" y="176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4" y="156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8" y="148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4" y="140"/>
                  </a:lnTo>
                  <a:lnTo>
                    <a:pt x="24" y="136"/>
                  </a:lnTo>
                  <a:lnTo>
                    <a:pt x="24" y="132"/>
                  </a:lnTo>
                  <a:lnTo>
                    <a:pt x="24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16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close/>
                  <a:moveTo>
                    <a:pt x="24" y="152"/>
                  </a:moveTo>
                  <a:lnTo>
                    <a:pt x="28" y="152"/>
                  </a:lnTo>
                  <a:lnTo>
                    <a:pt x="24" y="152"/>
                  </a:lnTo>
                  <a:close/>
                  <a:moveTo>
                    <a:pt x="16" y="184"/>
                  </a:moveTo>
                  <a:lnTo>
                    <a:pt x="12" y="184"/>
                  </a:lnTo>
                  <a:lnTo>
                    <a:pt x="12" y="180"/>
                  </a:lnTo>
                  <a:lnTo>
                    <a:pt x="16" y="1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20" name="Freeform 173">
              <a:extLst>
                <a:ext uri="{FF2B5EF4-FFF2-40B4-BE49-F238E27FC236}">
                  <a16:creationId xmlns:a16="http://schemas.microsoft.com/office/drawing/2014/main" xmlns="" id="{1965F8F7-CB53-423E-9BBB-DD8C89410C79}"/>
                </a:ext>
              </a:extLst>
            </p:cNvPr>
            <p:cNvSpPr>
              <a:spLocks noEditPoints="1"/>
            </p:cNvSpPr>
            <p:nvPr>
              <p:custDataLst>
                <p:tags r:id="rId172"/>
              </p:custDataLst>
            </p:nvPr>
          </p:nvSpPr>
          <p:spPr bwMode="gray">
            <a:xfrm>
              <a:off x="2317568" y="4557395"/>
              <a:ext cx="372249" cy="170552"/>
            </a:xfrm>
            <a:custGeom>
              <a:avLst/>
              <a:gdLst/>
              <a:ahLst/>
              <a:cxnLst>
                <a:cxn ang="0">
                  <a:pos x="179" y="107"/>
                </a:cxn>
                <a:cxn ang="0">
                  <a:pos x="175" y="107"/>
                </a:cxn>
                <a:cxn ang="0">
                  <a:pos x="171" y="99"/>
                </a:cxn>
                <a:cxn ang="0">
                  <a:pos x="171" y="87"/>
                </a:cxn>
                <a:cxn ang="0">
                  <a:pos x="179" y="83"/>
                </a:cxn>
                <a:cxn ang="0">
                  <a:pos x="179" y="72"/>
                </a:cxn>
                <a:cxn ang="0">
                  <a:pos x="179" y="68"/>
                </a:cxn>
                <a:cxn ang="0">
                  <a:pos x="175" y="68"/>
                </a:cxn>
                <a:cxn ang="0">
                  <a:pos x="175" y="72"/>
                </a:cxn>
                <a:cxn ang="0">
                  <a:pos x="167" y="72"/>
                </a:cxn>
                <a:cxn ang="0">
                  <a:pos x="163" y="64"/>
                </a:cxn>
                <a:cxn ang="0">
                  <a:pos x="163" y="60"/>
                </a:cxn>
                <a:cxn ang="0">
                  <a:pos x="167" y="52"/>
                </a:cxn>
                <a:cxn ang="0">
                  <a:pos x="167" y="44"/>
                </a:cxn>
                <a:cxn ang="0">
                  <a:pos x="171" y="36"/>
                </a:cxn>
                <a:cxn ang="0">
                  <a:pos x="175" y="28"/>
                </a:cxn>
                <a:cxn ang="0">
                  <a:pos x="175" y="16"/>
                </a:cxn>
                <a:cxn ang="0">
                  <a:pos x="179" y="8"/>
                </a:cxn>
                <a:cxn ang="0">
                  <a:pos x="191" y="4"/>
                </a:cxn>
                <a:cxn ang="0">
                  <a:pos x="195" y="4"/>
                </a:cxn>
                <a:cxn ang="0">
                  <a:pos x="207" y="8"/>
                </a:cxn>
                <a:cxn ang="0">
                  <a:pos x="215" y="12"/>
                </a:cxn>
                <a:cxn ang="0">
                  <a:pos x="219" y="20"/>
                </a:cxn>
                <a:cxn ang="0">
                  <a:pos x="231" y="20"/>
                </a:cxn>
                <a:cxn ang="0">
                  <a:pos x="239" y="24"/>
                </a:cxn>
                <a:cxn ang="0">
                  <a:pos x="247" y="28"/>
                </a:cxn>
                <a:cxn ang="0">
                  <a:pos x="247" y="36"/>
                </a:cxn>
                <a:cxn ang="0">
                  <a:pos x="247" y="44"/>
                </a:cxn>
                <a:cxn ang="0">
                  <a:pos x="243" y="56"/>
                </a:cxn>
                <a:cxn ang="0">
                  <a:pos x="235" y="64"/>
                </a:cxn>
                <a:cxn ang="0">
                  <a:pos x="223" y="76"/>
                </a:cxn>
                <a:cxn ang="0">
                  <a:pos x="211" y="80"/>
                </a:cxn>
                <a:cxn ang="0">
                  <a:pos x="207" y="87"/>
                </a:cxn>
                <a:cxn ang="0">
                  <a:pos x="203" y="87"/>
                </a:cxn>
                <a:cxn ang="0">
                  <a:pos x="199" y="95"/>
                </a:cxn>
                <a:cxn ang="0">
                  <a:pos x="195" y="103"/>
                </a:cxn>
                <a:cxn ang="0">
                  <a:pos x="195" y="107"/>
                </a:cxn>
                <a:cxn ang="0">
                  <a:pos x="187" y="115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4" y="40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8" y="28"/>
                </a:cxn>
                <a:cxn ang="0">
                  <a:pos x="12" y="36"/>
                </a:cxn>
                <a:cxn ang="0">
                  <a:pos x="8" y="44"/>
                </a:cxn>
                <a:cxn ang="0">
                  <a:pos x="12" y="28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20" y="48"/>
                </a:cxn>
                <a:cxn ang="0">
                  <a:pos x="171" y="80"/>
                </a:cxn>
                <a:cxn ang="0">
                  <a:pos x="179" y="76"/>
                </a:cxn>
              </a:cxnLst>
              <a:rect l="0" t="0" r="r" b="b"/>
              <a:pathLst>
                <a:path w="251" h="115">
                  <a:moveTo>
                    <a:pt x="183" y="111"/>
                  </a:moveTo>
                  <a:lnTo>
                    <a:pt x="183" y="107"/>
                  </a:lnTo>
                  <a:lnTo>
                    <a:pt x="179" y="107"/>
                  </a:lnTo>
                  <a:lnTo>
                    <a:pt x="175" y="107"/>
                  </a:lnTo>
                  <a:lnTo>
                    <a:pt x="175" y="103"/>
                  </a:lnTo>
                  <a:lnTo>
                    <a:pt x="175" y="107"/>
                  </a:lnTo>
                  <a:lnTo>
                    <a:pt x="171" y="107"/>
                  </a:lnTo>
                  <a:lnTo>
                    <a:pt x="171" y="103"/>
                  </a:lnTo>
                  <a:lnTo>
                    <a:pt x="171" y="99"/>
                  </a:lnTo>
                  <a:lnTo>
                    <a:pt x="175" y="95"/>
                  </a:lnTo>
                  <a:lnTo>
                    <a:pt x="175" y="91"/>
                  </a:lnTo>
                  <a:lnTo>
                    <a:pt x="171" y="87"/>
                  </a:lnTo>
                  <a:lnTo>
                    <a:pt x="175" y="87"/>
                  </a:lnTo>
                  <a:lnTo>
                    <a:pt x="175" y="83"/>
                  </a:lnTo>
                  <a:lnTo>
                    <a:pt x="179" y="83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75" y="72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67" y="52"/>
                  </a:lnTo>
                  <a:lnTo>
                    <a:pt x="163" y="48"/>
                  </a:lnTo>
                  <a:lnTo>
                    <a:pt x="163" y="44"/>
                  </a:lnTo>
                  <a:lnTo>
                    <a:pt x="167" y="44"/>
                  </a:lnTo>
                  <a:lnTo>
                    <a:pt x="167" y="40"/>
                  </a:lnTo>
                  <a:lnTo>
                    <a:pt x="171" y="40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5" y="28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5" y="16"/>
                  </a:lnTo>
                  <a:lnTo>
                    <a:pt x="175" y="12"/>
                  </a:lnTo>
                  <a:lnTo>
                    <a:pt x="179" y="12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5" y="0"/>
                  </a:lnTo>
                  <a:lnTo>
                    <a:pt x="195" y="4"/>
                  </a:lnTo>
                  <a:lnTo>
                    <a:pt x="199" y="4"/>
                  </a:lnTo>
                  <a:lnTo>
                    <a:pt x="203" y="8"/>
                  </a:lnTo>
                  <a:lnTo>
                    <a:pt x="207" y="8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16"/>
                  </a:lnTo>
                  <a:lnTo>
                    <a:pt x="215" y="20"/>
                  </a:lnTo>
                  <a:lnTo>
                    <a:pt x="219" y="20"/>
                  </a:lnTo>
                  <a:lnTo>
                    <a:pt x="223" y="20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43" y="28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7" y="40"/>
                  </a:lnTo>
                  <a:lnTo>
                    <a:pt x="251" y="44"/>
                  </a:lnTo>
                  <a:lnTo>
                    <a:pt x="247" y="44"/>
                  </a:lnTo>
                  <a:lnTo>
                    <a:pt x="247" y="48"/>
                  </a:lnTo>
                  <a:lnTo>
                    <a:pt x="243" y="52"/>
                  </a:lnTo>
                  <a:lnTo>
                    <a:pt x="243" y="56"/>
                  </a:lnTo>
                  <a:lnTo>
                    <a:pt x="239" y="60"/>
                  </a:lnTo>
                  <a:lnTo>
                    <a:pt x="239" y="64"/>
                  </a:lnTo>
                  <a:lnTo>
                    <a:pt x="235" y="64"/>
                  </a:lnTo>
                  <a:lnTo>
                    <a:pt x="231" y="68"/>
                  </a:lnTo>
                  <a:lnTo>
                    <a:pt x="227" y="72"/>
                  </a:lnTo>
                  <a:lnTo>
                    <a:pt x="223" y="76"/>
                  </a:lnTo>
                  <a:lnTo>
                    <a:pt x="219" y="76"/>
                  </a:lnTo>
                  <a:lnTo>
                    <a:pt x="215" y="80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83"/>
                  </a:lnTo>
                  <a:lnTo>
                    <a:pt x="207" y="87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95"/>
                  </a:lnTo>
                  <a:lnTo>
                    <a:pt x="199" y="95"/>
                  </a:lnTo>
                  <a:lnTo>
                    <a:pt x="199" y="99"/>
                  </a:lnTo>
                  <a:lnTo>
                    <a:pt x="199" y="103"/>
                  </a:lnTo>
                  <a:lnTo>
                    <a:pt x="195" y="103"/>
                  </a:lnTo>
                  <a:lnTo>
                    <a:pt x="195" y="107"/>
                  </a:lnTo>
                  <a:lnTo>
                    <a:pt x="199" y="107"/>
                  </a:lnTo>
                  <a:lnTo>
                    <a:pt x="195" y="107"/>
                  </a:lnTo>
                  <a:lnTo>
                    <a:pt x="195" y="111"/>
                  </a:lnTo>
                  <a:lnTo>
                    <a:pt x="191" y="115"/>
                  </a:lnTo>
                  <a:lnTo>
                    <a:pt x="187" y="115"/>
                  </a:lnTo>
                  <a:lnTo>
                    <a:pt x="187" y="111"/>
                  </a:lnTo>
                  <a:lnTo>
                    <a:pt x="183" y="111"/>
                  </a:lnTo>
                  <a:close/>
                  <a:moveTo>
                    <a:pt x="20" y="40"/>
                  </a:move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0" y="40"/>
                  </a:lnTo>
                  <a:close/>
                  <a:moveTo>
                    <a:pt x="8" y="44"/>
                  </a:moveTo>
                  <a:lnTo>
                    <a:pt x="4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close/>
                  <a:moveTo>
                    <a:pt x="16" y="32"/>
                  </a:move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2"/>
                  </a:lnTo>
                  <a:close/>
                  <a:moveTo>
                    <a:pt x="4" y="36"/>
                  </a:move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close/>
                  <a:moveTo>
                    <a:pt x="32" y="44"/>
                  </a:moveTo>
                  <a:lnTo>
                    <a:pt x="32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2" y="44"/>
                  </a:lnTo>
                  <a:close/>
                  <a:moveTo>
                    <a:pt x="20" y="52"/>
                  </a:move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close/>
                  <a:moveTo>
                    <a:pt x="175" y="80"/>
                  </a:moveTo>
                  <a:lnTo>
                    <a:pt x="171" y="80"/>
                  </a:lnTo>
                  <a:lnTo>
                    <a:pt x="171" y="76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75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21" name="Freeform 174">
              <a:extLst>
                <a:ext uri="{FF2B5EF4-FFF2-40B4-BE49-F238E27FC236}">
                  <a16:creationId xmlns:a16="http://schemas.microsoft.com/office/drawing/2014/main" xmlns="" id="{BBCB580F-56FD-4E2B-BB81-8E6682CC8EC9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gray">
            <a:xfrm>
              <a:off x="3151050" y="4438750"/>
              <a:ext cx="65255" cy="100848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40" y="40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2" y="48"/>
                </a:cxn>
                <a:cxn ang="0">
                  <a:pos x="32" y="52"/>
                </a:cxn>
                <a:cxn ang="0">
                  <a:pos x="32" y="56"/>
                </a:cxn>
                <a:cxn ang="0">
                  <a:pos x="32" y="60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24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8" y="64"/>
                </a:cxn>
                <a:cxn ang="0">
                  <a:pos x="8" y="68"/>
                </a:cxn>
                <a:cxn ang="0">
                  <a:pos x="0" y="64"/>
                </a:cxn>
                <a:cxn ang="0">
                  <a:pos x="0" y="64"/>
                </a:cxn>
              </a:cxnLst>
              <a:rect l="0" t="0" r="r" b="b"/>
              <a:pathLst>
                <a:path w="44" h="68">
                  <a:moveTo>
                    <a:pt x="0" y="64"/>
                  </a:move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22" name="Freeform 175">
              <a:extLst>
                <a:ext uri="{FF2B5EF4-FFF2-40B4-BE49-F238E27FC236}">
                  <a16:creationId xmlns:a16="http://schemas.microsoft.com/office/drawing/2014/main" xmlns="" id="{5CC057FE-8D0E-4AD4-A3C7-02E892BEF093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gray">
            <a:xfrm>
              <a:off x="2996811" y="4361630"/>
              <a:ext cx="112713" cy="201697"/>
            </a:xfrm>
            <a:custGeom>
              <a:avLst/>
              <a:gdLst/>
              <a:ahLst/>
              <a:cxnLst>
                <a:cxn ang="0">
                  <a:pos x="52" y="36"/>
                </a:cxn>
                <a:cxn ang="0">
                  <a:pos x="56" y="40"/>
                </a:cxn>
                <a:cxn ang="0">
                  <a:pos x="60" y="44"/>
                </a:cxn>
                <a:cxn ang="0">
                  <a:pos x="64" y="48"/>
                </a:cxn>
                <a:cxn ang="0">
                  <a:pos x="64" y="60"/>
                </a:cxn>
                <a:cxn ang="0">
                  <a:pos x="64" y="64"/>
                </a:cxn>
                <a:cxn ang="0">
                  <a:pos x="60" y="64"/>
                </a:cxn>
                <a:cxn ang="0">
                  <a:pos x="56" y="68"/>
                </a:cxn>
                <a:cxn ang="0">
                  <a:pos x="52" y="72"/>
                </a:cxn>
                <a:cxn ang="0">
                  <a:pos x="52" y="80"/>
                </a:cxn>
                <a:cxn ang="0">
                  <a:pos x="52" y="84"/>
                </a:cxn>
                <a:cxn ang="0">
                  <a:pos x="52" y="88"/>
                </a:cxn>
                <a:cxn ang="0">
                  <a:pos x="56" y="92"/>
                </a:cxn>
                <a:cxn ang="0">
                  <a:pos x="56" y="96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16"/>
                </a:cxn>
                <a:cxn ang="0">
                  <a:pos x="76" y="124"/>
                </a:cxn>
                <a:cxn ang="0">
                  <a:pos x="72" y="124"/>
                </a:cxn>
                <a:cxn ang="0">
                  <a:pos x="64" y="120"/>
                </a:cxn>
                <a:cxn ang="0">
                  <a:pos x="64" y="120"/>
                </a:cxn>
                <a:cxn ang="0">
                  <a:pos x="60" y="128"/>
                </a:cxn>
                <a:cxn ang="0">
                  <a:pos x="56" y="128"/>
                </a:cxn>
                <a:cxn ang="0">
                  <a:pos x="48" y="132"/>
                </a:cxn>
                <a:cxn ang="0">
                  <a:pos x="44" y="132"/>
                </a:cxn>
                <a:cxn ang="0">
                  <a:pos x="40" y="136"/>
                </a:cxn>
                <a:cxn ang="0">
                  <a:pos x="36" y="136"/>
                </a:cxn>
                <a:cxn ang="0">
                  <a:pos x="32" y="128"/>
                </a:cxn>
                <a:cxn ang="0">
                  <a:pos x="28" y="124"/>
                </a:cxn>
                <a:cxn ang="0">
                  <a:pos x="24" y="116"/>
                </a:cxn>
                <a:cxn ang="0">
                  <a:pos x="24" y="112"/>
                </a:cxn>
                <a:cxn ang="0">
                  <a:pos x="20" y="104"/>
                </a:cxn>
                <a:cxn ang="0">
                  <a:pos x="24" y="96"/>
                </a:cxn>
                <a:cxn ang="0">
                  <a:pos x="28" y="88"/>
                </a:cxn>
                <a:cxn ang="0">
                  <a:pos x="28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0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20" y="12"/>
                </a:cxn>
                <a:cxn ang="0">
                  <a:pos x="24" y="8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8" y="32"/>
                </a:cxn>
              </a:cxnLst>
              <a:rect l="0" t="0" r="r" b="b"/>
              <a:pathLst>
                <a:path w="76" h="136">
                  <a:moveTo>
                    <a:pt x="48" y="32"/>
                  </a:move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0" y="120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23" name="Freeform 176">
              <a:extLst>
                <a:ext uri="{FF2B5EF4-FFF2-40B4-BE49-F238E27FC236}">
                  <a16:creationId xmlns:a16="http://schemas.microsoft.com/office/drawing/2014/main" xmlns="" id="{1B363422-527D-438B-9A41-4533272870B7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gray">
            <a:xfrm>
              <a:off x="2967150" y="5125408"/>
              <a:ext cx="189832" cy="229874"/>
            </a:xfrm>
            <a:custGeom>
              <a:avLst/>
              <a:gdLst/>
              <a:ahLst/>
              <a:cxnLst>
                <a:cxn ang="0">
                  <a:pos x="72" y="108"/>
                </a:cxn>
                <a:cxn ang="0">
                  <a:pos x="68" y="108"/>
                </a:cxn>
                <a:cxn ang="0">
                  <a:pos x="60" y="104"/>
                </a:cxn>
                <a:cxn ang="0">
                  <a:pos x="52" y="96"/>
                </a:cxn>
                <a:cxn ang="0">
                  <a:pos x="40" y="88"/>
                </a:cxn>
                <a:cxn ang="0">
                  <a:pos x="36" y="88"/>
                </a:cxn>
                <a:cxn ang="0">
                  <a:pos x="28" y="84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2" y="68"/>
                </a:cxn>
                <a:cxn ang="0">
                  <a:pos x="8" y="60"/>
                </a:cxn>
                <a:cxn ang="0">
                  <a:pos x="0" y="56"/>
                </a:cxn>
                <a:cxn ang="0">
                  <a:pos x="4" y="40"/>
                </a:cxn>
                <a:cxn ang="0">
                  <a:pos x="8" y="20"/>
                </a:cxn>
                <a:cxn ang="0">
                  <a:pos x="20" y="4"/>
                </a:cxn>
                <a:cxn ang="0">
                  <a:pos x="40" y="0"/>
                </a:cxn>
                <a:cxn ang="0">
                  <a:pos x="68" y="8"/>
                </a:cxn>
                <a:cxn ang="0">
                  <a:pos x="68" y="16"/>
                </a:cxn>
                <a:cxn ang="0">
                  <a:pos x="72" y="24"/>
                </a:cxn>
                <a:cxn ang="0">
                  <a:pos x="72" y="40"/>
                </a:cxn>
                <a:cxn ang="0">
                  <a:pos x="72" y="52"/>
                </a:cxn>
                <a:cxn ang="0">
                  <a:pos x="76" y="52"/>
                </a:cxn>
                <a:cxn ang="0">
                  <a:pos x="84" y="56"/>
                </a:cxn>
                <a:cxn ang="0">
                  <a:pos x="92" y="56"/>
                </a:cxn>
                <a:cxn ang="0">
                  <a:pos x="96" y="52"/>
                </a:cxn>
                <a:cxn ang="0">
                  <a:pos x="100" y="56"/>
                </a:cxn>
                <a:cxn ang="0">
                  <a:pos x="104" y="60"/>
                </a:cxn>
                <a:cxn ang="0">
                  <a:pos x="108" y="60"/>
                </a:cxn>
                <a:cxn ang="0">
                  <a:pos x="108" y="72"/>
                </a:cxn>
                <a:cxn ang="0">
                  <a:pos x="108" y="80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8" y="88"/>
                </a:cxn>
                <a:cxn ang="0">
                  <a:pos x="128" y="92"/>
                </a:cxn>
                <a:cxn ang="0">
                  <a:pos x="128" y="96"/>
                </a:cxn>
                <a:cxn ang="0">
                  <a:pos x="128" y="100"/>
                </a:cxn>
                <a:cxn ang="0">
                  <a:pos x="124" y="112"/>
                </a:cxn>
                <a:cxn ang="0">
                  <a:pos x="124" y="116"/>
                </a:cxn>
                <a:cxn ang="0">
                  <a:pos x="124" y="132"/>
                </a:cxn>
                <a:cxn ang="0">
                  <a:pos x="120" y="139"/>
                </a:cxn>
                <a:cxn ang="0">
                  <a:pos x="116" y="143"/>
                </a:cxn>
                <a:cxn ang="0">
                  <a:pos x="108" y="147"/>
                </a:cxn>
                <a:cxn ang="0">
                  <a:pos x="108" y="155"/>
                </a:cxn>
                <a:cxn ang="0">
                  <a:pos x="104" y="151"/>
                </a:cxn>
                <a:cxn ang="0">
                  <a:pos x="96" y="155"/>
                </a:cxn>
                <a:cxn ang="0">
                  <a:pos x="96" y="155"/>
                </a:cxn>
                <a:cxn ang="0">
                  <a:pos x="92" y="155"/>
                </a:cxn>
                <a:cxn ang="0">
                  <a:pos x="88" y="155"/>
                </a:cxn>
                <a:cxn ang="0">
                  <a:pos x="84" y="155"/>
                </a:cxn>
                <a:cxn ang="0">
                  <a:pos x="80" y="155"/>
                </a:cxn>
                <a:cxn ang="0">
                  <a:pos x="76" y="151"/>
                </a:cxn>
                <a:cxn ang="0">
                  <a:pos x="64" y="151"/>
                </a:cxn>
                <a:cxn ang="0">
                  <a:pos x="60" y="147"/>
                </a:cxn>
                <a:cxn ang="0">
                  <a:pos x="68" y="143"/>
                </a:cxn>
                <a:cxn ang="0">
                  <a:pos x="68" y="132"/>
                </a:cxn>
                <a:cxn ang="0">
                  <a:pos x="72" y="124"/>
                </a:cxn>
                <a:cxn ang="0">
                  <a:pos x="80" y="116"/>
                </a:cxn>
              </a:cxnLst>
              <a:rect l="0" t="0" r="r" b="b"/>
              <a:pathLst>
                <a:path w="128" h="155">
                  <a:moveTo>
                    <a:pt x="76" y="112"/>
                  </a:move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8"/>
                  </a:lnTo>
                  <a:lnTo>
                    <a:pt x="124" y="128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0" y="135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5"/>
                  </a:lnTo>
                  <a:lnTo>
                    <a:pt x="104" y="155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96" y="151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0" y="147"/>
                  </a:lnTo>
                  <a:lnTo>
                    <a:pt x="60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6" y="1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24" name="Freeform 177">
              <a:extLst>
                <a:ext uri="{FF2B5EF4-FFF2-40B4-BE49-F238E27FC236}">
                  <a16:creationId xmlns:a16="http://schemas.microsoft.com/office/drawing/2014/main" xmlns="" id="{6467EB4E-D979-42D7-A123-A5428B9B0D91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gray">
            <a:xfrm>
              <a:off x="2547443" y="4598921"/>
              <a:ext cx="284748" cy="496826"/>
            </a:xfrm>
            <a:custGeom>
              <a:avLst/>
              <a:gdLst/>
              <a:ahLst/>
              <a:cxnLst>
                <a:cxn ang="0">
                  <a:pos x="176" y="331"/>
                </a:cxn>
                <a:cxn ang="0">
                  <a:pos x="164" y="331"/>
                </a:cxn>
                <a:cxn ang="0">
                  <a:pos x="152" y="319"/>
                </a:cxn>
                <a:cxn ang="0">
                  <a:pos x="140" y="311"/>
                </a:cxn>
                <a:cxn ang="0">
                  <a:pos x="128" y="303"/>
                </a:cxn>
                <a:cxn ang="0">
                  <a:pos x="112" y="295"/>
                </a:cxn>
                <a:cxn ang="0">
                  <a:pos x="100" y="283"/>
                </a:cxn>
                <a:cxn ang="0">
                  <a:pos x="88" y="271"/>
                </a:cxn>
                <a:cxn ang="0">
                  <a:pos x="80" y="255"/>
                </a:cxn>
                <a:cxn ang="0">
                  <a:pos x="80" y="247"/>
                </a:cxn>
                <a:cxn ang="0">
                  <a:pos x="72" y="227"/>
                </a:cxn>
                <a:cxn ang="0">
                  <a:pos x="64" y="215"/>
                </a:cxn>
                <a:cxn ang="0">
                  <a:pos x="56" y="199"/>
                </a:cxn>
                <a:cxn ang="0">
                  <a:pos x="48" y="179"/>
                </a:cxn>
                <a:cxn ang="0">
                  <a:pos x="40" y="163"/>
                </a:cxn>
                <a:cxn ang="0">
                  <a:pos x="36" y="147"/>
                </a:cxn>
                <a:cxn ang="0">
                  <a:pos x="28" y="135"/>
                </a:cxn>
                <a:cxn ang="0">
                  <a:pos x="20" y="123"/>
                </a:cxn>
                <a:cxn ang="0">
                  <a:pos x="12" y="111"/>
                </a:cxn>
                <a:cxn ang="0">
                  <a:pos x="8" y="103"/>
                </a:cxn>
                <a:cxn ang="0">
                  <a:pos x="4" y="87"/>
                </a:cxn>
                <a:cxn ang="0">
                  <a:pos x="4" y="71"/>
                </a:cxn>
                <a:cxn ang="0">
                  <a:pos x="16" y="59"/>
                </a:cxn>
                <a:cxn ang="0">
                  <a:pos x="16" y="79"/>
                </a:cxn>
                <a:cxn ang="0">
                  <a:pos x="28" y="79"/>
                </a:cxn>
                <a:cxn ang="0">
                  <a:pos x="40" y="83"/>
                </a:cxn>
                <a:cxn ang="0">
                  <a:pos x="44" y="75"/>
                </a:cxn>
                <a:cxn ang="0">
                  <a:pos x="48" y="59"/>
                </a:cxn>
                <a:cxn ang="0">
                  <a:pos x="52" y="52"/>
                </a:cxn>
                <a:cxn ang="0">
                  <a:pos x="72" y="44"/>
                </a:cxn>
                <a:cxn ang="0">
                  <a:pos x="88" y="28"/>
                </a:cxn>
                <a:cxn ang="0">
                  <a:pos x="92" y="12"/>
                </a:cxn>
                <a:cxn ang="0">
                  <a:pos x="96" y="0"/>
                </a:cxn>
                <a:cxn ang="0">
                  <a:pos x="104" y="4"/>
                </a:cxn>
                <a:cxn ang="0">
                  <a:pos x="116" y="20"/>
                </a:cxn>
                <a:cxn ang="0">
                  <a:pos x="128" y="32"/>
                </a:cxn>
                <a:cxn ang="0">
                  <a:pos x="128" y="44"/>
                </a:cxn>
                <a:cxn ang="0">
                  <a:pos x="140" y="44"/>
                </a:cxn>
                <a:cxn ang="0">
                  <a:pos x="152" y="40"/>
                </a:cxn>
                <a:cxn ang="0">
                  <a:pos x="168" y="44"/>
                </a:cxn>
                <a:cxn ang="0">
                  <a:pos x="164" y="67"/>
                </a:cxn>
                <a:cxn ang="0">
                  <a:pos x="172" y="75"/>
                </a:cxn>
                <a:cxn ang="0">
                  <a:pos x="160" y="75"/>
                </a:cxn>
                <a:cxn ang="0">
                  <a:pos x="148" y="79"/>
                </a:cxn>
                <a:cxn ang="0">
                  <a:pos x="136" y="87"/>
                </a:cxn>
                <a:cxn ang="0">
                  <a:pos x="128" y="103"/>
                </a:cxn>
                <a:cxn ang="0">
                  <a:pos x="124" y="115"/>
                </a:cxn>
                <a:cxn ang="0">
                  <a:pos x="116" y="131"/>
                </a:cxn>
                <a:cxn ang="0">
                  <a:pos x="120" y="143"/>
                </a:cxn>
                <a:cxn ang="0">
                  <a:pos x="128" y="159"/>
                </a:cxn>
                <a:cxn ang="0">
                  <a:pos x="128" y="171"/>
                </a:cxn>
                <a:cxn ang="0">
                  <a:pos x="140" y="179"/>
                </a:cxn>
                <a:cxn ang="0">
                  <a:pos x="160" y="179"/>
                </a:cxn>
                <a:cxn ang="0">
                  <a:pos x="164" y="183"/>
                </a:cxn>
                <a:cxn ang="0">
                  <a:pos x="168" y="199"/>
                </a:cxn>
                <a:cxn ang="0">
                  <a:pos x="184" y="207"/>
                </a:cxn>
                <a:cxn ang="0">
                  <a:pos x="192" y="223"/>
                </a:cxn>
                <a:cxn ang="0">
                  <a:pos x="188" y="239"/>
                </a:cxn>
                <a:cxn ang="0">
                  <a:pos x="192" y="255"/>
                </a:cxn>
                <a:cxn ang="0">
                  <a:pos x="184" y="271"/>
                </a:cxn>
                <a:cxn ang="0">
                  <a:pos x="184" y="283"/>
                </a:cxn>
                <a:cxn ang="0">
                  <a:pos x="188" y="299"/>
                </a:cxn>
                <a:cxn ang="0">
                  <a:pos x="180" y="311"/>
                </a:cxn>
              </a:cxnLst>
              <a:rect l="0" t="0" r="r" b="b"/>
              <a:pathLst>
                <a:path w="192" h="335">
                  <a:moveTo>
                    <a:pt x="180" y="319"/>
                  </a:moveTo>
                  <a:lnTo>
                    <a:pt x="180" y="323"/>
                  </a:lnTo>
                  <a:lnTo>
                    <a:pt x="176" y="323"/>
                  </a:lnTo>
                  <a:lnTo>
                    <a:pt x="176" y="327"/>
                  </a:lnTo>
                  <a:lnTo>
                    <a:pt x="176" y="331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4" y="335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2" y="323"/>
                  </a:lnTo>
                  <a:lnTo>
                    <a:pt x="152" y="319"/>
                  </a:lnTo>
                  <a:lnTo>
                    <a:pt x="152" y="315"/>
                  </a:lnTo>
                  <a:lnTo>
                    <a:pt x="148" y="315"/>
                  </a:lnTo>
                  <a:lnTo>
                    <a:pt x="144" y="315"/>
                  </a:lnTo>
                  <a:lnTo>
                    <a:pt x="144" y="311"/>
                  </a:lnTo>
                  <a:lnTo>
                    <a:pt x="140" y="311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303"/>
                  </a:lnTo>
                  <a:lnTo>
                    <a:pt x="128" y="303"/>
                  </a:lnTo>
                  <a:lnTo>
                    <a:pt x="124" y="299"/>
                  </a:lnTo>
                  <a:lnTo>
                    <a:pt x="120" y="299"/>
                  </a:lnTo>
                  <a:lnTo>
                    <a:pt x="120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2" y="291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96" y="283"/>
                  </a:lnTo>
                  <a:lnTo>
                    <a:pt x="96" y="279"/>
                  </a:lnTo>
                  <a:lnTo>
                    <a:pt x="92" y="279"/>
                  </a:lnTo>
                  <a:lnTo>
                    <a:pt x="92" y="275"/>
                  </a:lnTo>
                  <a:lnTo>
                    <a:pt x="88" y="271"/>
                  </a:lnTo>
                  <a:lnTo>
                    <a:pt x="84" y="267"/>
                  </a:lnTo>
                  <a:lnTo>
                    <a:pt x="84" y="263"/>
                  </a:lnTo>
                  <a:lnTo>
                    <a:pt x="80" y="263"/>
                  </a:lnTo>
                  <a:lnTo>
                    <a:pt x="80" y="259"/>
                  </a:lnTo>
                  <a:lnTo>
                    <a:pt x="80" y="255"/>
                  </a:lnTo>
                  <a:lnTo>
                    <a:pt x="76" y="251"/>
                  </a:lnTo>
                  <a:lnTo>
                    <a:pt x="76" y="255"/>
                  </a:lnTo>
                  <a:lnTo>
                    <a:pt x="76" y="251"/>
                  </a:lnTo>
                  <a:lnTo>
                    <a:pt x="80" y="251"/>
                  </a:lnTo>
                  <a:lnTo>
                    <a:pt x="80" y="247"/>
                  </a:lnTo>
                  <a:lnTo>
                    <a:pt x="80" y="243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56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2" y="191"/>
                  </a:lnTo>
                  <a:lnTo>
                    <a:pt x="52" y="187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4" y="171"/>
                  </a:lnTo>
                  <a:lnTo>
                    <a:pt x="44" y="167"/>
                  </a:lnTo>
                  <a:lnTo>
                    <a:pt x="44" y="163"/>
                  </a:lnTo>
                  <a:lnTo>
                    <a:pt x="40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36" y="151"/>
                  </a:lnTo>
                  <a:lnTo>
                    <a:pt x="40" y="151"/>
                  </a:lnTo>
                  <a:lnTo>
                    <a:pt x="36" y="147"/>
                  </a:lnTo>
                  <a:lnTo>
                    <a:pt x="36" y="143"/>
                  </a:lnTo>
                  <a:lnTo>
                    <a:pt x="32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8" y="131"/>
                  </a:lnTo>
                  <a:lnTo>
                    <a:pt x="28" y="127"/>
                  </a:lnTo>
                  <a:lnTo>
                    <a:pt x="24" y="127"/>
                  </a:lnTo>
                  <a:lnTo>
                    <a:pt x="24" y="123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2" y="115"/>
                  </a:lnTo>
                  <a:lnTo>
                    <a:pt x="12" y="111"/>
                  </a:lnTo>
                  <a:lnTo>
                    <a:pt x="8" y="111"/>
                  </a:lnTo>
                  <a:lnTo>
                    <a:pt x="4" y="111"/>
                  </a:lnTo>
                  <a:lnTo>
                    <a:pt x="4" y="107"/>
                  </a:lnTo>
                  <a:lnTo>
                    <a:pt x="4" y="103"/>
                  </a:lnTo>
                  <a:lnTo>
                    <a:pt x="8" y="103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4" y="71"/>
                  </a:lnTo>
                  <a:lnTo>
                    <a:pt x="8" y="71"/>
                  </a:lnTo>
                  <a:lnTo>
                    <a:pt x="8" y="67"/>
                  </a:lnTo>
                  <a:lnTo>
                    <a:pt x="12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6" y="79"/>
                  </a:lnTo>
                  <a:lnTo>
                    <a:pt x="20" y="79"/>
                  </a:lnTo>
                  <a:lnTo>
                    <a:pt x="20" y="75"/>
                  </a:lnTo>
                  <a:lnTo>
                    <a:pt x="20" y="79"/>
                  </a:lnTo>
                  <a:lnTo>
                    <a:pt x="24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2" y="87"/>
                  </a:lnTo>
                  <a:lnTo>
                    <a:pt x="36" y="87"/>
                  </a:lnTo>
                  <a:lnTo>
                    <a:pt x="40" y="83"/>
                  </a:lnTo>
                  <a:lnTo>
                    <a:pt x="40" y="79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40" y="75"/>
                  </a:lnTo>
                  <a:lnTo>
                    <a:pt x="44" y="75"/>
                  </a:lnTo>
                  <a:lnTo>
                    <a:pt x="44" y="71"/>
                  </a:lnTo>
                  <a:lnTo>
                    <a:pt x="44" y="67"/>
                  </a:lnTo>
                  <a:lnTo>
                    <a:pt x="48" y="67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52" y="59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72" y="44"/>
                  </a:lnTo>
                  <a:lnTo>
                    <a:pt x="76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2" y="12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20"/>
                  </a:lnTo>
                  <a:lnTo>
                    <a:pt x="120" y="24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4" y="32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28" y="40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0"/>
                  </a:lnTo>
                  <a:lnTo>
                    <a:pt x="148" y="36"/>
                  </a:lnTo>
                  <a:lnTo>
                    <a:pt x="148" y="40"/>
                  </a:lnTo>
                  <a:lnTo>
                    <a:pt x="152" y="40"/>
                  </a:lnTo>
                  <a:lnTo>
                    <a:pt x="156" y="40"/>
                  </a:lnTo>
                  <a:lnTo>
                    <a:pt x="160" y="40"/>
                  </a:lnTo>
                  <a:lnTo>
                    <a:pt x="164" y="40"/>
                  </a:lnTo>
                  <a:lnTo>
                    <a:pt x="164" y="44"/>
                  </a:lnTo>
                  <a:lnTo>
                    <a:pt x="168" y="44"/>
                  </a:lnTo>
                  <a:lnTo>
                    <a:pt x="172" y="44"/>
                  </a:lnTo>
                  <a:lnTo>
                    <a:pt x="172" y="48"/>
                  </a:lnTo>
                  <a:lnTo>
                    <a:pt x="168" y="59"/>
                  </a:lnTo>
                  <a:lnTo>
                    <a:pt x="164" y="63"/>
                  </a:lnTo>
                  <a:lnTo>
                    <a:pt x="164" y="67"/>
                  </a:lnTo>
                  <a:lnTo>
                    <a:pt x="168" y="67"/>
                  </a:lnTo>
                  <a:lnTo>
                    <a:pt x="172" y="71"/>
                  </a:lnTo>
                  <a:lnTo>
                    <a:pt x="172" y="75"/>
                  </a:lnTo>
                  <a:lnTo>
                    <a:pt x="176" y="75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68" y="75"/>
                  </a:lnTo>
                  <a:lnTo>
                    <a:pt x="164" y="75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56" y="79"/>
                  </a:lnTo>
                  <a:lnTo>
                    <a:pt x="156" y="75"/>
                  </a:lnTo>
                  <a:lnTo>
                    <a:pt x="152" y="79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4" y="83"/>
                  </a:lnTo>
                  <a:lnTo>
                    <a:pt x="140" y="83"/>
                  </a:lnTo>
                  <a:lnTo>
                    <a:pt x="136" y="83"/>
                  </a:lnTo>
                  <a:lnTo>
                    <a:pt x="136" y="87"/>
                  </a:lnTo>
                  <a:lnTo>
                    <a:pt x="132" y="91"/>
                  </a:lnTo>
                  <a:lnTo>
                    <a:pt x="128" y="91"/>
                  </a:lnTo>
                  <a:lnTo>
                    <a:pt x="128" y="95"/>
                  </a:lnTo>
                  <a:lnTo>
                    <a:pt x="128" y="99"/>
                  </a:lnTo>
                  <a:lnTo>
                    <a:pt x="128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4" y="111"/>
                  </a:lnTo>
                  <a:lnTo>
                    <a:pt x="128" y="115"/>
                  </a:lnTo>
                  <a:lnTo>
                    <a:pt x="124" y="115"/>
                  </a:lnTo>
                  <a:lnTo>
                    <a:pt x="124" y="119"/>
                  </a:lnTo>
                  <a:lnTo>
                    <a:pt x="120" y="119"/>
                  </a:lnTo>
                  <a:lnTo>
                    <a:pt x="116" y="123"/>
                  </a:lnTo>
                  <a:lnTo>
                    <a:pt x="116" y="127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20" y="143"/>
                  </a:lnTo>
                  <a:lnTo>
                    <a:pt x="120" y="147"/>
                  </a:lnTo>
                  <a:lnTo>
                    <a:pt x="120" y="151"/>
                  </a:lnTo>
                  <a:lnTo>
                    <a:pt x="124" y="155"/>
                  </a:lnTo>
                  <a:lnTo>
                    <a:pt x="124" y="159"/>
                  </a:lnTo>
                  <a:lnTo>
                    <a:pt x="128" y="159"/>
                  </a:lnTo>
                  <a:lnTo>
                    <a:pt x="128" y="163"/>
                  </a:lnTo>
                  <a:lnTo>
                    <a:pt x="128" y="167"/>
                  </a:lnTo>
                  <a:lnTo>
                    <a:pt x="124" y="167"/>
                  </a:lnTo>
                  <a:lnTo>
                    <a:pt x="124" y="171"/>
                  </a:lnTo>
                  <a:lnTo>
                    <a:pt x="128" y="171"/>
                  </a:lnTo>
                  <a:lnTo>
                    <a:pt x="132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5"/>
                  </a:lnTo>
                  <a:lnTo>
                    <a:pt x="140" y="179"/>
                  </a:lnTo>
                  <a:lnTo>
                    <a:pt x="144" y="179"/>
                  </a:lnTo>
                  <a:lnTo>
                    <a:pt x="148" y="179"/>
                  </a:lnTo>
                  <a:lnTo>
                    <a:pt x="152" y="179"/>
                  </a:lnTo>
                  <a:lnTo>
                    <a:pt x="156" y="179"/>
                  </a:lnTo>
                  <a:lnTo>
                    <a:pt x="160" y="179"/>
                  </a:lnTo>
                  <a:lnTo>
                    <a:pt x="160" y="175"/>
                  </a:lnTo>
                  <a:lnTo>
                    <a:pt x="164" y="171"/>
                  </a:lnTo>
                  <a:lnTo>
                    <a:pt x="164" y="175"/>
                  </a:lnTo>
                  <a:lnTo>
                    <a:pt x="164" y="179"/>
                  </a:lnTo>
                  <a:lnTo>
                    <a:pt x="164" y="183"/>
                  </a:lnTo>
                  <a:lnTo>
                    <a:pt x="164" y="187"/>
                  </a:lnTo>
                  <a:lnTo>
                    <a:pt x="164" y="191"/>
                  </a:lnTo>
                  <a:lnTo>
                    <a:pt x="164" y="195"/>
                  </a:lnTo>
                  <a:lnTo>
                    <a:pt x="164" y="199"/>
                  </a:lnTo>
                  <a:lnTo>
                    <a:pt x="168" y="199"/>
                  </a:lnTo>
                  <a:lnTo>
                    <a:pt x="172" y="199"/>
                  </a:lnTo>
                  <a:lnTo>
                    <a:pt x="176" y="199"/>
                  </a:lnTo>
                  <a:lnTo>
                    <a:pt x="180" y="199"/>
                  </a:lnTo>
                  <a:lnTo>
                    <a:pt x="184" y="203"/>
                  </a:lnTo>
                  <a:lnTo>
                    <a:pt x="184" y="207"/>
                  </a:lnTo>
                  <a:lnTo>
                    <a:pt x="184" y="211"/>
                  </a:lnTo>
                  <a:lnTo>
                    <a:pt x="188" y="215"/>
                  </a:lnTo>
                  <a:lnTo>
                    <a:pt x="188" y="219"/>
                  </a:lnTo>
                  <a:lnTo>
                    <a:pt x="192" y="219"/>
                  </a:lnTo>
                  <a:lnTo>
                    <a:pt x="192" y="223"/>
                  </a:lnTo>
                  <a:lnTo>
                    <a:pt x="192" y="227"/>
                  </a:lnTo>
                  <a:lnTo>
                    <a:pt x="192" y="231"/>
                  </a:lnTo>
                  <a:lnTo>
                    <a:pt x="188" y="231"/>
                  </a:lnTo>
                  <a:lnTo>
                    <a:pt x="188" y="235"/>
                  </a:lnTo>
                  <a:lnTo>
                    <a:pt x="188" y="239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8" y="251"/>
                  </a:lnTo>
                  <a:lnTo>
                    <a:pt x="188" y="255"/>
                  </a:lnTo>
                  <a:lnTo>
                    <a:pt x="192" y="255"/>
                  </a:lnTo>
                  <a:lnTo>
                    <a:pt x="192" y="259"/>
                  </a:lnTo>
                  <a:lnTo>
                    <a:pt x="188" y="259"/>
                  </a:lnTo>
                  <a:lnTo>
                    <a:pt x="188" y="263"/>
                  </a:lnTo>
                  <a:lnTo>
                    <a:pt x="184" y="267"/>
                  </a:lnTo>
                  <a:lnTo>
                    <a:pt x="184" y="271"/>
                  </a:lnTo>
                  <a:lnTo>
                    <a:pt x="184" y="275"/>
                  </a:lnTo>
                  <a:lnTo>
                    <a:pt x="188" y="275"/>
                  </a:lnTo>
                  <a:lnTo>
                    <a:pt x="188" y="279"/>
                  </a:lnTo>
                  <a:lnTo>
                    <a:pt x="184" y="279"/>
                  </a:lnTo>
                  <a:lnTo>
                    <a:pt x="184" y="283"/>
                  </a:lnTo>
                  <a:lnTo>
                    <a:pt x="184" y="287"/>
                  </a:lnTo>
                  <a:lnTo>
                    <a:pt x="184" y="295"/>
                  </a:lnTo>
                  <a:lnTo>
                    <a:pt x="188" y="295"/>
                  </a:lnTo>
                  <a:lnTo>
                    <a:pt x="192" y="299"/>
                  </a:lnTo>
                  <a:lnTo>
                    <a:pt x="188" y="299"/>
                  </a:lnTo>
                  <a:lnTo>
                    <a:pt x="188" y="303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4" y="311"/>
                  </a:lnTo>
                  <a:lnTo>
                    <a:pt x="180" y="311"/>
                  </a:lnTo>
                  <a:lnTo>
                    <a:pt x="180" y="315"/>
                  </a:lnTo>
                  <a:lnTo>
                    <a:pt x="180" y="3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25" name="Freeform 178">
              <a:extLst>
                <a:ext uri="{FF2B5EF4-FFF2-40B4-BE49-F238E27FC236}">
                  <a16:creationId xmlns:a16="http://schemas.microsoft.com/office/drawing/2014/main" xmlns="" id="{4C433E51-4959-4094-80BC-C94E41CC4D97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gray">
            <a:xfrm>
              <a:off x="3073931" y="4432818"/>
              <a:ext cx="88984" cy="112713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4" y="4"/>
                </a:cxn>
                <a:cxn ang="0">
                  <a:pos x="44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0" y="4"/>
                </a:cxn>
                <a:cxn ang="0">
                  <a:pos x="60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16"/>
                </a:cxn>
                <a:cxn ang="0">
                  <a:pos x="52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56" y="36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52"/>
                </a:cxn>
                <a:cxn ang="0">
                  <a:pos x="56" y="60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48" y="68"/>
                </a:cxn>
                <a:cxn ang="0">
                  <a:pos x="48" y="64"/>
                </a:cxn>
                <a:cxn ang="0">
                  <a:pos x="48" y="64"/>
                </a:cxn>
                <a:cxn ang="0">
                  <a:pos x="36" y="64"/>
                </a:cxn>
                <a:cxn ang="0">
                  <a:pos x="32" y="64"/>
                </a:cxn>
                <a:cxn ang="0">
                  <a:pos x="28" y="64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16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48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8" y="20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4"/>
                </a:cxn>
              </a:cxnLst>
              <a:rect l="0" t="0" r="r" b="b"/>
              <a:pathLst>
                <a:path w="60" h="76">
                  <a:moveTo>
                    <a:pt x="44" y="4"/>
                  </a:move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26" name="Freeform 179">
              <a:extLst>
                <a:ext uri="{FF2B5EF4-FFF2-40B4-BE49-F238E27FC236}">
                  <a16:creationId xmlns:a16="http://schemas.microsoft.com/office/drawing/2014/main" xmlns="" id="{EE740AC2-3C70-4E05-A44C-0155CF0AB896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gray">
            <a:xfrm>
              <a:off x="3062066" y="5432403"/>
              <a:ext cx="124577" cy="142374"/>
            </a:xfrm>
            <a:custGeom>
              <a:avLst/>
              <a:gdLst/>
              <a:ahLst/>
              <a:cxnLst>
                <a:cxn ang="0">
                  <a:pos x="4" y="64"/>
                </a:cxn>
                <a:cxn ang="0">
                  <a:pos x="4" y="60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4" y="52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72" y="40"/>
                </a:cxn>
                <a:cxn ang="0">
                  <a:pos x="76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76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76" y="68"/>
                </a:cxn>
                <a:cxn ang="0">
                  <a:pos x="76" y="72"/>
                </a:cxn>
                <a:cxn ang="0">
                  <a:pos x="76" y="72"/>
                </a:cxn>
                <a:cxn ang="0">
                  <a:pos x="76" y="76"/>
                </a:cxn>
                <a:cxn ang="0">
                  <a:pos x="72" y="84"/>
                </a:cxn>
                <a:cxn ang="0">
                  <a:pos x="68" y="88"/>
                </a:cxn>
                <a:cxn ang="0">
                  <a:pos x="64" y="88"/>
                </a:cxn>
                <a:cxn ang="0">
                  <a:pos x="64" y="88"/>
                </a:cxn>
                <a:cxn ang="0">
                  <a:pos x="56" y="92"/>
                </a:cxn>
                <a:cxn ang="0">
                  <a:pos x="52" y="92"/>
                </a:cxn>
                <a:cxn ang="0">
                  <a:pos x="48" y="96"/>
                </a:cxn>
                <a:cxn ang="0">
                  <a:pos x="48" y="92"/>
                </a:cxn>
                <a:cxn ang="0">
                  <a:pos x="40" y="92"/>
                </a:cxn>
                <a:cxn ang="0">
                  <a:pos x="36" y="92"/>
                </a:cxn>
                <a:cxn ang="0">
                  <a:pos x="32" y="92"/>
                </a:cxn>
                <a:cxn ang="0">
                  <a:pos x="24" y="88"/>
                </a:cxn>
                <a:cxn ang="0">
                  <a:pos x="16" y="84"/>
                </a:cxn>
                <a:cxn ang="0">
                  <a:pos x="8" y="84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0" y="68"/>
                </a:cxn>
                <a:cxn ang="0">
                  <a:pos x="0" y="64"/>
                </a:cxn>
              </a:cxnLst>
              <a:rect l="0" t="0" r="r" b="b"/>
              <a:pathLst>
                <a:path w="84" h="96">
                  <a:moveTo>
                    <a:pt x="0" y="64"/>
                  </a:move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27" name="Freeform 180">
              <a:extLst>
                <a:ext uri="{FF2B5EF4-FFF2-40B4-BE49-F238E27FC236}">
                  <a16:creationId xmlns:a16="http://schemas.microsoft.com/office/drawing/2014/main" xmlns="" id="{93AA8ACB-9E4A-4072-B860-33666527EFF5}"/>
                </a:ext>
              </a:extLst>
            </p:cNvPr>
            <p:cNvSpPr>
              <a:spLocks noEditPoints="1"/>
            </p:cNvSpPr>
            <p:nvPr>
              <p:custDataLst>
                <p:tags r:id="rId179"/>
              </p:custDataLst>
            </p:nvPr>
          </p:nvSpPr>
          <p:spPr bwMode="gray">
            <a:xfrm>
              <a:off x="2731343" y="4260782"/>
              <a:ext cx="301061" cy="320342"/>
            </a:xfrm>
            <a:custGeom>
              <a:avLst/>
              <a:gdLst/>
              <a:ahLst/>
              <a:cxnLst>
                <a:cxn ang="0">
                  <a:pos x="116" y="40"/>
                </a:cxn>
                <a:cxn ang="0">
                  <a:pos x="135" y="32"/>
                </a:cxn>
                <a:cxn ang="0">
                  <a:pos x="135" y="32"/>
                </a:cxn>
                <a:cxn ang="0">
                  <a:pos x="159" y="28"/>
                </a:cxn>
                <a:cxn ang="0">
                  <a:pos x="163" y="32"/>
                </a:cxn>
                <a:cxn ang="0">
                  <a:pos x="159" y="36"/>
                </a:cxn>
                <a:cxn ang="0">
                  <a:pos x="163" y="44"/>
                </a:cxn>
                <a:cxn ang="0">
                  <a:pos x="167" y="44"/>
                </a:cxn>
                <a:cxn ang="0">
                  <a:pos x="171" y="44"/>
                </a:cxn>
                <a:cxn ang="0">
                  <a:pos x="183" y="48"/>
                </a:cxn>
                <a:cxn ang="0">
                  <a:pos x="183" y="60"/>
                </a:cxn>
                <a:cxn ang="0">
                  <a:pos x="179" y="72"/>
                </a:cxn>
                <a:cxn ang="0">
                  <a:pos x="203" y="72"/>
                </a:cxn>
                <a:cxn ang="0">
                  <a:pos x="191" y="88"/>
                </a:cxn>
                <a:cxn ang="0">
                  <a:pos x="191" y="100"/>
                </a:cxn>
                <a:cxn ang="0">
                  <a:pos x="183" y="112"/>
                </a:cxn>
                <a:cxn ang="0">
                  <a:pos x="191" y="136"/>
                </a:cxn>
                <a:cxn ang="0">
                  <a:pos x="179" y="148"/>
                </a:cxn>
                <a:cxn ang="0">
                  <a:pos x="163" y="152"/>
                </a:cxn>
                <a:cxn ang="0">
                  <a:pos x="151" y="152"/>
                </a:cxn>
                <a:cxn ang="0">
                  <a:pos x="139" y="156"/>
                </a:cxn>
                <a:cxn ang="0">
                  <a:pos x="127" y="148"/>
                </a:cxn>
                <a:cxn ang="0">
                  <a:pos x="135" y="164"/>
                </a:cxn>
                <a:cxn ang="0">
                  <a:pos x="143" y="180"/>
                </a:cxn>
                <a:cxn ang="0">
                  <a:pos x="143" y="188"/>
                </a:cxn>
                <a:cxn ang="0">
                  <a:pos x="127" y="204"/>
                </a:cxn>
                <a:cxn ang="0">
                  <a:pos x="116" y="216"/>
                </a:cxn>
                <a:cxn ang="0">
                  <a:pos x="104" y="212"/>
                </a:cxn>
                <a:cxn ang="0">
                  <a:pos x="92" y="184"/>
                </a:cxn>
                <a:cxn ang="0">
                  <a:pos x="88" y="164"/>
                </a:cxn>
                <a:cxn ang="0">
                  <a:pos x="84" y="152"/>
                </a:cxn>
                <a:cxn ang="0">
                  <a:pos x="84" y="128"/>
                </a:cxn>
                <a:cxn ang="0">
                  <a:pos x="80" y="112"/>
                </a:cxn>
                <a:cxn ang="0">
                  <a:pos x="60" y="112"/>
                </a:cxn>
                <a:cxn ang="0">
                  <a:pos x="44" y="96"/>
                </a:cxn>
                <a:cxn ang="0">
                  <a:pos x="28" y="96"/>
                </a:cxn>
                <a:cxn ang="0">
                  <a:pos x="12" y="88"/>
                </a:cxn>
                <a:cxn ang="0">
                  <a:pos x="12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6" y="20"/>
                </a:cxn>
                <a:cxn ang="0">
                  <a:pos x="28" y="12"/>
                </a:cxn>
                <a:cxn ang="0">
                  <a:pos x="24" y="24"/>
                </a:cxn>
                <a:cxn ang="0">
                  <a:pos x="16" y="44"/>
                </a:cxn>
                <a:cxn ang="0">
                  <a:pos x="24" y="60"/>
                </a:cxn>
                <a:cxn ang="0">
                  <a:pos x="32" y="40"/>
                </a:cxn>
                <a:cxn ang="0">
                  <a:pos x="28" y="24"/>
                </a:cxn>
                <a:cxn ang="0">
                  <a:pos x="44" y="16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84" y="32"/>
                </a:cxn>
                <a:cxn ang="0">
                  <a:pos x="183" y="64"/>
                </a:cxn>
                <a:cxn ang="0">
                  <a:pos x="187" y="64"/>
                </a:cxn>
                <a:cxn ang="0">
                  <a:pos x="187" y="64"/>
                </a:cxn>
                <a:cxn ang="0">
                  <a:pos x="183" y="68"/>
                </a:cxn>
                <a:cxn ang="0">
                  <a:pos x="175" y="68"/>
                </a:cxn>
                <a:cxn ang="0">
                  <a:pos x="139" y="28"/>
                </a:cxn>
                <a:cxn ang="0">
                  <a:pos x="143" y="24"/>
                </a:cxn>
                <a:cxn ang="0">
                  <a:pos x="120" y="28"/>
                </a:cxn>
              </a:cxnLst>
              <a:rect l="0" t="0" r="r" b="b"/>
              <a:pathLst>
                <a:path w="203" h="216">
                  <a:moveTo>
                    <a:pt x="104" y="32"/>
                  </a:moveTo>
                  <a:lnTo>
                    <a:pt x="108" y="32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36"/>
                  </a:lnTo>
                  <a:lnTo>
                    <a:pt x="135" y="36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39" y="36"/>
                  </a:lnTo>
                  <a:lnTo>
                    <a:pt x="143" y="36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43" y="32"/>
                  </a:lnTo>
                  <a:lnTo>
                    <a:pt x="147" y="32"/>
                  </a:lnTo>
                  <a:lnTo>
                    <a:pt x="151" y="28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28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67" y="32"/>
                  </a:lnTo>
                  <a:lnTo>
                    <a:pt x="163" y="32"/>
                  </a:lnTo>
                  <a:lnTo>
                    <a:pt x="159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5" y="40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67" y="48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71" y="48"/>
                  </a:lnTo>
                  <a:lnTo>
                    <a:pt x="175" y="48"/>
                  </a:lnTo>
                  <a:lnTo>
                    <a:pt x="171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5" y="44"/>
                  </a:lnTo>
                  <a:lnTo>
                    <a:pt x="179" y="44"/>
                  </a:lnTo>
                  <a:lnTo>
                    <a:pt x="179" y="48"/>
                  </a:lnTo>
                  <a:lnTo>
                    <a:pt x="183" y="48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3" y="64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9" y="68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199" y="76"/>
                  </a:lnTo>
                  <a:lnTo>
                    <a:pt x="199" y="80"/>
                  </a:lnTo>
                  <a:lnTo>
                    <a:pt x="195" y="80"/>
                  </a:lnTo>
                  <a:lnTo>
                    <a:pt x="191" y="84"/>
                  </a:lnTo>
                  <a:lnTo>
                    <a:pt x="191" y="88"/>
                  </a:lnTo>
                  <a:lnTo>
                    <a:pt x="191" y="92"/>
                  </a:lnTo>
                  <a:lnTo>
                    <a:pt x="191" y="96"/>
                  </a:lnTo>
                  <a:lnTo>
                    <a:pt x="195" y="92"/>
                  </a:lnTo>
                  <a:lnTo>
                    <a:pt x="195" y="96"/>
                  </a:lnTo>
                  <a:lnTo>
                    <a:pt x="195" y="100"/>
                  </a:lnTo>
                  <a:lnTo>
                    <a:pt x="191" y="100"/>
                  </a:lnTo>
                  <a:lnTo>
                    <a:pt x="191" y="104"/>
                  </a:lnTo>
                  <a:lnTo>
                    <a:pt x="187" y="100"/>
                  </a:lnTo>
                  <a:lnTo>
                    <a:pt x="187" y="104"/>
                  </a:lnTo>
                  <a:lnTo>
                    <a:pt x="183" y="104"/>
                  </a:lnTo>
                  <a:lnTo>
                    <a:pt x="183" y="108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83" y="124"/>
                  </a:lnTo>
                  <a:lnTo>
                    <a:pt x="187" y="128"/>
                  </a:lnTo>
                  <a:lnTo>
                    <a:pt x="187" y="132"/>
                  </a:lnTo>
                  <a:lnTo>
                    <a:pt x="191" y="132"/>
                  </a:lnTo>
                  <a:lnTo>
                    <a:pt x="191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79" y="144"/>
                  </a:lnTo>
                  <a:lnTo>
                    <a:pt x="179" y="148"/>
                  </a:lnTo>
                  <a:lnTo>
                    <a:pt x="175" y="148"/>
                  </a:lnTo>
                  <a:lnTo>
                    <a:pt x="171" y="148"/>
                  </a:lnTo>
                  <a:lnTo>
                    <a:pt x="167" y="152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1" y="156"/>
                  </a:lnTo>
                  <a:lnTo>
                    <a:pt x="151" y="152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39" y="152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35" y="152"/>
                  </a:lnTo>
                  <a:lnTo>
                    <a:pt x="135" y="148"/>
                  </a:lnTo>
                  <a:lnTo>
                    <a:pt x="131" y="152"/>
                  </a:lnTo>
                  <a:lnTo>
                    <a:pt x="131" y="148"/>
                  </a:lnTo>
                  <a:lnTo>
                    <a:pt x="127" y="148"/>
                  </a:lnTo>
                  <a:lnTo>
                    <a:pt x="127" y="152"/>
                  </a:lnTo>
                  <a:lnTo>
                    <a:pt x="131" y="152"/>
                  </a:lnTo>
                  <a:lnTo>
                    <a:pt x="131" y="156"/>
                  </a:lnTo>
                  <a:lnTo>
                    <a:pt x="135" y="156"/>
                  </a:lnTo>
                  <a:lnTo>
                    <a:pt x="135" y="160"/>
                  </a:lnTo>
                  <a:lnTo>
                    <a:pt x="135" y="164"/>
                  </a:lnTo>
                  <a:lnTo>
                    <a:pt x="135" y="168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9" y="176"/>
                  </a:lnTo>
                  <a:lnTo>
                    <a:pt x="139" y="180"/>
                  </a:lnTo>
                  <a:lnTo>
                    <a:pt x="143" y="180"/>
                  </a:lnTo>
                  <a:lnTo>
                    <a:pt x="147" y="180"/>
                  </a:lnTo>
                  <a:lnTo>
                    <a:pt x="151" y="180"/>
                  </a:lnTo>
                  <a:lnTo>
                    <a:pt x="151" y="184"/>
                  </a:lnTo>
                  <a:lnTo>
                    <a:pt x="147" y="184"/>
                  </a:lnTo>
                  <a:lnTo>
                    <a:pt x="147" y="188"/>
                  </a:lnTo>
                  <a:lnTo>
                    <a:pt x="143" y="188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9" y="196"/>
                  </a:lnTo>
                  <a:lnTo>
                    <a:pt x="135" y="200"/>
                  </a:lnTo>
                  <a:lnTo>
                    <a:pt x="131" y="200"/>
                  </a:lnTo>
                  <a:lnTo>
                    <a:pt x="127" y="204"/>
                  </a:lnTo>
                  <a:lnTo>
                    <a:pt x="123" y="204"/>
                  </a:lnTo>
                  <a:lnTo>
                    <a:pt x="123" y="208"/>
                  </a:lnTo>
                  <a:lnTo>
                    <a:pt x="120" y="208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6" y="216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12" y="212"/>
                  </a:lnTo>
                  <a:lnTo>
                    <a:pt x="108" y="212"/>
                  </a:lnTo>
                  <a:lnTo>
                    <a:pt x="104" y="212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88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76"/>
                  </a:lnTo>
                  <a:lnTo>
                    <a:pt x="84" y="176"/>
                  </a:lnTo>
                  <a:lnTo>
                    <a:pt x="84" y="172"/>
                  </a:lnTo>
                  <a:lnTo>
                    <a:pt x="88" y="168"/>
                  </a:lnTo>
                  <a:lnTo>
                    <a:pt x="88" y="164"/>
                  </a:lnTo>
                  <a:lnTo>
                    <a:pt x="92" y="164"/>
                  </a:lnTo>
                  <a:lnTo>
                    <a:pt x="88" y="164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52"/>
                  </a:lnTo>
                  <a:lnTo>
                    <a:pt x="84" y="148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6"/>
                  </a:lnTo>
                  <a:lnTo>
                    <a:pt x="60" y="112"/>
                  </a:lnTo>
                  <a:lnTo>
                    <a:pt x="52" y="108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4" y="32"/>
                  </a:lnTo>
                  <a:close/>
                  <a:moveTo>
                    <a:pt x="187" y="60"/>
                  </a:moveTo>
                  <a:lnTo>
                    <a:pt x="183" y="64"/>
                  </a:lnTo>
                  <a:lnTo>
                    <a:pt x="183" y="60"/>
                  </a:lnTo>
                  <a:lnTo>
                    <a:pt x="187" y="60"/>
                  </a:lnTo>
                  <a:close/>
                  <a:moveTo>
                    <a:pt x="187" y="64"/>
                  </a:moveTo>
                  <a:lnTo>
                    <a:pt x="183" y="64"/>
                  </a:lnTo>
                  <a:lnTo>
                    <a:pt x="187" y="60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8"/>
                  </a:lnTo>
                  <a:close/>
                  <a:moveTo>
                    <a:pt x="187" y="68"/>
                  </a:moveTo>
                  <a:lnTo>
                    <a:pt x="187" y="64"/>
                  </a:lnTo>
                  <a:lnTo>
                    <a:pt x="187" y="68"/>
                  </a:lnTo>
                  <a:close/>
                  <a:moveTo>
                    <a:pt x="183" y="68"/>
                  </a:moveTo>
                  <a:lnTo>
                    <a:pt x="187" y="64"/>
                  </a:ln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68"/>
                  </a:move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72"/>
                  </a:moveTo>
                  <a:lnTo>
                    <a:pt x="179" y="72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3" y="72"/>
                  </a:lnTo>
                  <a:close/>
                  <a:moveTo>
                    <a:pt x="139" y="28"/>
                  </a:moveTo>
                  <a:lnTo>
                    <a:pt x="139" y="24"/>
                  </a:lnTo>
                  <a:lnTo>
                    <a:pt x="135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close/>
                  <a:moveTo>
                    <a:pt x="120" y="28"/>
                  </a:moveTo>
                  <a:lnTo>
                    <a:pt x="120" y="24"/>
                  </a:lnTo>
                  <a:lnTo>
                    <a:pt x="123" y="24"/>
                  </a:lnTo>
                  <a:lnTo>
                    <a:pt x="12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28" name="Freeform 181">
              <a:extLst>
                <a:ext uri="{FF2B5EF4-FFF2-40B4-BE49-F238E27FC236}">
                  <a16:creationId xmlns:a16="http://schemas.microsoft.com/office/drawing/2014/main" xmlns="" id="{FD5C40B2-E964-457C-911C-72F6952AB08D}"/>
                </a:ext>
              </a:extLst>
            </p:cNvPr>
            <p:cNvSpPr>
              <a:spLocks noEditPoints="1"/>
            </p:cNvSpPr>
            <p:nvPr>
              <p:custDataLst>
                <p:tags r:id="rId180"/>
              </p:custDataLst>
            </p:nvPr>
          </p:nvSpPr>
          <p:spPr bwMode="gray">
            <a:xfrm>
              <a:off x="6907651" y="4870321"/>
              <a:ext cx="1035179" cy="1331791"/>
            </a:xfrm>
            <a:custGeom>
              <a:avLst/>
              <a:gdLst/>
              <a:ahLst/>
              <a:cxnLst>
                <a:cxn ang="0">
                  <a:pos x="610" y="304"/>
                </a:cxn>
                <a:cxn ang="0">
                  <a:pos x="614" y="375"/>
                </a:cxn>
                <a:cxn ang="0">
                  <a:pos x="582" y="447"/>
                </a:cxn>
                <a:cxn ang="0">
                  <a:pos x="566" y="503"/>
                </a:cxn>
                <a:cxn ang="0">
                  <a:pos x="522" y="539"/>
                </a:cxn>
                <a:cxn ang="0">
                  <a:pos x="490" y="543"/>
                </a:cxn>
                <a:cxn ang="0">
                  <a:pos x="455" y="547"/>
                </a:cxn>
                <a:cxn ang="0">
                  <a:pos x="407" y="519"/>
                </a:cxn>
                <a:cxn ang="0">
                  <a:pos x="399" y="483"/>
                </a:cxn>
                <a:cxn ang="0">
                  <a:pos x="379" y="479"/>
                </a:cxn>
                <a:cxn ang="0">
                  <a:pos x="383" y="435"/>
                </a:cxn>
                <a:cxn ang="0">
                  <a:pos x="351" y="467"/>
                </a:cxn>
                <a:cxn ang="0">
                  <a:pos x="335" y="443"/>
                </a:cxn>
                <a:cxn ang="0">
                  <a:pos x="291" y="415"/>
                </a:cxn>
                <a:cxn ang="0">
                  <a:pos x="219" y="419"/>
                </a:cxn>
                <a:cxn ang="0">
                  <a:pos x="163" y="451"/>
                </a:cxn>
                <a:cxn ang="0">
                  <a:pos x="112" y="455"/>
                </a:cxn>
                <a:cxn ang="0">
                  <a:pos x="72" y="475"/>
                </a:cxn>
                <a:cxn ang="0">
                  <a:pos x="36" y="447"/>
                </a:cxn>
                <a:cxn ang="0">
                  <a:pos x="36" y="387"/>
                </a:cxn>
                <a:cxn ang="0">
                  <a:pos x="16" y="315"/>
                </a:cxn>
                <a:cxn ang="0">
                  <a:pos x="12" y="292"/>
                </a:cxn>
                <a:cxn ang="0">
                  <a:pos x="8" y="268"/>
                </a:cxn>
                <a:cxn ang="0">
                  <a:pos x="24" y="232"/>
                </a:cxn>
                <a:cxn ang="0">
                  <a:pos x="72" y="196"/>
                </a:cxn>
                <a:cxn ang="0">
                  <a:pos x="135" y="156"/>
                </a:cxn>
                <a:cxn ang="0">
                  <a:pos x="159" y="132"/>
                </a:cxn>
                <a:cxn ang="0">
                  <a:pos x="171" y="112"/>
                </a:cxn>
                <a:cxn ang="0">
                  <a:pos x="187" y="96"/>
                </a:cxn>
                <a:cxn ang="0">
                  <a:pos x="195" y="84"/>
                </a:cxn>
                <a:cxn ang="0">
                  <a:pos x="227" y="76"/>
                </a:cxn>
                <a:cxn ang="0">
                  <a:pos x="247" y="92"/>
                </a:cxn>
                <a:cxn ang="0">
                  <a:pos x="259" y="64"/>
                </a:cxn>
                <a:cxn ang="0">
                  <a:pos x="287" y="40"/>
                </a:cxn>
                <a:cxn ang="0">
                  <a:pos x="295" y="24"/>
                </a:cxn>
                <a:cxn ang="0">
                  <a:pos x="335" y="40"/>
                </a:cxn>
                <a:cxn ang="0">
                  <a:pos x="363" y="36"/>
                </a:cxn>
                <a:cxn ang="0">
                  <a:pos x="343" y="92"/>
                </a:cxn>
                <a:cxn ang="0">
                  <a:pos x="399" y="124"/>
                </a:cxn>
                <a:cxn ang="0">
                  <a:pos x="435" y="112"/>
                </a:cxn>
                <a:cxn ang="0">
                  <a:pos x="439" y="52"/>
                </a:cxn>
                <a:cxn ang="0">
                  <a:pos x="455" y="20"/>
                </a:cxn>
                <a:cxn ang="0">
                  <a:pos x="479" y="76"/>
                </a:cxn>
                <a:cxn ang="0">
                  <a:pos x="502" y="132"/>
                </a:cxn>
                <a:cxn ang="0">
                  <a:pos x="530" y="180"/>
                </a:cxn>
                <a:cxn ang="0">
                  <a:pos x="554" y="216"/>
                </a:cxn>
                <a:cxn ang="0">
                  <a:pos x="574" y="244"/>
                </a:cxn>
                <a:cxn ang="0">
                  <a:pos x="614" y="276"/>
                </a:cxn>
                <a:cxn ang="0">
                  <a:pos x="403" y="128"/>
                </a:cxn>
                <a:cxn ang="0">
                  <a:pos x="443" y="8"/>
                </a:cxn>
                <a:cxn ang="0">
                  <a:pos x="275" y="20"/>
                </a:cxn>
                <a:cxn ang="0">
                  <a:pos x="271" y="32"/>
                </a:cxn>
                <a:cxn ang="0">
                  <a:pos x="355" y="68"/>
                </a:cxn>
                <a:cxn ang="0">
                  <a:pos x="582" y="252"/>
                </a:cxn>
                <a:cxn ang="0">
                  <a:pos x="614" y="323"/>
                </a:cxn>
                <a:cxn ang="0">
                  <a:pos x="490" y="543"/>
                </a:cxn>
                <a:cxn ang="0">
                  <a:pos x="514" y="651"/>
                </a:cxn>
                <a:cxn ang="0">
                  <a:pos x="490" y="623"/>
                </a:cxn>
                <a:cxn ang="0">
                  <a:pos x="518" y="599"/>
                </a:cxn>
                <a:cxn ang="0">
                  <a:pos x="534" y="631"/>
                </a:cxn>
                <a:cxn ang="0">
                  <a:pos x="522" y="643"/>
                </a:cxn>
              </a:cxnLst>
              <a:rect l="0" t="0" r="r" b="b"/>
              <a:pathLst>
                <a:path w="698" h="898">
                  <a:moveTo>
                    <a:pt x="586" y="260"/>
                  </a:moveTo>
                  <a:lnTo>
                    <a:pt x="586" y="264"/>
                  </a:lnTo>
                  <a:lnTo>
                    <a:pt x="586" y="260"/>
                  </a:lnTo>
                  <a:lnTo>
                    <a:pt x="590" y="260"/>
                  </a:lnTo>
                  <a:lnTo>
                    <a:pt x="590" y="264"/>
                  </a:lnTo>
                  <a:lnTo>
                    <a:pt x="594" y="264"/>
                  </a:lnTo>
                  <a:lnTo>
                    <a:pt x="594" y="268"/>
                  </a:lnTo>
                  <a:lnTo>
                    <a:pt x="594" y="272"/>
                  </a:lnTo>
                  <a:lnTo>
                    <a:pt x="598" y="272"/>
                  </a:lnTo>
                  <a:lnTo>
                    <a:pt x="598" y="276"/>
                  </a:lnTo>
                  <a:lnTo>
                    <a:pt x="602" y="276"/>
                  </a:lnTo>
                  <a:lnTo>
                    <a:pt x="602" y="280"/>
                  </a:lnTo>
                  <a:lnTo>
                    <a:pt x="602" y="284"/>
                  </a:lnTo>
                  <a:lnTo>
                    <a:pt x="606" y="284"/>
                  </a:lnTo>
                  <a:lnTo>
                    <a:pt x="606" y="288"/>
                  </a:lnTo>
                  <a:lnTo>
                    <a:pt x="606" y="292"/>
                  </a:lnTo>
                  <a:lnTo>
                    <a:pt x="606" y="296"/>
                  </a:lnTo>
                  <a:lnTo>
                    <a:pt x="610" y="296"/>
                  </a:lnTo>
                  <a:lnTo>
                    <a:pt x="610" y="300"/>
                  </a:lnTo>
                  <a:lnTo>
                    <a:pt x="610" y="304"/>
                  </a:lnTo>
                  <a:lnTo>
                    <a:pt x="610" y="307"/>
                  </a:lnTo>
                  <a:lnTo>
                    <a:pt x="610" y="311"/>
                  </a:lnTo>
                  <a:lnTo>
                    <a:pt x="610" y="315"/>
                  </a:lnTo>
                  <a:lnTo>
                    <a:pt x="610" y="319"/>
                  </a:lnTo>
                  <a:lnTo>
                    <a:pt x="610" y="323"/>
                  </a:lnTo>
                  <a:lnTo>
                    <a:pt x="614" y="327"/>
                  </a:lnTo>
                  <a:lnTo>
                    <a:pt x="614" y="331"/>
                  </a:lnTo>
                  <a:lnTo>
                    <a:pt x="614" y="335"/>
                  </a:lnTo>
                  <a:lnTo>
                    <a:pt x="614" y="339"/>
                  </a:lnTo>
                  <a:lnTo>
                    <a:pt x="618" y="339"/>
                  </a:lnTo>
                  <a:lnTo>
                    <a:pt x="618" y="343"/>
                  </a:lnTo>
                  <a:lnTo>
                    <a:pt x="618" y="347"/>
                  </a:lnTo>
                  <a:lnTo>
                    <a:pt x="618" y="351"/>
                  </a:lnTo>
                  <a:lnTo>
                    <a:pt x="618" y="355"/>
                  </a:lnTo>
                  <a:lnTo>
                    <a:pt x="614" y="355"/>
                  </a:lnTo>
                  <a:lnTo>
                    <a:pt x="614" y="359"/>
                  </a:lnTo>
                  <a:lnTo>
                    <a:pt x="614" y="363"/>
                  </a:lnTo>
                  <a:lnTo>
                    <a:pt x="614" y="367"/>
                  </a:lnTo>
                  <a:lnTo>
                    <a:pt x="614" y="371"/>
                  </a:lnTo>
                  <a:lnTo>
                    <a:pt x="614" y="375"/>
                  </a:lnTo>
                  <a:lnTo>
                    <a:pt x="610" y="379"/>
                  </a:lnTo>
                  <a:lnTo>
                    <a:pt x="610" y="387"/>
                  </a:lnTo>
                  <a:lnTo>
                    <a:pt x="610" y="391"/>
                  </a:lnTo>
                  <a:lnTo>
                    <a:pt x="610" y="395"/>
                  </a:lnTo>
                  <a:lnTo>
                    <a:pt x="610" y="399"/>
                  </a:lnTo>
                  <a:lnTo>
                    <a:pt x="606" y="403"/>
                  </a:lnTo>
                  <a:lnTo>
                    <a:pt x="606" y="407"/>
                  </a:lnTo>
                  <a:lnTo>
                    <a:pt x="606" y="411"/>
                  </a:lnTo>
                  <a:lnTo>
                    <a:pt x="602" y="411"/>
                  </a:lnTo>
                  <a:lnTo>
                    <a:pt x="602" y="415"/>
                  </a:lnTo>
                  <a:lnTo>
                    <a:pt x="602" y="419"/>
                  </a:lnTo>
                  <a:lnTo>
                    <a:pt x="602" y="423"/>
                  </a:lnTo>
                  <a:lnTo>
                    <a:pt x="598" y="427"/>
                  </a:ln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35"/>
                  </a:lnTo>
                  <a:lnTo>
                    <a:pt x="586" y="439"/>
                  </a:lnTo>
                  <a:lnTo>
                    <a:pt x="586" y="443"/>
                  </a:lnTo>
                  <a:lnTo>
                    <a:pt x="582" y="447"/>
                  </a:lnTo>
                  <a:lnTo>
                    <a:pt x="582" y="451"/>
                  </a:lnTo>
                  <a:lnTo>
                    <a:pt x="582" y="455"/>
                  </a:lnTo>
                  <a:lnTo>
                    <a:pt x="578" y="455"/>
                  </a:lnTo>
                  <a:lnTo>
                    <a:pt x="582" y="455"/>
                  </a:lnTo>
                  <a:lnTo>
                    <a:pt x="578" y="459"/>
                  </a:lnTo>
                  <a:lnTo>
                    <a:pt x="578" y="463"/>
                  </a:lnTo>
                  <a:lnTo>
                    <a:pt x="574" y="467"/>
                  </a:lnTo>
                  <a:lnTo>
                    <a:pt x="578" y="467"/>
                  </a:lnTo>
                  <a:lnTo>
                    <a:pt x="574" y="471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0" y="479"/>
                  </a:lnTo>
                  <a:lnTo>
                    <a:pt x="570" y="483"/>
                  </a:lnTo>
                  <a:lnTo>
                    <a:pt x="570" y="487"/>
                  </a:lnTo>
                  <a:lnTo>
                    <a:pt x="566" y="491"/>
                  </a:lnTo>
                  <a:lnTo>
                    <a:pt x="566" y="495"/>
                  </a:lnTo>
                  <a:lnTo>
                    <a:pt x="566" y="499"/>
                  </a:lnTo>
                  <a:lnTo>
                    <a:pt x="566" y="503"/>
                  </a:lnTo>
                  <a:lnTo>
                    <a:pt x="562" y="503"/>
                  </a:lnTo>
                  <a:lnTo>
                    <a:pt x="562" y="507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62" y="519"/>
                  </a:lnTo>
                  <a:lnTo>
                    <a:pt x="562" y="523"/>
                  </a:lnTo>
                  <a:lnTo>
                    <a:pt x="562" y="527"/>
                  </a:lnTo>
                  <a:lnTo>
                    <a:pt x="558" y="527"/>
                  </a:lnTo>
                  <a:lnTo>
                    <a:pt x="558" y="531"/>
                  </a:lnTo>
                  <a:lnTo>
                    <a:pt x="554" y="531"/>
                  </a:lnTo>
                  <a:lnTo>
                    <a:pt x="550" y="531"/>
                  </a:lnTo>
                  <a:lnTo>
                    <a:pt x="546" y="531"/>
                  </a:lnTo>
                  <a:lnTo>
                    <a:pt x="542" y="531"/>
                  </a:lnTo>
                  <a:lnTo>
                    <a:pt x="538" y="531"/>
                  </a:lnTo>
                  <a:lnTo>
                    <a:pt x="534" y="531"/>
                  </a:lnTo>
                  <a:lnTo>
                    <a:pt x="534" y="535"/>
                  </a:lnTo>
                  <a:lnTo>
                    <a:pt x="530" y="535"/>
                  </a:lnTo>
                  <a:lnTo>
                    <a:pt x="526" y="535"/>
                  </a:lnTo>
                  <a:lnTo>
                    <a:pt x="526" y="539"/>
                  </a:lnTo>
                  <a:lnTo>
                    <a:pt x="522" y="539"/>
                  </a:lnTo>
                  <a:lnTo>
                    <a:pt x="522" y="543"/>
                  </a:lnTo>
                  <a:lnTo>
                    <a:pt x="518" y="547"/>
                  </a:lnTo>
                  <a:lnTo>
                    <a:pt x="514" y="551"/>
                  </a:lnTo>
                  <a:lnTo>
                    <a:pt x="510" y="551"/>
                  </a:lnTo>
                  <a:lnTo>
                    <a:pt x="506" y="551"/>
                  </a:lnTo>
                  <a:lnTo>
                    <a:pt x="506" y="555"/>
                  </a:lnTo>
                  <a:lnTo>
                    <a:pt x="510" y="555"/>
                  </a:lnTo>
                  <a:lnTo>
                    <a:pt x="510" y="551"/>
                  </a:lnTo>
                  <a:lnTo>
                    <a:pt x="510" y="559"/>
                  </a:lnTo>
                  <a:lnTo>
                    <a:pt x="506" y="559"/>
                  </a:lnTo>
                  <a:lnTo>
                    <a:pt x="506" y="555"/>
                  </a:lnTo>
                  <a:lnTo>
                    <a:pt x="502" y="551"/>
                  </a:lnTo>
                  <a:lnTo>
                    <a:pt x="502" y="555"/>
                  </a:lnTo>
                  <a:lnTo>
                    <a:pt x="498" y="551"/>
                  </a:lnTo>
                  <a:lnTo>
                    <a:pt x="494" y="551"/>
                  </a:lnTo>
                  <a:lnTo>
                    <a:pt x="494" y="547"/>
                  </a:lnTo>
                  <a:lnTo>
                    <a:pt x="494" y="543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43"/>
                  </a:lnTo>
                  <a:lnTo>
                    <a:pt x="486" y="547"/>
                  </a:lnTo>
                  <a:lnTo>
                    <a:pt x="483" y="543"/>
                  </a:lnTo>
                  <a:lnTo>
                    <a:pt x="486" y="543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86" y="535"/>
                  </a:lnTo>
                  <a:lnTo>
                    <a:pt x="483" y="535"/>
                  </a:lnTo>
                  <a:lnTo>
                    <a:pt x="479" y="539"/>
                  </a:lnTo>
                  <a:lnTo>
                    <a:pt x="483" y="539"/>
                  </a:lnTo>
                  <a:lnTo>
                    <a:pt x="483" y="543"/>
                  </a:lnTo>
                  <a:lnTo>
                    <a:pt x="479" y="543"/>
                  </a:lnTo>
                  <a:lnTo>
                    <a:pt x="475" y="547"/>
                  </a:lnTo>
                  <a:lnTo>
                    <a:pt x="471" y="547"/>
                  </a:lnTo>
                  <a:lnTo>
                    <a:pt x="471" y="551"/>
                  </a:lnTo>
                  <a:lnTo>
                    <a:pt x="467" y="551"/>
                  </a:lnTo>
                  <a:lnTo>
                    <a:pt x="467" y="555"/>
                  </a:lnTo>
                  <a:lnTo>
                    <a:pt x="463" y="551"/>
                  </a:lnTo>
                  <a:lnTo>
                    <a:pt x="459" y="551"/>
                  </a:lnTo>
                  <a:lnTo>
                    <a:pt x="459" y="547"/>
                  </a:lnTo>
                  <a:lnTo>
                    <a:pt x="455" y="547"/>
                  </a:lnTo>
                  <a:lnTo>
                    <a:pt x="451" y="547"/>
                  </a:lnTo>
                  <a:lnTo>
                    <a:pt x="451" y="543"/>
                  </a:lnTo>
                  <a:lnTo>
                    <a:pt x="447" y="543"/>
                  </a:lnTo>
                  <a:lnTo>
                    <a:pt x="443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1" y="543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35"/>
                  </a:lnTo>
                  <a:lnTo>
                    <a:pt x="419" y="535"/>
                  </a:lnTo>
                  <a:lnTo>
                    <a:pt x="419" y="531"/>
                  </a:lnTo>
                  <a:lnTo>
                    <a:pt x="415" y="531"/>
                  </a:lnTo>
                  <a:lnTo>
                    <a:pt x="415" y="527"/>
                  </a:lnTo>
                  <a:lnTo>
                    <a:pt x="411" y="527"/>
                  </a:lnTo>
                  <a:lnTo>
                    <a:pt x="411" y="523"/>
                  </a:lnTo>
                  <a:lnTo>
                    <a:pt x="407" y="519"/>
                  </a:lnTo>
                  <a:lnTo>
                    <a:pt x="407" y="515"/>
                  </a:lnTo>
                  <a:lnTo>
                    <a:pt x="411" y="511"/>
                  </a:lnTo>
                  <a:lnTo>
                    <a:pt x="411" y="507"/>
                  </a:lnTo>
                  <a:lnTo>
                    <a:pt x="407" y="499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91"/>
                  </a:lnTo>
                  <a:lnTo>
                    <a:pt x="403" y="495"/>
                  </a:lnTo>
                  <a:lnTo>
                    <a:pt x="407" y="499"/>
                  </a:lnTo>
                  <a:lnTo>
                    <a:pt x="407" y="495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87"/>
                  </a:lnTo>
                  <a:lnTo>
                    <a:pt x="403" y="483"/>
                  </a:lnTo>
                  <a:lnTo>
                    <a:pt x="399" y="483"/>
                  </a:lnTo>
                  <a:lnTo>
                    <a:pt x="395" y="483"/>
                  </a:lnTo>
                  <a:lnTo>
                    <a:pt x="399" y="483"/>
                  </a:lnTo>
                  <a:lnTo>
                    <a:pt x="399" y="487"/>
                  </a:lnTo>
                  <a:lnTo>
                    <a:pt x="395" y="487"/>
                  </a:lnTo>
                  <a:lnTo>
                    <a:pt x="391" y="487"/>
                  </a:lnTo>
                  <a:lnTo>
                    <a:pt x="383" y="487"/>
                  </a:lnTo>
                  <a:lnTo>
                    <a:pt x="387" y="487"/>
                  </a:lnTo>
                  <a:lnTo>
                    <a:pt x="387" y="483"/>
                  </a:lnTo>
                  <a:lnTo>
                    <a:pt x="387" y="479"/>
                  </a:lnTo>
                  <a:lnTo>
                    <a:pt x="391" y="475"/>
                  </a:lnTo>
                  <a:lnTo>
                    <a:pt x="391" y="471"/>
                  </a:lnTo>
                  <a:lnTo>
                    <a:pt x="387" y="467"/>
                  </a:lnTo>
                  <a:lnTo>
                    <a:pt x="387" y="463"/>
                  </a:lnTo>
                  <a:lnTo>
                    <a:pt x="383" y="459"/>
                  </a:lnTo>
                  <a:lnTo>
                    <a:pt x="383" y="463"/>
                  </a:lnTo>
                  <a:lnTo>
                    <a:pt x="379" y="463"/>
                  </a:lnTo>
                  <a:lnTo>
                    <a:pt x="379" y="467"/>
                  </a:lnTo>
                  <a:lnTo>
                    <a:pt x="379" y="471"/>
                  </a:lnTo>
                  <a:lnTo>
                    <a:pt x="379" y="475"/>
                  </a:lnTo>
                  <a:lnTo>
                    <a:pt x="379" y="479"/>
                  </a:lnTo>
                  <a:lnTo>
                    <a:pt x="375" y="479"/>
                  </a:lnTo>
                  <a:lnTo>
                    <a:pt x="371" y="479"/>
                  </a:lnTo>
                  <a:lnTo>
                    <a:pt x="367" y="479"/>
                  </a:lnTo>
                  <a:lnTo>
                    <a:pt x="363" y="483"/>
                  </a:lnTo>
                  <a:lnTo>
                    <a:pt x="363" y="479"/>
                  </a:lnTo>
                  <a:lnTo>
                    <a:pt x="367" y="479"/>
                  </a:lnTo>
                  <a:lnTo>
                    <a:pt x="367" y="475"/>
                  </a:lnTo>
                  <a:lnTo>
                    <a:pt x="371" y="475"/>
                  </a:lnTo>
                  <a:lnTo>
                    <a:pt x="375" y="475"/>
                  </a:lnTo>
                  <a:lnTo>
                    <a:pt x="375" y="471"/>
                  </a:lnTo>
                  <a:lnTo>
                    <a:pt x="375" y="467"/>
                  </a:lnTo>
                  <a:lnTo>
                    <a:pt x="375" y="463"/>
                  </a:lnTo>
                  <a:lnTo>
                    <a:pt x="375" y="459"/>
                  </a:lnTo>
                  <a:lnTo>
                    <a:pt x="375" y="455"/>
                  </a:lnTo>
                  <a:lnTo>
                    <a:pt x="375" y="451"/>
                  </a:lnTo>
                  <a:lnTo>
                    <a:pt x="379" y="447"/>
                  </a:lnTo>
                  <a:lnTo>
                    <a:pt x="379" y="443"/>
                  </a:lnTo>
                  <a:lnTo>
                    <a:pt x="379" y="439"/>
                  </a:lnTo>
                  <a:lnTo>
                    <a:pt x="383" y="439"/>
                  </a:lnTo>
                  <a:lnTo>
                    <a:pt x="383" y="435"/>
                  </a:lnTo>
                  <a:lnTo>
                    <a:pt x="379" y="431"/>
                  </a:lnTo>
                  <a:lnTo>
                    <a:pt x="379" y="427"/>
                  </a:lnTo>
                  <a:lnTo>
                    <a:pt x="379" y="431"/>
                  </a:lnTo>
                  <a:lnTo>
                    <a:pt x="379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1" y="439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7" y="447"/>
                  </a:lnTo>
                  <a:lnTo>
                    <a:pt x="363" y="451"/>
                  </a:lnTo>
                  <a:lnTo>
                    <a:pt x="367" y="451"/>
                  </a:lnTo>
                  <a:lnTo>
                    <a:pt x="363" y="451"/>
                  </a:lnTo>
                  <a:lnTo>
                    <a:pt x="359" y="455"/>
                  </a:lnTo>
                  <a:lnTo>
                    <a:pt x="355" y="455"/>
                  </a:lnTo>
                  <a:lnTo>
                    <a:pt x="355" y="459"/>
                  </a:lnTo>
                  <a:lnTo>
                    <a:pt x="355" y="463"/>
                  </a:lnTo>
                  <a:lnTo>
                    <a:pt x="351" y="463"/>
                  </a:lnTo>
                  <a:lnTo>
                    <a:pt x="351" y="467"/>
                  </a:lnTo>
                  <a:lnTo>
                    <a:pt x="347" y="471"/>
                  </a:lnTo>
                  <a:lnTo>
                    <a:pt x="351" y="471"/>
                  </a:lnTo>
                  <a:lnTo>
                    <a:pt x="351" y="475"/>
                  </a:lnTo>
                  <a:lnTo>
                    <a:pt x="351" y="471"/>
                  </a:lnTo>
                  <a:lnTo>
                    <a:pt x="347" y="471"/>
                  </a:lnTo>
                  <a:lnTo>
                    <a:pt x="347" y="475"/>
                  </a:lnTo>
                  <a:lnTo>
                    <a:pt x="347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63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43" y="459"/>
                  </a:lnTo>
                  <a:lnTo>
                    <a:pt x="339" y="459"/>
                  </a:lnTo>
                  <a:lnTo>
                    <a:pt x="339" y="455"/>
                  </a:lnTo>
                  <a:lnTo>
                    <a:pt x="339" y="451"/>
                  </a:lnTo>
                  <a:lnTo>
                    <a:pt x="335" y="451"/>
                  </a:lnTo>
                  <a:lnTo>
                    <a:pt x="335" y="447"/>
                  </a:lnTo>
                  <a:lnTo>
                    <a:pt x="335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23" y="435"/>
                  </a:lnTo>
                  <a:lnTo>
                    <a:pt x="323" y="431"/>
                  </a:lnTo>
                  <a:lnTo>
                    <a:pt x="327" y="431"/>
                  </a:lnTo>
                  <a:lnTo>
                    <a:pt x="327" y="427"/>
                  </a:lnTo>
                  <a:lnTo>
                    <a:pt x="323" y="427"/>
                  </a:lnTo>
                  <a:lnTo>
                    <a:pt x="323" y="423"/>
                  </a:lnTo>
                  <a:lnTo>
                    <a:pt x="319" y="423"/>
                  </a:lnTo>
                  <a:lnTo>
                    <a:pt x="319" y="427"/>
                  </a:lnTo>
                  <a:lnTo>
                    <a:pt x="319" y="423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1" y="419"/>
                  </a:lnTo>
                  <a:lnTo>
                    <a:pt x="307" y="419"/>
                  </a:lnTo>
                  <a:lnTo>
                    <a:pt x="307" y="415"/>
                  </a:lnTo>
                  <a:lnTo>
                    <a:pt x="303" y="415"/>
                  </a:lnTo>
                  <a:lnTo>
                    <a:pt x="299" y="415"/>
                  </a:lnTo>
                  <a:lnTo>
                    <a:pt x="295" y="415"/>
                  </a:lnTo>
                  <a:lnTo>
                    <a:pt x="291" y="415"/>
                  </a:lnTo>
                  <a:lnTo>
                    <a:pt x="291" y="411"/>
                  </a:lnTo>
                  <a:lnTo>
                    <a:pt x="287" y="411"/>
                  </a:lnTo>
                  <a:lnTo>
                    <a:pt x="287" y="407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9" y="403"/>
                  </a:lnTo>
                  <a:lnTo>
                    <a:pt x="275" y="407"/>
                  </a:lnTo>
                  <a:lnTo>
                    <a:pt x="271" y="407"/>
                  </a:lnTo>
                  <a:lnTo>
                    <a:pt x="263" y="407"/>
                  </a:lnTo>
                  <a:lnTo>
                    <a:pt x="259" y="407"/>
                  </a:lnTo>
                  <a:lnTo>
                    <a:pt x="255" y="407"/>
                  </a:lnTo>
                  <a:lnTo>
                    <a:pt x="251" y="407"/>
                  </a:lnTo>
                  <a:lnTo>
                    <a:pt x="247" y="407"/>
                  </a:lnTo>
                  <a:lnTo>
                    <a:pt x="243" y="411"/>
                  </a:lnTo>
                  <a:lnTo>
                    <a:pt x="239" y="411"/>
                  </a:lnTo>
                  <a:lnTo>
                    <a:pt x="231" y="415"/>
                  </a:lnTo>
                  <a:lnTo>
                    <a:pt x="231" y="419"/>
                  </a:lnTo>
                  <a:lnTo>
                    <a:pt x="227" y="419"/>
                  </a:lnTo>
                  <a:lnTo>
                    <a:pt x="223" y="419"/>
                  </a:lnTo>
                  <a:lnTo>
                    <a:pt x="219" y="419"/>
                  </a:lnTo>
                  <a:lnTo>
                    <a:pt x="215" y="419"/>
                  </a:lnTo>
                  <a:lnTo>
                    <a:pt x="215" y="423"/>
                  </a:lnTo>
                  <a:lnTo>
                    <a:pt x="211" y="423"/>
                  </a:lnTo>
                  <a:lnTo>
                    <a:pt x="207" y="423"/>
                  </a:lnTo>
                  <a:lnTo>
                    <a:pt x="207" y="419"/>
                  </a:lnTo>
                  <a:lnTo>
                    <a:pt x="203" y="419"/>
                  </a:lnTo>
                  <a:lnTo>
                    <a:pt x="199" y="419"/>
                  </a:lnTo>
                  <a:lnTo>
                    <a:pt x="195" y="423"/>
                  </a:lnTo>
                  <a:lnTo>
                    <a:pt x="191" y="427"/>
                  </a:lnTo>
                  <a:lnTo>
                    <a:pt x="187" y="427"/>
                  </a:lnTo>
                  <a:lnTo>
                    <a:pt x="183" y="431"/>
                  </a:lnTo>
                  <a:lnTo>
                    <a:pt x="179" y="431"/>
                  </a:lnTo>
                  <a:lnTo>
                    <a:pt x="179" y="435"/>
                  </a:lnTo>
                  <a:lnTo>
                    <a:pt x="175" y="435"/>
                  </a:lnTo>
                  <a:lnTo>
                    <a:pt x="171" y="435"/>
                  </a:lnTo>
                  <a:lnTo>
                    <a:pt x="171" y="439"/>
                  </a:lnTo>
                  <a:lnTo>
                    <a:pt x="171" y="443"/>
                  </a:lnTo>
                  <a:lnTo>
                    <a:pt x="167" y="447"/>
                  </a:lnTo>
                  <a:lnTo>
                    <a:pt x="167" y="451"/>
                  </a:lnTo>
                  <a:lnTo>
                    <a:pt x="163" y="451"/>
                  </a:lnTo>
                  <a:lnTo>
                    <a:pt x="163" y="455"/>
                  </a:lnTo>
                  <a:lnTo>
                    <a:pt x="159" y="451"/>
                  </a:lnTo>
                  <a:lnTo>
                    <a:pt x="159" y="455"/>
                  </a:lnTo>
                  <a:lnTo>
                    <a:pt x="155" y="455"/>
                  </a:lnTo>
                  <a:lnTo>
                    <a:pt x="155" y="451"/>
                  </a:lnTo>
                  <a:lnTo>
                    <a:pt x="151" y="451"/>
                  </a:lnTo>
                  <a:lnTo>
                    <a:pt x="151" y="455"/>
                  </a:lnTo>
                  <a:lnTo>
                    <a:pt x="151" y="451"/>
                  </a:lnTo>
                  <a:lnTo>
                    <a:pt x="147" y="451"/>
                  </a:lnTo>
                  <a:lnTo>
                    <a:pt x="147" y="455"/>
                  </a:lnTo>
                  <a:lnTo>
                    <a:pt x="143" y="455"/>
                  </a:lnTo>
                  <a:lnTo>
                    <a:pt x="139" y="455"/>
                  </a:lnTo>
                  <a:lnTo>
                    <a:pt x="139" y="451"/>
                  </a:lnTo>
                  <a:lnTo>
                    <a:pt x="135" y="451"/>
                  </a:lnTo>
                  <a:lnTo>
                    <a:pt x="131" y="451"/>
                  </a:lnTo>
                  <a:lnTo>
                    <a:pt x="128" y="451"/>
                  </a:lnTo>
                  <a:lnTo>
                    <a:pt x="124" y="451"/>
                  </a:lnTo>
                  <a:lnTo>
                    <a:pt x="120" y="451"/>
                  </a:lnTo>
                  <a:lnTo>
                    <a:pt x="116" y="455"/>
                  </a:lnTo>
                  <a:lnTo>
                    <a:pt x="112" y="455"/>
                  </a:lnTo>
                  <a:lnTo>
                    <a:pt x="108" y="455"/>
                  </a:lnTo>
                  <a:lnTo>
                    <a:pt x="104" y="455"/>
                  </a:lnTo>
                  <a:lnTo>
                    <a:pt x="104" y="459"/>
                  </a:lnTo>
                  <a:lnTo>
                    <a:pt x="100" y="459"/>
                  </a:lnTo>
                  <a:lnTo>
                    <a:pt x="100" y="463"/>
                  </a:lnTo>
                  <a:lnTo>
                    <a:pt x="96" y="467"/>
                  </a:lnTo>
                  <a:lnTo>
                    <a:pt x="96" y="463"/>
                  </a:lnTo>
                  <a:lnTo>
                    <a:pt x="92" y="463"/>
                  </a:lnTo>
                  <a:lnTo>
                    <a:pt x="92" y="467"/>
                  </a:lnTo>
                  <a:lnTo>
                    <a:pt x="88" y="467"/>
                  </a:lnTo>
                  <a:lnTo>
                    <a:pt x="88" y="471"/>
                  </a:lnTo>
                  <a:lnTo>
                    <a:pt x="84" y="471"/>
                  </a:lnTo>
                  <a:lnTo>
                    <a:pt x="84" y="475"/>
                  </a:lnTo>
                  <a:lnTo>
                    <a:pt x="80" y="475"/>
                  </a:lnTo>
                  <a:lnTo>
                    <a:pt x="76" y="475"/>
                  </a:lnTo>
                  <a:lnTo>
                    <a:pt x="80" y="475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6" y="475"/>
                  </a:lnTo>
                  <a:lnTo>
                    <a:pt x="72" y="475"/>
                  </a:lnTo>
                  <a:lnTo>
                    <a:pt x="72" y="479"/>
                  </a:lnTo>
                  <a:lnTo>
                    <a:pt x="72" y="475"/>
                  </a:lnTo>
                  <a:lnTo>
                    <a:pt x="68" y="475"/>
                  </a:lnTo>
                  <a:lnTo>
                    <a:pt x="64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2" y="475"/>
                  </a:lnTo>
                  <a:lnTo>
                    <a:pt x="52" y="471"/>
                  </a:lnTo>
                  <a:lnTo>
                    <a:pt x="48" y="471"/>
                  </a:lnTo>
                  <a:lnTo>
                    <a:pt x="48" y="467"/>
                  </a:lnTo>
                  <a:lnTo>
                    <a:pt x="44" y="467"/>
                  </a:lnTo>
                  <a:lnTo>
                    <a:pt x="44" y="463"/>
                  </a:lnTo>
                  <a:lnTo>
                    <a:pt x="40" y="463"/>
                  </a:lnTo>
                  <a:lnTo>
                    <a:pt x="36" y="459"/>
                  </a:lnTo>
                  <a:lnTo>
                    <a:pt x="36" y="463"/>
                  </a:lnTo>
                  <a:lnTo>
                    <a:pt x="32" y="459"/>
                  </a:lnTo>
                  <a:lnTo>
                    <a:pt x="32" y="455"/>
                  </a:lnTo>
                  <a:lnTo>
                    <a:pt x="32" y="451"/>
                  </a:lnTo>
                  <a:lnTo>
                    <a:pt x="32" y="447"/>
                  </a:lnTo>
                  <a:lnTo>
                    <a:pt x="36" y="447"/>
                  </a:lnTo>
                  <a:lnTo>
                    <a:pt x="40" y="447"/>
                  </a:lnTo>
                  <a:lnTo>
                    <a:pt x="44" y="443"/>
                  </a:lnTo>
                  <a:lnTo>
                    <a:pt x="44" y="439"/>
                  </a:lnTo>
                  <a:lnTo>
                    <a:pt x="44" y="435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23"/>
                  </a:lnTo>
                  <a:lnTo>
                    <a:pt x="44" y="419"/>
                  </a:lnTo>
                  <a:lnTo>
                    <a:pt x="44" y="415"/>
                  </a:lnTo>
                  <a:lnTo>
                    <a:pt x="44" y="411"/>
                  </a:lnTo>
                  <a:lnTo>
                    <a:pt x="44" y="407"/>
                  </a:lnTo>
                  <a:lnTo>
                    <a:pt x="44" y="403"/>
                  </a:lnTo>
                  <a:lnTo>
                    <a:pt x="40" y="403"/>
                  </a:lnTo>
                  <a:lnTo>
                    <a:pt x="40" y="399"/>
                  </a:lnTo>
                  <a:lnTo>
                    <a:pt x="40" y="395"/>
                  </a:lnTo>
                  <a:lnTo>
                    <a:pt x="36" y="395"/>
                  </a:lnTo>
                  <a:lnTo>
                    <a:pt x="36" y="391"/>
                  </a:lnTo>
                  <a:lnTo>
                    <a:pt x="36" y="387"/>
                  </a:lnTo>
                  <a:lnTo>
                    <a:pt x="36" y="383"/>
                  </a:lnTo>
                  <a:lnTo>
                    <a:pt x="36" y="379"/>
                  </a:lnTo>
                  <a:lnTo>
                    <a:pt x="32" y="379"/>
                  </a:lnTo>
                  <a:lnTo>
                    <a:pt x="32" y="375"/>
                  </a:lnTo>
                  <a:lnTo>
                    <a:pt x="32" y="371"/>
                  </a:lnTo>
                  <a:lnTo>
                    <a:pt x="32" y="367"/>
                  </a:lnTo>
                  <a:lnTo>
                    <a:pt x="32" y="363"/>
                  </a:lnTo>
                  <a:lnTo>
                    <a:pt x="32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47"/>
                  </a:lnTo>
                  <a:lnTo>
                    <a:pt x="24" y="343"/>
                  </a:lnTo>
                  <a:lnTo>
                    <a:pt x="24" y="339"/>
                  </a:lnTo>
                  <a:lnTo>
                    <a:pt x="20" y="339"/>
                  </a:lnTo>
                  <a:lnTo>
                    <a:pt x="20" y="335"/>
                  </a:lnTo>
                  <a:lnTo>
                    <a:pt x="20" y="331"/>
                  </a:lnTo>
                  <a:lnTo>
                    <a:pt x="20" y="327"/>
                  </a:lnTo>
                  <a:lnTo>
                    <a:pt x="20" y="323"/>
                  </a:lnTo>
                  <a:lnTo>
                    <a:pt x="16" y="319"/>
                  </a:lnTo>
                  <a:lnTo>
                    <a:pt x="16" y="315"/>
                  </a:lnTo>
                  <a:lnTo>
                    <a:pt x="12" y="315"/>
                  </a:lnTo>
                  <a:lnTo>
                    <a:pt x="12" y="311"/>
                  </a:lnTo>
                  <a:lnTo>
                    <a:pt x="12" y="307"/>
                  </a:lnTo>
                  <a:lnTo>
                    <a:pt x="8" y="307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12" y="304"/>
                  </a:lnTo>
                  <a:lnTo>
                    <a:pt x="12" y="307"/>
                  </a:lnTo>
                  <a:lnTo>
                    <a:pt x="12" y="311"/>
                  </a:lnTo>
                  <a:lnTo>
                    <a:pt x="16" y="311"/>
                  </a:lnTo>
                  <a:lnTo>
                    <a:pt x="16" y="307"/>
                  </a:lnTo>
                  <a:lnTo>
                    <a:pt x="16" y="304"/>
                  </a:lnTo>
                  <a:lnTo>
                    <a:pt x="12" y="304"/>
                  </a:lnTo>
                  <a:lnTo>
                    <a:pt x="12" y="300"/>
                  </a:lnTo>
                  <a:lnTo>
                    <a:pt x="12" y="296"/>
                  </a:lnTo>
                  <a:lnTo>
                    <a:pt x="8" y="292"/>
                  </a:lnTo>
                  <a:lnTo>
                    <a:pt x="12" y="288"/>
                  </a:lnTo>
                  <a:lnTo>
                    <a:pt x="12" y="292"/>
                  </a:lnTo>
                  <a:lnTo>
                    <a:pt x="12" y="296"/>
                  </a:lnTo>
                  <a:lnTo>
                    <a:pt x="16" y="296"/>
                  </a:lnTo>
                  <a:lnTo>
                    <a:pt x="16" y="300"/>
                  </a:lnTo>
                  <a:lnTo>
                    <a:pt x="12" y="300"/>
                  </a:lnTo>
                  <a:lnTo>
                    <a:pt x="16" y="304"/>
                  </a:lnTo>
                  <a:lnTo>
                    <a:pt x="16" y="300"/>
                  </a:lnTo>
                  <a:lnTo>
                    <a:pt x="16" y="304"/>
                  </a:lnTo>
                  <a:lnTo>
                    <a:pt x="20" y="307"/>
                  </a:lnTo>
                  <a:lnTo>
                    <a:pt x="20" y="304"/>
                  </a:lnTo>
                  <a:lnTo>
                    <a:pt x="20" y="300"/>
                  </a:lnTo>
                  <a:lnTo>
                    <a:pt x="24" y="300"/>
                  </a:lnTo>
                  <a:lnTo>
                    <a:pt x="24" y="296"/>
                  </a:lnTo>
                  <a:lnTo>
                    <a:pt x="20" y="292"/>
                  </a:lnTo>
                  <a:lnTo>
                    <a:pt x="16" y="288"/>
                  </a:lnTo>
                  <a:lnTo>
                    <a:pt x="16" y="284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2" y="272"/>
                  </a:lnTo>
                  <a:lnTo>
                    <a:pt x="8" y="272"/>
                  </a:lnTo>
                  <a:lnTo>
                    <a:pt x="8" y="268"/>
                  </a:lnTo>
                  <a:lnTo>
                    <a:pt x="8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6" y="244"/>
                  </a:lnTo>
                  <a:lnTo>
                    <a:pt x="16" y="240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6" y="232"/>
                  </a:lnTo>
                  <a:lnTo>
                    <a:pt x="16" y="228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20"/>
                  </a:lnTo>
                  <a:lnTo>
                    <a:pt x="20" y="224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16"/>
                  </a:lnTo>
                  <a:lnTo>
                    <a:pt x="36" y="216"/>
                  </a:lnTo>
                  <a:lnTo>
                    <a:pt x="40" y="212"/>
                  </a:lnTo>
                  <a:lnTo>
                    <a:pt x="44" y="208"/>
                  </a:lnTo>
                  <a:lnTo>
                    <a:pt x="48" y="208"/>
                  </a:lnTo>
                  <a:lnTo>
                    <a:pt x="48" y="204"/>
                  </a:lnTo>
                  <a:lnTo>
                    <a:pt x="52" y="204"/>
                  </a:lnTo>
                  <a:lnTo>
                    <a:pt x="52" y="200"/>
                  </a:lnTo>
                  <a:lnTo>
                    <a:pt x="56" y="200"/>
                  </a:lnTo>
                  <a:lnTo>
                    <a:pt x="60" y="200"/>
                  </a:lnTo>
                  <a:lnTo>
                    <a:pt x="60" y="196"/>
                  </a:lnTo>
                  <a:lnTo>
                    <a:pt x="64" y="196"/>
                  </a:lnTo>
                  <a:lnTo>
                    <a:pt x="68" y="196"/>
                  </a:lnTo>
                  <a:lnTo>
                    <a:pt x="68" y="200"/>
                  </a:lnTo>
                  <a:lnTo>
                    <a:pt x="72" y="200"/>
                  </a:lnTo>
                  <a:lnTo>
                    <a:pt x="72" y="196"/>
                  </a:lnTo>
                  <a:lnTo>
                    <a:pt x="76" y="196"/>
                  </a:lnTo>
                  <a:lnTo>
                    <a:pt x="80" y="196"/>
                  </a:lnTo>
                  <a:lnTo>
                    <a:pt x="80" y="192"/>
                  </a:lnTo>
                  <a:lnTo>
                    <a:pt x="84" y="192"/>
                  </a:lnTo>
                  <a:lnTo>
                    <a:pt x="88" y="192"/>
                  </a:lnTo>
                  <a:lnTo>
                    <a:pt x="92" y="188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04" y="184"/>
                  </a:lnTo>
                  <a:lnTo>
                    <a:pt x="108" y="184"/>
                  </a:lnTo>
                  <a:lnTo>
                    <a:pt x="112" y="184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72"/>
                  </a:lnTo>
                  <a:lnTo>
                    <a:pt x="131" y="168"/>
                  </a:lnTo>
                  <a:lnTo>
                    <a:pt x="131" y="164"/>
                  </a:lnTo>
                  <a:lnTo>
                    <a:pt x="135" y="160"/>
                  </a:lnTo>
                  <a:lnTo>
                    <a:pt x="135" y="156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0"/>
                  </a:lnTo>
                  <a:lnTo>
                    <a:pt x="151" y="116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36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3" y="136"/>
                  </a:lnTo>
                  <a:lnTo>
                    <a:pt x="163" y="132"/>
                  </a:lnTo>
                  <a:lnTo>
                    <a:pt x="163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28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0"/>
                  </a:lnTo>
                  <a:lnTo>
                    <a:pt x="159" y="120"/>
                  </a:lnTo>
                  <a:lnTo>
                    <a:pt x="163" y="120"/>
                  </a:lnTo>
                  <a:lnTo>
                    <a:pt x="163" y="116"/>
                  </a:lnTo>
                  <a:lnTo>
                    <a:pt x="163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12"/>
                  </a:lnTo>
                  <a:lnTo>
                    <a:pt x="171" y="112"/>
                  </a:lnTo>
                  <a:lnTo>
                    <a:pt x="171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83" y="116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9" y="112"/>
                  </a:lnTo>
                  <a:lnTo>
                    <a:pt x="179" y="108"/>
                  </a:lnTo>
                  <a:lnTo>
                    <a:pt x="179" y="104"/>
                  </a:lnTo>
                  <a:lnTo>
                    <a:pt x="179" y="108"/>
                  </a:lnTo>
                  <a:lnTo>
                    <a:pt x="175" y="108"/>
                  </a:lnTo>
                  <a:lnTo>
                    <a:pt x="175" y="104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7" y="100"/>
                  </a:lnTo>
                  <a:lnTo>
                    <a:pt x="187" y="96"/>
                  </a:lnTo>
                  <a:lnTo>
                    <a:pt x="183" y="96"/>
                  </a:lnTo>
                  <a:lnTo>
                    <a:pt x="187" y="92"/>
                  </a:lnTo>
                  <a:lnTo>
                    <a:pt x="183" y="92"/>
                  </a:lnTo>
                  <a:lnTo>
                    <a:pt x="183" y="96"/>
                  </a:lnTo>
                  <a:lnTo>
                    <a:pt x="183" y="92"/>
                  </a:lnTo>
                  <a:lnTo>
                    <a:pt x="187" y="92"/>
                  </a:lnTo>
                  <a:lnTo>
                    <a:pt x="191" y="92"/>
                  </a:lnTo>
                  <a:lnTo>
                    <a:pt x="187" y="92"/>
                  </a:lnTo>
                  <a:lnTo>
                    <a:pt x="187" y="88"/>
                  </a:lnTo>
                  <a:lnTo>
                    <a:pt x="187" y="84"/>
                  </a:lnTo>
                  <a:lnTo>
                    <a:pt x="191" y="80"/>
                  </a:lnTo>
                  <a:lnTo>
                    <a:pt x="191" y="84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5" y="76"/>
                  </a:lnTo>
                  <a:lnTo>
                    <a:pt x="195" y="80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9" y="80"/>
                  </a:lnTo>
                  <a:lnTo>
                    <a:pt x="195" y="84"/>
                  </a:lnTo>
                  <a:lnTo>
                    <a:pt x="199" y="84"/>
                  </a:lnTo>
                  <a:lnTo>
                    <a:pt x="199" y="80"/>
                  </a:lnTo>
                  <a:lnTo>
                    <a:pt x="203" y="76"/>
                  </a:lnTo>
                  <a:lnTo>
                    <a:pt x="199" y="72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203" y="72"/>
                  </a:lnTo>
                  <a:lnTo>
                    <a:pt x="207" y="72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1" y="72"/>
                  </a:lnTo>
                  <a:lnTo>
                    <a:pt x="211" y="68"/>
                  </a:lnTo>
                  <a:lnTo>
                    <a:pt x="215" y="68"/>
                  </a:lnTo>
                  <a:lnTo>
                    <a:pt x="215" y="72"/>
                  </a:lnTo>
                  <a:lnTo>
                    <a:pt x="219" y="72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76"/>
                  </a:lnTo>
                  <a:lnTo>
                    <a:pt x="227" y="76"/>
                  </a:lnTo>
                  <a:lnTo>
                    <a:pt x="227" y="80"/>
                  </a:lnTo>
                  <a:lnTo>
                    <a:pt x="231" y="84"/>
                  </a:lnTo>
                  <a:lnTo>
                    <a:pt x="231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1" y="100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1" y="92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9" y="88"/>
                  </a:lnTo>
                  <a:lnTo>
                    <a:pt x="239" y="84"/>
                  </a:lnTo>
                  <a:lnTo>
                    <a:pt x="239" y="88"/>
                  </a:lnTo>
                  <a:lnTo>
                    <a:pt x="243" y="88"/>
                  </a:lnTo>
                  <a:lnTo>
                    <a:pt x="247" y="88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47" y="92"/>
                  </a:lnTo>
                  <a:lnTo>
                    <a:pt x="247" y="88"/>
                  </a:lnTo>
                  <a:lnTo>
                    <a:pt x="251" y="88"/>
                  </a:lnTo>
                  <a:lnTo>
                    <a:pt x="255" y="92"/>
                  </a:lnTo>
                  <a:lnTo>
                    <a:pt x="255" y="96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5" y="88"/>
                  </a:lnTo>
                  <a:lnTo>
                    <a:pt x="255" y="84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1" y="80"/>
                  </a:lnTo>
                  <a:lnTo>
                    <a:pt x="251" y="76"/>
                  </a:lnTo>
                  <a:lnTo>
                    <a:pt x="255" y="72"/>
                  </a:lnTo>
                  <a:lnTo>
                    <a:pt x="259" y="68"/>
                  </a:lnTo>
                  <a:lnTo>
                    <a:pt x="259" y="64"/>
                  </a:lnTo>
                  <a:lnTo>
                    <a:pt x="259" y="60"/>
                  </a:lnTo>
                  <a:lnTo>
                    <a:pt x="259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63" y="52"/>
                  </a:lnTo>
                  <a:lnTo>
                    <a:pt x="267" y="52"/>
                  </a:lnTo>
                  <a:lnTo>
                    <a:pt x="267" y="48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71" y="40"/>
                  </a:lnTo>
                  <a:lnTo>
                    <a:pt x="271" y="44"/>
                  </a:lnTo>
                  <a:lnTo>
                    <a:pt x="275" y="48"/>
                  </a:lnTo>
                  <a:lnTo>
                    <a:pt x="275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5" y="36"/>
                  </a:lnTo>
                  <a:lnTo>
                    <a:pt x="279" y="36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9" y="36"/>
                  </a:lnTo>
                  <a:lnTo>
                    <a:pt x="303" y="36"/>
                  </a:lnTo>
                  <a:lnTo>
                    <a:pt x="299" y="36"/>
                  </a:lnTo>
                  <a:lnTo>
                    <a:pt x="299" y="32"/>
                  </a:lnTo>
                  <a:lnTo>
                    <a:pt x="299" y="28"/>
                  </a:lnTo>
                  <a:lnTo>
                    <a:pt x="303" y="28"/>
                  </a:lnTo>
                  <a:lnTo>
                    <a:pt x="299" y="28"/>
                  </a:lnTo>
                  <a:lnTo>
                    <a:pt x="299" y="24"/>
                  </a:lnTo>
                  <a:lnTo>
                    <a:pt x="295" y="24"/>
                  </a:lnTo>
                  <a:lnTo>
                    <a:pt x="291" y="24"/>
                  </a:lnTo>
                  <a:lnTo>
                    <a:pt x="287" y="20"/>
                  </a:lnTo>
                  <a:lnTo>
                    <a:pt x="287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5" y="24"/>
                  </a:lnTo>
                  <a:lnTo>
                    <a:pt x="295" y="20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9" y="20"/>
                  </a:lnTo>
                  <a:lnTo>
                    <a:pt x="299" y="24"/>
                  </a:lnTo>
                  <a:lnTo>
                    <a:pt x="303" y="24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19" y="28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3" y="36"/>
                  </a:lnTo>
                  <a:lnTo>
                    <a:pt x="327" y="36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5" y="40"/>
                  </a:lnTo>
                  <a:lnTo>
                    <a:pt x="339" y="40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7" y="32"/>
                  </a:lnTo>
                  <a:lnTo>
                    <a:pt x="351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51" y="36"/>
                  </a:lnTo>
                  <a:lnTo>
                    <a:pt x="351" y="40"/>
                  </a:lnTo>
                  <a:lnTo>
                    <a:pt x="351" y="44"/>
                  </a:lnTo>
                  <a:lnTo>
                    <a:pt x="355" y="44"/>
                  </a:lnTo>
                  <a:lnTo>
                    <a:pt x="355" y="40"/>
                  </a:lnTo>
                  <a:lnTo>
                    <a:pt x="355" y="36"/>
                  </a:lnTo>
                  <a:lnTo>
                    <a:pt x="359" y="32"/>
                  </a:lnTo>
                  <a:lnTo>
                    <a:pt x="359" y="36"/>
                  </a:lnTo>
                  <a:lnTo>
                    <a:pt x="359" y="40"/>
                  </a:lnTo>
                  <a:lnTo>
                    <a:pt x="363" y="40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63" y="44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9" y="52"/>
                  </a:lnTo>
                  <a:lnTo>
                    <a:pt x="359" y="56"/>
                  </a:lnTo>
                  <a:lnTo>
                    <a:pt x="355" y="56"/>
                  </a:lnTo>
                  <a:lnTo>
                    <a:pt x="351" y="56"/>
                  </a:lnTo>
                  <a:lnTo>
                    <a:pt x="351" y="60"/>
                  </a:lnTo>
                  <a:lnTo>
                    <a:pt x="351" y="64"/>
                  </a:lnTo>
                  <a:lnTo>
                    <a:pt x="351" y="68"/>
                  </a:lnTo>
                  <a:lnTo>
                    <a:pt x="351" y="72"/>
                  </a:lnTo>
                  <a:lnTo>
                    <a:pt x="351" y="76"/>
                  </a:lnTo>
                  <a:lnTo>
                    <a:pt x="347" y="76"/>
                  </a:lnTo>
                  <a:lnTo>
                    <a:pt x="347" y="80"/>
                  </a:lnTo>
                  <a:lnTo>
                    <a:pt x="343" y="80"/>
                  </a:lnTo>
                  <a:lnTo>
                    <a:pt x="343" y="84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51" y="92"/>
                  </a:lnTo>
                  <a:lnTo>
                    <a:pt x="351" y="96"/>
                  </a:lnTo>
                  <a:lnTo>
                    <a:pt x="355" y="96"/>
                  </a:lnTo>
                  <a:lnTo>
                    <a:pt x="355" y="100"/>
                  </a:lnTo>
                  <a:lnTo>
                    <a:pt x="359" y="104"/>
                  </a:lnTo>
                  <a:lnTo>
                    <a:pt x="363" y="104"/>
                  </a:lnTo>
                  <a:lnTo>
                    <a:pt x="363" y="108"/>
                  </a:lnTo>
                  <a:lnTo>
                    <a:pt x="367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9" y="112"/>
                  </a:lnTo>
                  <a:lnTo>
                    <a:pt x="379" y="116"/>
                  </a:lnTo>
                  <a:lnTo>
                    <a:pt x="379" y="120"/>
                  </a:lnTo>
                  <a:lnTo>
                    <a:pt x="383" y="120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5" y="124"/>
                  </a:lnTo>
                  <a:lnTo>
                    <a:pt x="399" y="124"/>
                  </a:lnTo>
                  <a:lnTo>
                    <a:pt x="399" y="128"/>
                  </a:lnTo>
                  <a:lnTo>
                    <a:pt x="399" y="132"/>
                  </a:lnTo>
                  <a:lnTo>
                    <a:pt x="399" y="136"/>
                  </a:lnTo>
                  <a:lnTo>
                    <a:pt x="403" y="136"/>
                  </a:lnTo>
                  <a:lnTo>
                    <a:pt x="407" y="136"/>
                  </a:lnTo>
                  <a:lnTo>
                    <a:pt x="407" y="140"/>
                  </a:lnTo>
                  <a:lnTo>
                    <a:pt x="411" y="140"/>
                  </a:lnTo>
                  <a:lnTo>
                    <a:pt x="415" y="140"/>
                  </a:lnTo>
                  <a:lnTo>
                    <a:pt x="419" y="140"/>
                  </a:lnTo>
                  <a:lnTo>
                    <a:pt x="423" y="140"/>
                  </a:lnTo>
                  <a:lnTo>
                    <a:pt x="423" y="136"/>
                  </a:lnTo>
                  <a:lnTo>
                    <a:pt x="427" y="136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24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1" y="116"/>
                  </a:lnTo>
                  <a:lnTo>
                    <a:pt x="431" y="112"/>
                  </a:lnTo>
                  <a:lnTo>
                    <a:pt x="435" y="112"/>
                  </a:lnTo>
                  <a:lnTo>
                    <a:pt x="435" y="108"/>
                  </a:lnTo>
                  <a:lnTo>
                    <a:pt x="435" y="104"/>
                  </a:lnTo>
                  <a:lnTo>
                    <a:pt x="435" y="100"/>
                  </a:lnTo>
                  <a:lnTo>
                    <a:pt x="435" y="96"/>
                  </a:lnTo>
                  <a:lnTo>
                    <a:pt x="435" y="92"/>
                  </a:lnTo>
                  <a:lnTo>
                    <a:pt x="439" y="92"/>
                  </a:lnTo>
                  <a:lnTo>
                    <a:pt x="435" y="88"/>
                  </a:lnTo>
                  <a:lnTo>
                    <a:pt x="435" y="80"/>
                  </a:lnTo>
                  <a:lnTo>
                    <a:pt x="435" y="76"/>
                  </a:lnTo>
                  <a:lnTo>
                    <a:pt x="435" y="72"/>
                  </a:lnTo>
                  <a:lnTo>
                    <a:pt x="435" y="68"/>
                  </a:lnTo>
                  <a:lnTo>
                    <a:pt x="435" y="64"/>
                  </a:lnTo>
                  <a:lnTo>
                    <a:pt x="435" y="60"/>
                  </a:lnTo>
                  <a:lnTo>
                    <a:pt x="439" y="60"/>
                  </a:lnTo>
                  <a:lnTo>
                    <a:pt x="439" y="56"/>
                  </a:lnTo>
                  <a:lnTo>
                    <a:pt x="435" y="56"/>
                  </a:lnTo>
                  <a:lnTo>
                    <a:pt x="435" y="52"/>
                  </a:lnTo>
                  <a:lnTo>
                    <a:pt x="439" y="52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43" y="52"/>
                  </a:lnTo>
                  <a:lnTo>
                    <a:pt x="439" y="48"/>
                  </a:lnTo>
                  <a:lnTo>
                    <a:pt x="439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39" y="40"/>
                  </a:lnTo>
                  <a:lnTo>
                    <a:pt x="439" y="36"/>
                  </a:lnTo>
                  <a:lnTo>
                    <a:pt x="443" y="36"/>
                  </a:lnTo>
                  <a:lnTo>
                    <a:pt x="443" y="32"/>
                  </a:lnTo>
                  <a:lnTo>
                    <a:pt x="443" y="28"/>
                  </a:lnTo>
                  <a:lnTo>
                    <a:pt x="443" y="24"/>
                  </a:lnTo>
                  <a:lnTo>
                    <a:pt x="443" y="20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1" y="16"/>
                  </a:lnTo>
                  <a:lnTo>
                    <a:pt x="451" y="12"/>
                  </a:lnTo>
                  <a:lnTo>
                    <a:pt x="455" y="16"/>
                  </a:lnTo>
                  <a:lnTo>
                    <a:pt x="455" y="20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5" y="32"/>
                  </a:lnTo>
                  <a:lnTo>
                    <a:pt x="459" y="32"/>
                  </a:lnTo>
                  <a:lnTo>
                    <a:pt x="459" y="36"/>
                  </a:lnTo>
                  <a:lnTo>
                    <a:pt x="459" y="40"/>
                  </a:lnTo>
                  <a:lnTo>
                    <a:pt x="463" y="40"/>
                  </a:lnTo>
                  <a:lnTo>
                    <a:pt x="463" y="44"/>
                  </a:lnTo>
                  <a:lnTo>
                    <a:pt x="463" y="48"/>
                  </a:lnTo>
                  <a:lnTo>
                    <a:pt x="463" y="52"/>
                  </a:lnTo>
                  <a:lnTo>
                    <a:pt x="467" y="52"/>
                  </a:lnTo>
                  <a:lnTo>
                    <a:pt x="467" y="56"/>
                  </a:lnTo>
                  <a:lnTo>
                    <a:pt x="467" y="60"/>
                  </a:lnTo>
                  <a:lnTo>
                    <a:pt x="467" y="64"/>
                  </a:lnTo>
                  <a:lnTo>
                    <a:pt x="467" y="68"/>
                  </a:lnTo>
                  <a:lnTo>
                    <a:pt x="467" y="72"/>
                  </a:lnTo>
                  <a:lnTo>
                    <a:pt x="467" y="76"/>
                  </a:lnTo>
                  <a:lnTo>
                    <a:pt x="471" y="80"/>
                  </a:lnTo>
                  <a:lnTo>
                    <a:pt x="475" y="80"/>
                  </a:lnTo>
                  <a:lnTo>
                    <a:pt x="479" y="76"/>
                  </a:lnTo>
                  <a:lnTo>
                    <a:pt x="483" y="76"/>
                  </a:lnTo>
                  <a:lnTo>
                    <a:pt x="483" y="80"/>
                  </a:lnTo>
                  <a:lnTo>
                    <a:pt x="483" y="84"/>
                  </a:lnTo>
                  <a:lnTo>
                    <a:pt x="486" y="84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92"/>
                  </a:lnTo>
                  <a:lnTo>
                    <a:pt x="490" y="96"/>
                  </a:lnTo>
                  <a:lnTo>
                    <a:pt x="490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4" y="116"/>
                  </a:lnTo>
                  <a:lnTo>
                    <a:pt x="494" y="120"/>
                  </a:lnTo>
                  <a:lnTo>
                    <a:pt x="498" y="124"/>
                  </a:lnTo>
                  <a:lnTo>
                    <a:pt x="498" y="128"/>
                  </a:lnTo>
                  <a:lnTo>
                    <a:pt x="498" y="124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32"/>
                  </a:lnTo>
                  <a:lnTo>
                    <a:pt x="502" y="136"/>
                  </a:lnTo>
                  <a:lnTo>
                    <a:pt x="502" y="140"/>
                  </a:lnTo>
                  <a:lnTo>
                    <a:pt x="502" y="144"/>
                  </a:lnTo>
                  <a:lnTo>
                    <a:pt x="502" y="148"/>
                  </a:lnTo>
                  <a:lnTo>
                    <a:pt x="502" y="152"/>
                  </a:lnTo>
                  <a:lnTo>
                    <a:pt x="506" y="156"/>
                  </a:lnTo>
                  <a:lnTo>
                    <a:pt x="506" y="160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0" y="168"/>
                  </a:lnTo>
                  <a:lnTo>
                    <a:pt x="514" y="168"/>
                  </a:lnTo>
                  <a:lnTo>
                    <a:pt x="514" y="172"/>
                  </a:lnTo>
                  <a:lnTo>
                    <a:pt x="518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6" y="176"/>
                  </a:lnTo>
                  <a:lnTo>
                    <a:pt x="526" y="180"/>
                  </a:lnTo>
                  <a:lnTo>
                    <a:pt x="530" y="180"/>
                  </a:lnTo>
                  <a:lnTo>
                    <a:pt x="530" y="184"/>
                  </a:lnTo>
                  <a:lnTo>
                    <a:pt x="534" y="184"/>
                  </a:lnTo>
                  <a:lnTo>
                    <a:pt x="538" y="184"/>
                  </a:lnTo>
                  <a:lnTo>
                    <a:pt x="538" y="188"/>
                  </a:lnTo>
                  <a:lnTo>
                    <a:pt x="538" y="184"/>
                  </a:lnTo>
                  <a:lnTo>
                    <a:pt x="542" y="184"/>
                  </a:lnTo>
                  <a:lnTo>
                    <a:pt x="542" y="188"/>
                  </a:lnTo>
                  <a:lnTo>
                    <a:pt x="546" y="188"/>
                  </a:lnTo>
                  <a:lnTo>
                    <a:pt x="546" y="192"/>
                  </a:lnTo>
                  <a:lnTo>
                    <a:pt x="546" y="196"/>
                  </a:lnTo>
                  <a:lnTo>
                    <a:pt x="546" y="192"/>
                  </a:lnTo>
                  <a:lnTo>
                    <a:pt x="542" y="192"/>
                  </a:lnTo>
                  <a:lnTo>
                    <a:pt x="542" y="196"/>
                  </a:lnTo>
                  <a:lnTo>
                    <a:pt x="546" y="200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50" y="208"/>
                  </a:lnTo>
                  <a:lnTo>
                    <a:pt x="554" y="208"/>
                  </a:lnTo>
                  <a:lnTo>
                    <a:pt x="554" y="212"/>
                  </a:lnTo>
                  <a:lnTo>
                    <a:pt x="554" y="216"/>
                  </a:lnTo>
                  <a:lnTo>
                    <a:pt x="554" y="220"/>
                  </a:lnTo>
                  <a:lnTo>
                    <a:pt x="554" y="224"/>
                  </a:lnTo>
                  <a:lnTo>
                    <a:pt x="558" y="228"/>
                  </a:lnTo>
                  <a:lnTo>
                    <a:pt x="558" y="232"/>
                  </a:lnTo>
                  <a:lnTo>
                    <a:pt x="562" y="228"/>
                  </a:lnTo>
                  <a:lnTo>
                    <a:pt x="562" y="232"/>
                  </a:lnTo>
                  <a:lnTo>
                    <a:pt x="562" y="236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2" y="224"/>
                  </a:lnTo>
                  <a:lnTo>
                    <a:pt x="566" y="224"/>
                  </a:lnTo>
                  <a:lnTo>
                    <a:pt x="566" y="228"/>
                  </a:lnTo>
                  <a:lnTo>
                    <a:pt x="566" y="232"/>
                  </a:lnTo>
                  <a:lnTo>
                    <a:pt x="570" y="232"/>
                  </a:lnTo>
                  <a:lnTo>
                    <a:pt x="570" y="228"/>
                  </a:lnTo>
                  <a:lnTo>
                    <a:pt x="574" y="228"/>
                  </a:lnTo>
                  <a:lnTo>
                    <a:pt x="574" y="232"/>
                  </a:lnTo>
                  <a:lnTo>
                    <a:pt x="574" y="236"/>
                  </a:lnTo>
                  <a:lnTo>
                    <a:pt x="574" y="240"/>
                  </a:lnTo>
                  <a:lnTo>
                    <a:pt x="574" y="244"/>
                  </a:lnTo>
                  <a:lnTo>
                    <a:pt x="574" y="248"/>
                  </a:lnTo>
                  <a:lnTo>
                    <a:pt x="578" y="252"/>
                  </a:lnTo>
                  <a:lnTo>
                    <a:pt x="582" y="256"/>
                  </a:lnTo>
                  <a:lnTo>
                    <a:pt x="586" y="260"/>
                  </a:lnTo>
                  <a:close/>
                  <a:moveTo>
                    <a:pt x="179" y="100"/>
                  </a:moveTo>
                  <a:lnTo>
                    <a:pt x="175" y="96"/>
                  </a:lnTo>
                  <a:lnTo>
                    <a:pt x="179" y="96"/>
                  </a:lnTo>
                  <a:lnTo>
                    <a:pt x="179" y="100"/>
                  </a:lnTo>
                  <a:close/>
                  <a:moveTo>
                    <a:pt x="610" y="296"/>
                  </a:moveTo>
                  <a:lnTo>
                    <a:pt x="610" y="292"/>
                  </a:lnTo>
                  <a:lnTo>
                    <a:pt x="606" y="292"/>
                  </a:lnTo>
                  <a:lnTo>
                    <a:pt x="610" y="288"/>
                  </a:lnTo>
                  <a:lnTo>
                    <a:pt x="610" y="284"/>
                  </a:lnTo>
                  <a:lnTo>
                    <a:pt x="610" y="280"/>
                  </a:lnTo>
                  <a:lnTo>
                    <a:pt x="614" y="280"/>
                  </a:lnTo>
                  <a:lnTo>
                    <a:pt x="614" y="276"/>
                  </a:lnTo>
                  <a:lnTo>
                    <a:pt x="610" y="276"/>
                  </a:lnTo>
                  <a:lnTo>
                    <a:pt x="614" y="276"/>
                  </a:lnTo>
                  <a:lnTo>
                    <a:pt x="614" y="272"/>
                  </a:lnTo>
                  <a:lnTo>
                    <a:pt x="614" y="276"/>
                  </a:lnTo>
                  <a:lnTo>
                    <a:pt x="614" y="280"/>
                  </a:lnTo>
                  <a:lnTo>
                    <a:pt x="614" y="284"/>
                  </a:lnTo>
                  <a:lnTo>
                    <a:pt x="610" y="288"/>
                  </a:lnTo>
                  <a:lnTo>
                    <a:pt x="610" y="292"/>
                  </a:lnTo>
                  <a:lnTo>
                    <a:pt x="610" y="296"/>
                  </a:lnTo>
                  <a:close/>
                  <a:moveTo>
                    <a:pt x="534" y="583"/>
                  </a:moveTo>
                  <a:lnTo>
                    <a:pt x="534" y="579"/>
                  </a:lnTo>
                  <a:lnTo>
                    <a:pt x="530" y="575"/>
                  </a:lnTo>
                  <a:lnTo>
                    <a:pt x="530" y="571"/>
                  </a:lnTo>
                  <a:lnTo>
                    <a:pt x="534" y="571"/>
                  </a:lnTo>
                  <a:lnTo>
                    <a:pt x="534" y="575"/>
                  </a:lnTo>
                  <a:lnTo>
                    <a:pt x="538" y="575"/>
                  </a:lnTo>
                  <a:lnTo>
                    <a:pt x="538" y="579"/>
                  </a:lnTo>
                  <a:lnTo>
                    <a:pt x="538" y="583"/>
                  </a:lnTo>
                  <a:lnTo>
                    <a:pt x="534" y="583"/>
                  </a:lnTo>
                  <a:close/>
                  <a:moveTo>
                    <a:pt x="534" y="635"/>
                  </a:moveTo>
                  <a:lnTo>
                    <a:pt x="534" y="631"/>
                  </a:lnTo>
                  <a:lnTo>
                    <a:pt x="534" y="635"/>
                  </a:lnTo>
                  <a:close/>
                  <a:moveTo>
                    <a:pt x="403" y="132"/>
                  </a:moveTo>
                  <a:lnTo>
                    <a:pt x="403" y="128"/>
                  </a:lnTo>
                  <a:lnTo>
                    <a:pt x="407" y="128"/>
                  </a:lnTo>
                  <a:lnTo>
                    <a:pt x="403" y="128"/>
                  </a:lnTo>
                  <a:lnTo>
                    <a:pt x="403" y="132"/>
                  </a:lnTo>
                  <a:close/>
                  <a:moveTo>
                    <a:pt x="506" y="156"/>
                  </a:moveTo>
                  <a:lnTo>
                    <a:pt x="506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56"/>
                  </a:lnTo>
                  <a:close/>
                  <a:moveTo>
                    <a:pt x="40" y="200"/>
                  </a:moveTo>
                  <a:lnTo>
                    <a:pt x="40" y="196"/>
                  </a:lnTo>
                  <a:lnTo>
                    <a:pt x="40" y="200"/>
                  </a:lnTo>
                  <a:close/>
                  <a:moveTo>
                    <a:pt x="698" y="898"/>
                  </a:moveTo>
                  <a:lnTo>
                    <a:pt x="698" y="894"/>
                  </a:lnTo>
                  <a:lnTo>
                    <a:pt x="698" y="898"/>
                  </a:lnTo>
                  <a:close/>
                  <a:moveTo>
                    <a:pt x="447" y="4"/>
                  </a:moveTo>
                  <a:lnTo>
                    <a:pt x="447" y="0"/>
                  </a:lnTo>
                  <a:lnTo>
                    <a:pt x="447" y="4"/>
                  </a:lnTo>
                  <a:close/>
                  <a:moveTo>
                    <a:pt x="447" y="12"/>
                  </a:moveTo>
                  <a:lnTo>
                    <a:pt x="443" y="12"/>
                  </a:lnTo>
                  <a:lnTo>
                    <a:pt x="443" y="8"/>
                  </a:lnTo>
                  <a:lnTo>
                    <a:pt x="447" y="8"/>
                  </a:lnTo>
                  <a:lnTo>
                    <a:pt x="447" y="12"/>
                  </a:lnTo>
                  <a:close/>
                  <a:moveTo>
                    <a:pt x="359" y="24"/>
                  </a:moveTo>
                  <a:lnTo>
                    <a:pt x="363" y="20"/>
                  </a:lnTo>
                  <a:lnTo>
                    <a:pt x="363" y="16"/>
                  </a:lnTo>
                  <a:lnTo>
                    <a:pt x="363" y="20"/>
                  </a:lnTo>
                  <a:lnTo>
                    <a:pt x="359" y="24"/>
                  </a:lnTo>
                  <a:close/>
                  <a:moveTo>
                    <a:pt x="299" y="24"/>
                  </a:moveTo>
                  <a:lnTo>
                    <a:pt x="299" y="20"/>
                  </a:lnTo>
                  <a:lnTo>
                    <a:pt x="299" y="16"/>
                  </a:lnTo>
                  <a:lnTo>
                    <a:pt x="299" y="20"/>
                  </a:lnTo>
                  <a:lnTo>
                    <a:pt x="299" y="24"/>
                  </a:lnTo>
                  <a:close/>
                  <a:moveTo>
                    <a:pt x="275" y="32"/>
                  </a:moveTo>
                  <a:lnTo>
                    <a:pt x="271" y="32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9" y="20"/>
                  </a:lnTo>
                  <a:lnTo>
                    <a:pt x="279" y="24"/>
                  </a:lnTo>
                  <a:lnTo>
                    <a:pt x="279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83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75" y="32"/>
                  </a:lnTo>
                  <a:close/>
                  <a:moveTo>
                    <a:pt x="267" y="32"/>
                  </a:moveTo>
                  <a:lnTo>
                    <a:pt x="263" y="32"/>
                  </a:lnTo>
                  <a:lnTo>
                    <a:pt x="259" y="32"/>
                  </a:lnTo>
                  <a:lnTo>
                    <a:pt x="263" y="28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1" y="32"/>
                  </a:lnTo>
                  <a:lnTo>
                    <a:pt x="267" y="32"/>
                  </a:lnTo>
                  <a:close/>
                  <a:moveTo>
                    <a:pt x="355" y="28"/>
                  </a:moveTo>
                  <a:lnTo>
                    <a:pt x="359" y="24"/>
                  </a:lnTo>
                  <a:lnTo>
                    <a:pt x="359" y="28"/>
                  </a:lnTo>
                  <a:lnTo>
                    <a:pt x="355" y="28"/>
                  </a:lnTo>
                  <a:close/>
                  <a:moveTo>
                    <a:pt x="367" y="76"/>
                  </a:moveTo>
                  <a:lnTo>
                    <a:pt x="363" y="76"/>
                  </a:lnTo>
                  <a:lnTo>
                    <a:pt x="359" y="76"/>
                  </a:lnTo>
                  <a:lnTo>
                    <a:pt x="359" y="72"/>
                  </a:lnTo>
                  <a:lnTo>
                    <a:pt x="359" y="68"/>
                  </a:lnTo>
                  <a:lnTo>
                    <a:pt x="363" y="64"/>
                  </a:lnTo>
                  <a:lnTo>
                    <a:pt x="363" y="68"/>
                  </a:lnTo>
                  <a:lnTo>
                    <a:pt x="367" y="68"/>
                  </a:lnTo>
                  <a:lnTo>
                    <a:pt x="363" y="68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7" y="76"/>
                  </a:lnTo>
                  <a:close/>
                  <a:moveTo>
                    <a:pt x="355" y="68"/>
                  </a:moveTo>
                  <a:lnTo>
                    <a:pt x="355" y="64"/>
                  </a:lnTo>
                  <a:lnTo>
                    <a:pt x="355" y="68"/>
                  </a:lnTo>
                  <a:close/>
                  <a:moveTo>
                    <a:pt x="187" y="84"/>
                  </a:moveTo>
                  <a:lnTo>
                    <a:pt x="187" y="80"/>
                  </a:lnTo>
                  <a:lnTo>
                    <a:pt x="187" y="84"/>
                  </a:lnTo>
                  <a:close/>
                  <a:moveTo>
                    <a:pt x="359" y="104"/>
                  </a:moveTo>
                  <a:lnTo>
                    <a:pt x="359" y="100"/>
                  </a:lnTo>
                  <a:lnTo>
                    <a:pt x="359" y="104"/>
                  </a:lnTo>
                  <a:close/>
                  <a:moveTo>
                    <a:pt x="367" y="104"/>
                  </a:moveTo>
                  <a:lnTo>
                    <a:pt x="367" y="100"/>
                  </a:lnTo>
                  <a:lnTo>
                    <a:pt x="367" y="104"/>
                  </a:lnTo>
                  <a:close/>
                  <a:moveTo>
                    <a:pt x="399" y="124"/>
                  </a:moveTo>
                  <a:lnTo>
                    <a:pt x="399" y="120"/>
                  </a:lnTo>
                  <a:lnTo>
                    <a:pt x="403" y="120"/>
                  </a:lnTo>
                  <a:lnTo>
                    <a:pt x="403" y="116"/>
                  </a:lnTo>
                  <a:lnTo>
                    <a:pt x="407" y="116"/>
                  </a:lnTo>
                  <a:lnTo>
                    <a:pt x="407" y="120"/>
                  </a:lnTo>
                  <a:lnTo>
                    <a:pt x="403" y="120"/>
                  </a:lnTo>
                  <a:lnTo>
                    <a:pt x="403" y="124"/>
                  </a:lnTo>
                  <a:lnTo>
                    <a:pt x="399" y="124"/>
                  </a:lnTo>
                  <a:close/>
                  <a:moveTo>
                    <a:pt x="582" y="256"/>
                  </a:moveTo>
                  <a:lnTo>
                    <a:pt x="582" y="252"/>
                  </a:lnTo>
                  <a:lnTo>
                    <a:pt x="578" y="252"/>
                  </a:lnTo>
                  <a:lnTo>
                    <a:pt x="578" y="248"/>
                  </a:lnTo>
                  <a:lnTo>
                    <a:pt x="582" y="252"/>
                  </a:lnTo>
                  <a:lnTo>
                    <a:pt x="582" y="256"/>
                  </a:lnTo>
                  <a:close/>
                  <a:moveTo>
                    <a:pt x="8" y="300"/>
                  </a:moveTo>
                  <a:lnTo>
                    <a:pt x="4" y="300"/>
                  </a:lnTo>
                  <a:lnTo>
                    <a:pt x="4" y="296"/>
                  </a:lnTo>
                  <a:lnTo>
                    <a:pt x="0" y="292"/>
                  </a:lnTo>
                  <a:lnTo>
                    <a:pt x="0" y="288"/>
                  </a:lnTo>
                  <a:lnTo>
                    <a:pt x="4" y="288"/>
                  </a:lnTo>
                  <a:lnTo>
                    <a:pt x="4" y="292"/>
                  </a:lnTo>
                  <a:lnTo>
                    <a:pt x="4" y="296"/>
                  </a:lnTo>
                  <a:lnTo>
                    <a:pt x="4" y="300"/>
                  </a:lnTo>
                  <a:lnTo>
                    <a:pt x="8" y="300"/>
                  </a:lnTo>
                  <a:close/>
                  <a:moveTo>
                    <a:pt x="614" y="323"/>
                  </a:moveTo>
                  <a:lnTo>
                    <a:pt x="614" y="319"/>
                  </a:lnTo>
                  <a:lnTo>
                    <a:pt x="614" y="323"/>
                  </a:lnTo>
                  <a:close/>
                  <a:moveTo>
                    <a:pt x="614" y="331"/>
                  </a:moveTo>
                  <a:lnTo>
                    <a:pt x="614" y="327"/>
                  </a:lnTo>
                  <a:lnTo>
                    <a:pt x="614" y="323"/>
                  </a:lnTo>
                  <a:lnTo>
                    <a:pt x="618" y="327"/>
                  </a:lnTo>
                  <a:lnTo>
                    <a:pt x="614" y="327"/>
                  </a:lnTo>
                  <a:lnTo>
                    <a:pt x="614" y="331"/>
                  </a:lnTo>
                  <a:close/>
                  <a:moveTo>
                    <a:pt x="379" y="491"/>
                  </a:moveTo>
                  <a:lnTo>
                    <a:pt x="383" y="491"/>
                  </a:lnTo>
                  <a:lnTo>
                    <a:pt x="383" y="495"/>
                  </a:lnTo>
                  <a:lnTo>
                    <a:pt x="379" y="491"/>
                  </a:lnTo>
                  <a:lnTo>
                    <a:pt x="375" y="495"/>
                  </a:lnTo>
                  <a:lnTo>
                    <a:pt x="371" y="495"/>
                  </a:lnTo>
                  <a:lnTo>
                    <a:pt x="367" y="495"/>
                  </a:lnTo>
                  <a:lnTo>
                    <a:pt x="363" y="495"/>
                  </a:lnTo>
                  <a:lnTo>
                    <a:pt x="359" y="495"/>
                  </a:lnTo>
                  <a:lnTo>
                    <a:pt x="359" y="491"/>
                  </a:lnTo>
                  <a:lnTo>
                    <a:pt x="367" y="487"/>
                  </a:lnTo>
                  <a:lnTo>
                    <a:pt x="371" y="487"/>
                  </a:lnTo>
                  <a:lnTo>
                    <a:pt x="375" y="487"/>
                  </a:lnTo>
                  <a:lnTo>
                    <a:pt x="375" y="491"/>
                  </a:lnTo>
                  <a:lnTo>
                    <a:pt x="379" y="491"/>
                  </a:lnTo>
                  <a:close/>
                  <a:moveTo>
                    <a:pt x="494" y="543"/>
                  </a:moveTo>
                  <a:lnTo>
                    <a:pt x="490" y="543"/>
                  </a:lnTo>
                  <a:lnTo>
                    <a:pt x="494" y="543"/>
                  </a:lnTo>
                  <a:close/>
                  <a:moveTo>
                    <a:pt x="494" y="547"/>
                  </a:moveTo>
                  <a:lnTo>
                    <a:pt x="490" y="547"/>
                  </a:lnTo>
                  <a:lnTo>
                    <a:pt x="494" y="547"/>
                  </a:lnTo>
                  <a:close/>
                  <a:moveTo>
                    <a:pt x="471" y="579"/>
                  </a:moveTo>
                  <a:lnTo>
                    <a:pt x="471" y="575"/>
                  </a:lnTo>
                  <a:lnTo>
                    <a:pt x="471" y="571"/>
                  </a:lnTo>
                  <a:lnTo>
                    <a:pt x="471" y="567"/>
                  </a:lnTo>
                  <a:lnTo>
                    <a:pt x="475" y="571"/>
                  </a:lnTo>
                  <a:lnTo>
                    <a:pt x="475" y="575"/>
                  </a:lnTo>
                  <a:lnTo>
                    <a:pt x="475" y="579"/>
                  </a:lnTo>
                  <a:lnTo>
                    <a:pt x="471" y="579"/>
                  </a:lnTo>
                  <a:close/>
                  <a:moveTo>
                    <a:pt x="538" y="587"/>
                  </a:moveTo>
                  <a:lnTo>
                    <a:pt x="534" y="587"/>
                  </a:lnTo>
                  <a:lnTo>
                    <a:pt x="534" y="583"/>
                  </a:lnTo>
                  <a:lnTo>
                    <a:pt x="538" y="583"/>
                  </a:lnTo>
                  <a:lnTo>
                    <a:pt x="538" y="587"/>
                  </a:lnTo>
                  <a:close/>
                  <a:moveTo>
                    <a:pt x="518" y="655"/>
                  </a:moveTo>
                  <a:lnTo>
                    <a:pt x="514" y="655"/>
                  </a:lnTo>
                  <a:lnTo>
                    <a:pt x="514" y="651"/>
                  </a:lnTo>
                  <a:lnTo>
                    <a:pt x="510" y="651"/>
                  </a:lnTo>
                  <a:lnTo>
                    <a:pt x="506" y="651"/>
                  </a:lnTo>
                  <a:lnTo>
                    <a:pt x="502" y="651"/>
                  </a:lnTo>
                  <a:lnTo>
                    <a:pt x="502" y="647"/>
                  </a:lnTo>
                  <a:lnTo>
                    <a:pt x="506" y="647"/>
                  </a:lnTo>
                  <a:lnTo>
                    <a:pt x="502" y="647"/>
                  </a:lnTo>
                  <a:lnTo>
                    <a:pt x="498" y="647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494" y="639"/>
                  </a:lnTo>
                  <a:lnTo>
                    <a:pt x="494" y="635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90" y="627"/>
                  </a:lnTo>
                  <a:lnTo>
                    <a:pt x="490" y="623"/>
                  </a:lnTo>
                  <a:lnTo>
                    <a:pt x="490" y="627"/>
                  </a:lnTo>
                  <a:lnTo>
                    <a:pt x="494" y="627"/>
                  </a:lnTo>
                  <a:lnTo>
                    <a:pt x="494" y="631"/>
                  </a:lnTo>
                  <a:lnTo>
                    <a:pt x="494" y="627"/>
                  </a:lnTo>
                  <a:lnTo>
                    <a:pt x="490" y="623"/>
                  </a:lnTo>
                  <a:lnTo>
                    <a:pt x="490" y="619"/>
                  </a:lnTo>
                  <a:lnTo>
                    <a:pt x="486" y="615"/>
                  </a:lnTo>
                  <a:lnTo>
                    <a:pt x="486" y="611"/>
                  </a:lnTo>
                  <a:lnTo>
                    <a:pt x="483" y="607"/>
                  </a:lnTo>
                  <a:lnTo>
                    <a:pt x="483" y="603"/>
                  </a:lnTo>
                  <a:lnTo>
                    <a:pt x="483" y="599"/>
                  </a:lnTo>
                  <a:lnTo>
                    <a:pt x="483" y="595"/>
                  </a:lnTo>
                  <a:lnTo>
                    <a:pt x="483" y="591"/>
                  </a:lnTo>
                  <a:lnTo>
                    <a:pt x="486" y="591"/>
                  </a:lnTo>
                  <a:lnTo>
                    <a:pt x="486" y="595"/>
                  </a:lnTo>
                  <a:lnTo>
                    <a:pt x="490" y="595"/>
                  </a:lnTo>
                  <a:lnTo>
                    <a:pt x="494" y="595"/>
                  </a:lnTo>
                  <a:lnTo>
                    <a:pt x="498" y="599"/>
                  </a:lnTo>
                  <a:lnTo>
                    <a:pt x="502" y="599"/>
                  </a:lnTo>
                  <a:lnTo>
                    <a:pt x="506" y="603"/>
                  </a:lnTo>
                  <a:lnTo>
                    <a:pt x="510" y="603"/>
                  </a:lnTo>
                  <a:lnTo>
                    <a:pt x="514" y="599"/>
                  </a:lnTo>
                  <a:lnTo>
                    <a:pt x="514" y="603"/>
                  </a:lnTo>
                  <a:lnTo>
                    <a:pt x="518" y="603"/>
                  </a:lnTo>
                  <a:lnTo>
                    <a:pt x="518" y="599"/>
                  </a:lnTo>
                  <a:lnTo>
                    <a:pt x="514" y="599"/>
                  </a:lnTo>
                  <a:lnTo>
                    <a:pt x="518" y="599"/>
                  </a:lnTo>
                  <a:lnTo>
                    <a:pt x="522" y="599"/>
                  </a:lnTo>
                  <a:lnTo>
                    <a:pt x="526" y="599"/>
                  </a:lnTo>
                  <a:lnTo>
                    <a:pt x="526" y="595"/>
                  </a:lnTo>
                  <a:lnTo>
                    <a:pt x="530" y="595"/>
                  </a:lnTo>
                  <a:lnTo>
                    <a:pt x="534" y="591"/>
                  </a:lnTo>
                  <a:lnTo>
                    <a:pt x="534" y="595"/>
                  </a:lnTo>
                  <a:lnTo>
                    <a:pt x="538" y="595"/>
                  </a:lnTo>
                  <a:lnTo>
                    <a:pt x="538" y="599"/>
                  </a:lnTo>
                  <a:lnTo>
                    <a:pt x="538" y="603"/>
                  </a:lnTo>
                  <a:lnTo>
                    <a:pt x="538" y="607"/>
                  </a:lnTo>
                  <a:lnTo>
                    <a:pt x="538" y="611"/>
                  </a:lnTo>
                  <a:lnTo>
                    <a:pt x="538" y="615"/>
                  </a:lnTo>
                  <a:lnTo>
                    <a:pt x="538" y="619"/>
                  </a:lnTo>
                  <a:lnTo>
                    <a:pt x="538" y="623"/>
                  </a:lnTo>
                  <a:lnTo>
                    <a:pt x="538" y="619"/>
                  </a:lnTo>
                  <a:lnTo>
                    <a:pt x="534" y="619"/>
                  </a:lnTo>
                  <a:lnTo>
                    <a:pt x="534" y="623"/>
                  </a:lnTo>
                  <a:lnTo>
                    <a:pt x="534" y="631"/>
                  </a:lnTo>
                  <a:lnTo>
                    <a:pt x="530" y="631"/>
                  </a:lnTo>
                  <a:lnTo>
                    <a:pt x="530" y="635"/>
                  </a:lnTo>
                  <a:lnTo>
                    <a:pt x="530" y="639"/>
                  </a:lnTo>
                  <a:lnTo>
                    <a:pt x="530" y="635"/>
                  </a:lnTo>
                  <a:lnTo>
                    <a:pt x="534" y="639"/>
                  </a:lnTo>
                  <a:lnTo>
                    <a:pt x="530" y="643"/>
                  </a:lnTo>
                  <a:lnTo>
                    <a:pt x="534" y="643"/>
                  </a:lnTo>
                  <a:lnTo>
                    <a:pt x="530" y="643"/>
                  </a:lnTo>
                  <a:lnTo>
                    <a:pt x="530" y="647"/>
                  </a:lnTo>
                  <a:lnTo>
                    <a:pt x="526" y="643"/>
                  </a:lnTo>
                  <a:lnTo>
                    <a:pt x="526" y="639"/>
                  </a:lnTo>
                  <a:lnTo>
                    <a:pt x="530" y="639"/>
                  </a:lnTo>
                  <a:lnTo>
                    <a:pt x="530" y="643"/>
                  </a:lnTo>
                  <a:lnTo>
                    <a:pt x="530" y="639"/>
                  </a:lnTo>
                  <a:lnTo>
                    <a:pt x="526" y="635"/>
                  </a:lnTo>
                  <a:lnTo>
                    <a:pt x="526" y="639"/>
                  </a:lnTo>
                  <a:lnTo>
                    <a:pt x="522" y="639"/>
                  </a:lnTo>
                  <a:lnTo>
                    <a:pt x="522" y="635"/>
                  </a:lnTo>
                  <a:lnTo>
                    <a:pt x="522" y="639"/>
                  </a:lnTo>
                  <a:lnTo>
                    <a:pt x="522" y="643"/>
                  </a:lnTo>
                  <a:lnTo>
                    <a:pt x="522" y="647"/>
                  </a:lnTo>
                  <a:lnTo>
                    <a:pt x="518" y="647"/>
                  </a:lnTo>
                  <a:lnTo>
                    <a:pt x="518" y="643"/>
                  </a:lnTo>
                  <a:lnTo>
                    <a:pt x="518" y="647"/>
                  </a:lnTo>
                  <a:lnTo>
                    <a:pt x="518" y="651"/>
                  </a:lnTo>
                  <a:lnTo>
                    <a:pt x="518" y="655"/>
                  </a:lnTo>
                  <a:close/>
                  <a:moveTo>
                    <a:pt x="522" y="647"/>
                  </a:moveTo>
                  <a:lnTo>
                    <a:pt x="522" y="643"/>
                  </a:lnTo>
                  <a:lnTo>
                    <a:pt x="522" y="647"/>
                  </a:lnTo>
                  <a:close/>
                  <a:moveTo>
                    <a:pt x="522" y="651"/>
                  </a:moveTo>
                  <a:lnTo>
                    <a:pt x="518" y="651"/>
                  </a:lnTo>
                  <a:lnTo>
                    <a:pt x="522" y="647"/>
                  </a:lnTo>
                  <a:lnTo>
                    <a:pt x="522" y="6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29" name="Freeform 182">
              <a:extLst>
                <a:ext uri="{FF2B5EF4-FFF2-40B4-BE49-F238E27FC236}">
                  <a16:creationId xmlns:a16="http://schemas.microsoft.com/office/drawing/2014/main" xmlns="" id="{12CF8E47-8A0F-4346-AC74-D40BEEF32493}"/>
                </a:ext>
              </a:extLst>
            </p:cNvPr>
            <p:cNvSpPr>
              <a:spLocks noEditPoints="1"/>
            </p:cNvSpPr>
            <p:nvPr>
              <p:custDataLst>
                <p:tags r:id="rId181"/>
              </p:custDataLst>
            </p:nvPr>
          </p:nvSpPr>
          <p:spPr bwMode="gray">
            <a:xfrm>
              <a:off x="1920107" y="5072018"/>
              <a:ext cx="965474" cy="1171620"/>
            </a:xfrm>
            <a:custGeom>
              <a:avLst/>
              <a:gdLst/>
              <a:ahLst/>
              <a:cxnLst>
                <a:cxn ang="0">
                  <a:pos x="559" y="475"/>
                </a:cxn>
                <a:cxn ang="0">
                  <a:pos x="547" y="419"/>
                </a:cxn>
                <a:cxn ang="0">
                  <a:pos x="563" y="343"/>
                </a:cxn>
                <a:cxn ang="0">
                  <a:pos x="575" y="247"/>
                </a:cxn>
                <a:cxn ang="0">
                  <a:pos x="591" y="152"/>
                </a:cxn>
                <a:cxn ang="0">
                  <a:pos x="595" y="64"/>
                </a:cxn>
                <a:cxn ang="0">
                  <a:pos x="615" y="32"/>
                </a:cxn>
                <a:cxn ang="0">
                  <a:pos x="643" y="104"/>
                </a:cxn>
                <a:cxn ang="0">
                  <a:pos x="611" y="191"/>
                </a:cxn>
                <a:cxn ang="0">
                  <a:pos x="591" y="275"/>
                </a:cxn>
                <a:cxn ang="0">
                  <a:pos x="591" y="363"/>
                </a:cxn>
                <a:cxn ang="0">
                  <a:pos x="571" y="443"/>
                </a:cxn>
                <a:cxn ang="0">
                  <a:pos x="571" y="519"/>
                </a:cxn>
                <a:cxn ang="0">
                  <a:pos x="571" y="575"/>
                </a:cxn>
                <a:cxn ang="0">
                  <a:pos x="543" y="646"/>
                </a:cxn>
                <a:cxn ang="0">
                  <a:pos x="599" y="702"/>
                </a:cxn>
                <a:cxn ang="0">
                  <a:pos x="563" y="738"/>
                </a:cxn>
                <a:cxn ang="0">
                  <a:pos x="555" y="730"/>
                </a:cxn>
                <a:cxn ang="0">
                  <a:pos x="555" y="714"/>
                </a:cxn>
                <a:cxn ang="0">
                  <a:pos x="551" y="706"/>
                </a:cxn>
                <a:cxn ang="0">
                  <a:pos x="559" y="694"/>
                </a:cxn>
                <a:cxn ang="0">
                  <a:pos x="539" y="686"/>
                </a:cxn>
                <a:cxn ang="0">
                  <a:pos x="539" y="662"/>
                </a:cxn>
                <a:cxn ang="0">
                  <a:pos x="535" y="642"/>
                </a:cxn>
                <a:cxn ang="0">
                  <a:pos x="547" y="614"/>
                </a:cxn>
                <a:cxn ang="0">
                  <a:pos x="531" y="587"/>
                </a:cxn>
                <a:cxn ang="0">
                  <a:pos x="523" y="571"/>
                </a:cxn>
                <a:cxn ang="0">
                  <a:pos x="543" y="575"/>
                </a:cxn>
                <a:cxn ang="0">
                  <a:pos x="547" y="531"/>
                </a:cxn>
                <a:cxn ang="0">
                  <a:pos x="535" y="531"/>
                </a:cxn>
                <a:cxn ang="0">
                  <a:pos x="535" y="686"/>
                </a:cxn>
                <a:cxn ang="0">
                  <a:pos x="543" y="503"/>
                </a:cxn>
                <a:cxn ang="0">
                  <a:pos x="539" y="495"/>
                </a:cxn>
                <a:cxn ang="0">
                  <a:pos x="539" y="527"/>
                </a:cxn>
                <a:cxn ang="0">
                  <a:pos x="535" y="535"/>
                </a:cxn>
                <a:cxn ang="0">
                  <a:pos x="535" y="543"/>
                </a:cxn>
                <a:cxn ang="0">
                  <a:pos x="527" y="551"/>
                </a:cxn>
                <a:cxn ang="0">
                  <a:pos x="535" y="563"/>
                </a:cxn>
                <a:cxn ang="0">
                  <a:pos x="531" y="610"/>
                </a:cxn>
                <a:cxn ang="0">
                  <a:pos x="511" y="610"/>
                </a:cxn>
                <a:cxn ang="0">
                  <a:pos x="527" y="614"/>
                </a:cxn>
                <a:cxn ang="0">
                  <a:pos x="527" y="654"/>
                </a:cxn>
                <a:cxn ang="0">
                  <a:pos x="519" y="638"/>
                </a:cxn>
                <a:cxn ang="0">
                  <a:pos x="515" y="638"/>
                </a:cxn>
                <a:cxn ang="0">
                  <a:pos x="515" y="658"/>
                </a:cxn>
                <a:cxn ang="0">
                  <a:pos x="515" y="674"/>
                </a:cxn>
                <a:cxn ang="0">
                  <a:pos x="519" y="686"/>
                </a:cxn>
                <a:cxn ang="0">
                  <a:pos x="523" y="694"/>
                </a:cxn>
                <a:cxn ang="0">
                  <a:pos x="523" y="702"/>
                </a:cxn>
                <a:cxn ang="0">
                  <a:pos x="539" y="706"/>
                </a:cxn>
                <a:cxn ang="0">
                  <a:pos x="579" y="758"/>
                </a:cxn>
                <a:cxn ang="0">
                  <a:pos x="587" y="754"/>
                </a:cxn>
                <a:cxn ang="0">
                  <a:pos x="599" y="738"/>
                </a:cxn>
                <a:cxn ang="0">
                  <a:pos x="619" y="746"/>
                </a:cxn>
                <a:cxn ang="0">
                  <a:pos x="543" y="718"/>
                </a:cxn>
                <a:cxn ang="0">
                  <a:pos x="559" y="738"/>
                </a:cxn>
                <a:cxn ang="0">
                  <a:pos x="591" y="734"/>
                </a:cxn>
                <a:cxn ang="0">
                  <a:pos x="575" y="754"/>
                </a:cxn>
                <a:cxn ang="0">
                  <a:pos x="591" y="766"/>
                </a:cxn>
                <a:cxn ang="0">
                  <a:pos x="639" y="766"/>
                </a:cxn>
                <a:cxn ang="0">
                  <a:pos x="615" y="774"/>
                </a:cxn>
                <a:cxn ang="0">
                  <a:pos x="623" y="774"/>
                </a:cxn>
                <a:cxn ang="0">
                  <a:pos x="635" y="790"/>
                </a:cxn>
              </a:cxnLst>
              <a:rect l="0" t="0" r="r" b="b"/>
              <a:pathLst>
                <a:path w="651" h="790">
                  <a:moveTo>
                    <a:pt x="551" y="519"/>
                  </a:moveTo>
                  <a:lnTo>
                    <a:pt x="551" y="515"/>
                  </a:lnTo>
                  <a:lnTo>
                    <a:pt x="551" y="511"/>
                  </a:lnTo>
                  <a:lnTo>
                    <a:pt x="551" y="507"/>
                  </a:lnTo>
                  <a:lnTo>
                    <a:pt x="551" y="503"/>
                  </a:lnTo>
                  <a:lnTo>
                    <a:pt x="555" y="503"/>
                  </a:lnTo>
                  <a:lnTo>
                    <a:pt x="555" y="507"/>
                  </a:lnTo>
                  <a:lnTo>
                    <a:pt x="555" y="503"/>
                  </a:lnTo>
                  <a:lnTo>
                    <a:pt x="555" y="499"/>
                  </a:lnTo>
                  <a:lnTo>
                    <a:pt x="555" y="495"/>
                  </a:lnTo>
                  <a:lnTo>
                    <a:pt x="559" y="495"/>
                  </a:lnTo>
                  <a:lnTo>
                    <a:pt x="555" y="495"/>
                  </a:lnTo>
                  <a:lnTo>
                    <a:pt x="555" y="491"/>
                  </a:lnTo>
                  <a:lnTo>
                    <a:pt x="555" y="487"/>
                  </a:lnTo>
                  <a:lnTo>
                    <a:pt x="559" y="487"/>
                  </a:lnTo>
                  <a:lnTo>
                    <a:pt x="559" y="491"/>
                  </a:lnTo>
                  <a:lnTo>
                    <a:pt x="559" y="487"/>
                  </a:lnTo>
                  <a:lnTo>
                    <a:pt x="559" y="483"/>
                  </a:lnTo>
                  <a:lnTo>
                    <a:pt x="555" y="483"/>
                  </a:lnTo>
                  <a:lnTo>
                    <a:pt x="551" y="483"/>
                  </a:lnTo>
                  <a:lnTo>
                    <a:pt x="555" y="483"/>
                  </a:lnTo>
                  <a:lnTo>
                    <a:pt x="555" y="479"/>
                  </a:lnTo>
                  <a:lnTo>
                    <a:pt x="559" y="479"/>
                  </a:lnTo>
                  <a:lnTo>
                    <a:pt x="559" y="475"/>
                  </a:lnTo>
                  <a:lnTo>
                    <a:pt x="563" y="475"/>
                  </a:lnTo>
                  <a:lnTo>
                    <a:pt x="563" y="471"/>
                  </a:lnTo>
                  <a:lnTo>
                    <a:pt x="559" y="471"/>
                  </a:lnTo>
                  <a:lnTo>
                    <a:pt x="559" y="475"/>
                  </a:lnTo>
                  <a:lnTo>
                    <a:pt x="555" y="475"/>
                  </a:lnTo>
                  <a:lnTo>
                    <a:pt x="555" y="471"/>
                  </a:lnTo>
                  <a:lnTo>
                    <a:pt x="551" y="471"/>
                  </a:lnTo>
                  <a:lnTo>
                    <a:pt x="551" y="475"/>
                  </a:lnTo>
                  <a:lnTo>
                    <a:pt x="547" y="479"/>
                  </a:lnTo>
                  <a:lnTo>
                    <a:pt x="543" y="479"/>
                  </a:lnTo>
                  <a:lnTo>
                    <a:pt x="539" y="479"/>
                  </a:lnTo>
                  <a:lnTo>
                    <a:pt x="539" y="475"/>
                  </a:lnTo>
                  <a:lnTo>
                    <a:pt x="543" y="475"/>
                  </a:lnTo>
                  <a:lnTo>
                    <a:pt x="543" y="471"/>
                  </a:lnTo>
                  <a:lnTo>
                    <a:pt x="543" y="475"/>
                  </a:lnTo>
                  <a:lnTo>
                    <a:pt x="539" y="475"/>
                  </a:lnTo>
                  <a:lnTo>
                    <a:pt x="539" y="471"/>
                  </a:lnTo>
                  <a:lnTo>
                    <a:pt x="539" y="467"/>
                  </a:lnTo>
                  <a:lnTo>
                    <a:pt x="535" y="467"/>
                  </a:lnTo>
                  <a:lnTo>
                    <a:pt x="535" y="463"/>
                  </a:lnTo>
                  <a:lnTo>
                    <a:pt x="535" y="459"/>
                  </a:lnTo>
                  <a:lnTo>
                    <a:pt x="539" y="455"/>
                  </a:lnTo>
                  <a:lnTo>
                    <a:pt x="539" y="451"/>
                  </a:lnTo>
                  <a:lnTo>
                    <a:pt x="539" y="443"/>
                  </a:lnTo>
                  <a:lnTo>
                    <a:pt x="539" y="439"/>
                  </a:lnTo>
                  <a:lnTo>
                    <a:pt x="543" y="439"/>
                  </a:lnTo>
                  <a:lnTo>
                    <a:pt x="547" y="439"/>
                  </a:lnTo>
                  <a:lnTo>
                    <a:pt x="547" y="435"/>
                  </a:lnTo>
                  <a:lnTo>
                    <a:pt x="547" y="431"/>
                  </a:lnTo>
                  <a:lnTo>
                    <a:pt x="547" y="427"/>
                  </a:lnTo>
                  <a:lnTo>
                    <a:pt x="547" y="423"/>
                  </a:lnTo>
                  <a:lnTo>
                    <a:pt x="547" y="419"/>
                  </a:lnTo>
                  <a:lnTo>
                    <a:pt x="543" y="415"/>
                  </a:lnTo>
                  <a:lnTo>
                    <a:pt x="543" y="411"/>
                  </a:lnTo>
                  <a:lnTo>
                    <a:pt x="543" y="407"/>
                  </a:lnTo>
                  <a:lnTo>
                    <a:pt x="543" y="403"/>
                  </a:lnTo>
                  <a:lnTo>
                    <a:pt x="543" y="399"/>
                  </a:lnTo>
                  <a:lnTo>
                    <a:pt x="543" y="395"/>
                  </a:lnTo>
                  <a:lnTo>
                    <a:pt x="539" y="395"/>
                  </a:lnTo>
                  <a:lnTo>
                    <a:pt x="539" y="391"/>
                  </a:lnTo>
                  <a:lnTo>
                    <a:pt x="543" y="391"/>
                  </a:lnTo>
                  <a:lnTo>
                    <a:pt x="543" y="387"/>
                  </a:lnTo>
                  <a:lnTo>
                    <a:pt x="539" y="387"/>
                  </a:lnTo>
                  <a:lnTo>
                    <a:pt x="543" y="383"/>
                  </a:lnTo>
                  <a:lnTo>
                    <a:pt x="547" y="383"/>
                  </a:lnTo>
                  <a:lnTo>
                    <a:pt x="547" y="379"/>
                  </a:lnTo>
                  <a:lnTo>
                    <a:pt x="547" y="375"/>
                  </a:lnTo>
                  <a:lnTo>
                    <a:pt x="551" y="375"/>
                  </a:lnTo>
                  <a:lnTo>
                    <a:pt x="551" y="371"/>
                  </a:lnTo>
                  <a:lnTo>
                    <a:pt x="551" y="367"/>
                  </a:lnTo>
                  <a:lnTo>
                    <a:pt x="555" y="367"/>
                  </a:lnTo>
                  <a:lnTo>
                    <a:pt x="555" y="363"/>
                  </a:lnTo>
                  <a:lnTo>
                    <a:pt x="555" y="359"/>
                  </a:lnTo>
                  <a:lnTo>
                    <a:pt x="555" y="355"/>
                  </a:lnTo>
                  <a:lnTo>
                    <a:pt x="559" y="355"/>
                  </a:lnTo>
                  <a:lnTo>
                    <a:pt x="555" y="351"/>
                  </a:lnTo>
                  <a:lnTo>
                    <a:pt x="559" y="351"/>
                  </a:lnTo>
                  <a:lnTo>
                    <a:pt x="559" y="347"/>
                  </a:lnTo>
                  <a:lnTo>
                    <a:pt x="559" y="343"/>
                  </a:lnTo>
                  <a:lnTo>
                    <a:pt x="563" y="343"/>
                  </a:lnTo>
                  <a:lnTo>
                    <a:pt x="563" y="339"/>
                  </a:lnTo>
                  <a:lnTo>
                    <a:pt x="563" y="335"/>
                  </a:lnTo>
                  <a:lnTo>
                    <a:pt x="567" y="331"/>
                  </a:lnTo>
                  <a:lnTo>
                    <a:pt x="567" y="327"/>
                  </a:lnTo>
                  <a:lnTo>
                    <a:pt x="567" y="323"/>
                  </a:lnTo>
                  <a:lnTo>
                    <a:pt x="567" y="319"/>
                  </a:lnTo>
                  <a:lnTo>
                    <a:pt x="567" y="315"/>
                  </a:lnTo>
                  <a:lnTo>
                    <a:pt x="571" y="315"/>
                  </a:lnTo>
                  <a:lnTo>
                    <a:pt x="571" y="311"/>
                  </a:lnTo>
                  <a:lnTo>
                    <a:pt x="571" y="307"/>
                  </a:lnTo>
                  <a:lnTo>
                    <a:pt x="571" y="303"/>
                  </a:lnTo>
                  <a:lnTo>
                    <a:pt x="571" y="299"/>
                  </a:lnTo>
                  <a:lnTo>
                    <a:pt x="575" y="295"/>
                  </a:lnTo>
                  <a:lnTo>
                    <a:pt x="575" y="291"/>
                  </a:lnTo>
                  <a:lnTo>
                    <a:pt x="575" y="287"/>
                  </a:lnTo>
                  <a:lnTo>
                    <a:pt x="575" y="283"/>
                  </a:lnTo>
                  <a:lnTo>
                    <a:pt x="575" y="279"/>
                  </a:lnTo>
                  <a:lnTo>
                    <a:pt x="575" y="275"/>
                  </a:lnTo>
                  <a:lnTo>
                    <a:pt x="571" y="271"/>
                  </a:lnTo>
                  <a:lnTo>
                    <a:pt x="571" y="267"/>
                  </a:lnTo>
                  <a:lnTo>
                    <a:pt x="571" y="263"/>
                  </a:lnTo>
                  <a:lnTo>
                    <a:pt x="571" y="259"/>
                  </a:lnTo>
                  <a:lnTo>
                    <a:pt x="571" y="255"/>
                  </a:lnTo>
                  <a:lnTo>
                    <a:pt x="571" y="251"/>
                  </a:lnTo>
                  <a:lnTo>
                    <a:pt x="571" y="247"/>
                  </a:lnTo>
                  <a:lnTo>
                    <a:pt x="571" y="243"/>
                  </a:lnTo>
                  <a:lnTo>
                    <a:pt x="571" y="247"/>
                  </a:lnTo>
                  <a:lnTo>
                    <a:pt x="575" y="247"/>
                  </a:lnTo>
                  <a:lnTo>
                    <a:pt x="575" y="243"/>
                  </a:lnTo>
                  <a:lnTo>
                    <a:pt x="575" y="239"/>
                  </a:lnTo>
                  <a:lnTo>
                    <a:pt x="575" y="235"/>
                  </a:lnTo>
                  <a:lnTo>
                    <a:pt x="575" y="231"/>
                  </a:lnTo>
                  <a:lnTo>
                    <a:pt x="575" y="227"/>
                  </a:lnTo>
                  <a:lnTo>
                    <a:pt x="575" y="223"/>
                  </a:lnTo>
                  <a:lnTo>
                    <a:pt x="575" y="219"/>
                  </a:lnTo>
                  <a:lnTo>
                    <a:pt x="575" y="215"/>
                  </a:lnTo>
                  <a:lnTo>
                    <a:pt x="575" y="211"/>
                  </a:lnTo>
                  <a:lnTo>
                    <a:pt x="579" y="211"/>
                  </a:lnTo>
                  <a:lnTo>
                    <a:pt x="579" y="207"/>
                  </a:lnTo>
                  <a:lnTo>
                    <a:pt x="579" y="203"/>
                  </a:lnTo>
                  <a:lnTo>
                    <a:pt x="579" y="199"/>
                  </a:lnTo>
                  <a:lnTo>
                    <a:pt x="579" y="195"/>
                  </a:lnTo>
                  <a:lnTo>
                    <a:pt x="583" y="195"/>
                  </a:lnTo>
                  <a:lnTo>
                    <a:pt x="583" y="191"/>
                  </a:lnTo>
                  <a:lnTo>
                    <a:pt x="583" y="187"/>
                  </a:lnTo>
                  <a:lnTo>
                    <a:pt x="583" y="183"/>
                  </a:lnTo>
                  <a:lnTo>
                    <a:pt x="583" y="179"/>
                  </a:lnTo>
                  <a:lnTo>
                    <a:pt x="583" y="175"/>
                  </a:lnTo>
                  <a:lnTo>
                    <a:pt x="587" y="175"/>
                  </a:lnTo>
                  <a:lnTo>
                    <a:pt x="587" y="171"/>
                  </a:lnTo>
                  <a:lnTo>
                    <a:pt x="587" y="168"/>
                  </a:lnTo>
                  <a:lnTo>
                    <a:pt x="587" y="164"/>
                  </a:lnTo>
                  <a:lnTo>
                    <a:pt x="587" y="160"/>
                  </a:lnTo>
                  <a:lnTo>
                    <a:pt x="587" y="156"/>
                  </a:lnTo>
                  <a:lnTo>
                    <a:pt x="587" y="152"/>
                  </a:lnTo>
                  <a:lnTo>
                    <a:pt x="591" y="152"/>
                  </a:lnTo>
                  <a:lnTo>
                    <a:pt x="591" y="148"/>
                  </a:lnTo>
                  <a:lnTo>
                    <a:pt x="587" y="144"/>
                  </a:lnTo>
                  <a:lnTo>
                    <a:pt x="587" y="140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4"/>
                  </a:lnTo>
                  <a:lnTo>
                    <a:pt x="587" y="120"/>
                  </a:lnTo>
                  <a:lnTo>
                    <a:pt x="591" y="120"/>
                  </a:lnTo>
                  <a:lnTo>
                    <a:pt x="591" y="116"/>
                  </a:lnTo>
                  <a:lnTo>
                    <a:pt x="591" y="112"/>
                  </a:lnTo>
                  <a:lnTo>
                    <a:pt x="587" y="112"/>
                  </a:lnTo>
                  <a:lnTo>
                    <a:pt x="587" y="116"/>
                  </a:lnTo>
                  <a:lnTo>
                    <a:pt x="587" y="112"/>
                  </a:lnTo>
                  <a:lnTo>
                    <a:pt x="587" y="108"/>
                  </a:lnTo>
                  <a:lnTo>
                    <a:pt x="587" y="104"/>
                  </a:lnTo>
                  <a:lnTo>
                    <a:pt x="587" y="108"/>
                  </a:lnTo>
                  <a:lnTo>
                    <a:pt x="591" y="108"/>
                  </a:lnTo>
                  <a:lnTo>
                    <a:pt x="591" y="104"/>
                  </a:lnTo>
                  <a:lnTo>
                    <a:pt x="591" y="100"/>
                  </a:lnTo>
                  <a:lnTo>
                    <a:pt x="591" y="96"/>
                  </a:lnTo>
                  <a:lnTo>
                    <a:pt x="591" y="92"/>
                  </a:lnTo>
                  <a:lnTo>
                    <a:pt x="595" y="88"/>
                  </a:lnTo>
                  <a:lnTo>
                    <a:pt x="595" y="80"/>
                  </a:lnTo>
                  <a:lnTo>
                    <a:pt x="595" y="76"/>
                  </a:lnTo>
                  <a:lnTo>
                    <a:pt x="595" y="72"/>
                  </a:lnTo>
                  <a:lnTo>
                    <a:pt x="595" y="68"/>
                  </a:lnTo>
                  <a:lnTo>
                    <a:pt x="595" y="64"/>
                  </a:lnTo>
                  <a:lnTo>
                    <a:pt x="595" y="56"/>
                  </a:lnTo>
                  <a:lnTo>
                    <a:pt x="595" y="52"/>
                  </a:lnTo>
                  <a:lnTo>
                    <a:pt x="595" y="48"/>
                  </a:lnTo>
                  <a:lnTo>
                    <a:pt x="595" y="44"/>
                  </a:lnTo>
                  <a:lnTo>
                    <a:pt x="595" y="40"/>
                  </a:lnTo>
                  <a:lnTo>
                    <a:pt x="591" y="36"/>
                  </a:lnTo>
                  <a:lnTo>
                    <a:pt x="591" y="32"/>
                  </a:lnTo>
                  <a:lnTo>
                    <a:pt x="591" y="28"/>
                  </a:lnTo>
                  <a:lnTo>
                    <a:pt x="591" y="24"/>
                  </a:lnTo>
                  <a:lnTo>
                    <a:pt x="591" y="20"/>
                  </a:lnTo>
                  <a:lnTo>
                    <a:pt x="591" y="16"/>
                  </a:lnTo>
                  <a:lnTo>
                    <a:pt x="595" y="16"/>
                  </a:lnTo>
                  <a:lnTo>
                    <a:pt x="599" y="16"/>
                  </a:lnTo>
                  <a:lnTo>
                    <a:pt x="599" y="12"/>
                  </a:lnTo>
                  <a:lnTo>
                    <a:pt x="599" y="8"/>
                  </a:lnTo>
                  <a:lnTo>
                    <a:pt x="599" y="4"/>
                  </a:lnTo>
                  <a:lnTo>
                    <a:pt x="603" y="4"/>
                  </a:lnTo>
                  <a:lnTo>
                    <a:pt x="603" y="0"/>
                  </a:lnTo>
                  <a:lnTo>
                    <a:pt x="603" y="4"/>
                  </a:lnTo>
                  <a:lnTo>
                    <a:pt x="607" y="4"/>
                  </a:lnTo>
                  <a:lnTo>
                    <a:pt x="607" y="8"/>
                  </a:lnTo>
                  <a:lnTo>
                    <a:pt x="607" y="12"/>
                  </a:lnTo>
                  <a:lnTo>
                    <a:pt x="611" y="12"/>
                  </a:lnTo>
                  <a:lnTo>
                    <a:pt x="611" y="16"/>
                  </a:lnTo>
                  <a:lnTo>
                    <a:pt x="611" y="20"/>
                  </a:lnTo>
                  <a:lnTo>
                    <a:pt x="611" y="24"/>
                  </a:lnTo>
                  <a:lnTo>
                    <a:pt x="611" y="28"/>
                  </a:lnTo>
                  <a:lnTo>
                    <a:pt x="615" y="32"/>
                  </a:lnTo>
                  <a:lnTo>
                    <a:pt x="615" y="36"/>
                  </a:lnTo>
                  <a:lnTo>
                    <a:pt x="619" y="36"/>
                  </a:lnTo>
                  <a:lnTo>
                    <a:pt x="619" y="40"/>
                  </a:lnTo>
                  <a:lnTo>
                    <a:pt x="615" y="44"/>
                  </a:lnTo>
                  <a:lnTo>
                    <a:pt x="619" y="44"/>
                  </a:lnTo>
                  <a:lnTo>
                    <a:pt x="619" y="48"/>
                  </a:lnTo>
                  <a:lnTo>
                    <a:pt x="615" y="48"/>
                  </a:lnTo>
                  <a:lnTo>
                    <a:pt x="615" y="52"/>
                  </a:lnTo>
                  <a:lnTo>
                    <a:pt x="615" y="56"/>
                  </a:lnTo>
                  <a:lnTo>
                    <a:pt x="615" y="60"/>
                  </a:lnTo>
                  <a:lnTo>
                    <a:pt x="619" y="60"/>
                  </a:lnTo>
                  <a:lnTo>
                    <a:pt x="619" y="64"/>
                  </a:lnTo>
                  <a:lnTo>
                    <a:pt x="619" y="68"/>
                  </a:lnTo>
                  <a:lnTo>
                    <a:pt x="619" y="64"/>
                  </a:lnTo>
                  <a:lnTo>
                    <a:pt x="623" y="72"/>
                  </a:lnTo>
                  <a:lnTo>
                    <a:pt x="623" y="80"/>
                  </a:lnTo>
                  <a:lnTo>
                    <a:pt x="627" y="80"/>
                  </a:lnTo>
                  <a:lnTo>
                    <a:pt x="627" y="84"/>
                  </a:lnTo>
                  <a:lnTo>
                    <a:pt x="627" y="88"/>
                  </a:lnTo>
                  <a:lnTo>
                    <a:pt x="627" y="92"/>
                  </a:lnTo>
                  <a:lnTo>
                    <a:pt x="627" y="96"/>
                  </a:lnTo>
                  <a:lnTo>
                    <a:pt x="631" y="96"/>
                  </a:lnTo>
                  <a:lnTo>
                    <a:pt x="627" y="100"/>
                  </a:lnTo>
                  <a:lnTo>
                    <a:pt x="631" y="104"/>
                  </a:lnTo>
                  <a:lnTo>
                    <a:pt x="635" y="104"/>
                  </a:lnTo>
                  <a:lnTo>
                    <a:pt x="639" y="100"/>
                  </a:lnTo>
                  <a:lnTo>
                    <a:pt x="639" y="104"/>
                  </a:lnTo>
                  <a:lnTo>
                    <a:pt x="643" y="104"/>
                  </a:lnTo>
                  <a:lnTo>
                    <a:pt x="643" y="108"/>
                  </a:lnTo>
                  <a:lnTo>
                    <a:pt x="639" y="108"/>
                  </a:lnTo>
                  <a:lnTo>
                    <a:pt x="639" y="112"/>
                  </a:lnTo>
                  <a:lnTo>
                    <a:pt x="639" y="116"/>
                  </a:lnTo>
                  <a:lnTo>
                    <a:pt x="639" y="120"/>
                  </a:lnTo>
                  <a:lnTo>
                    <a:pt x="635" y="124"/>
                  </a:lnTo>
                  <a:lnTo>
                    <a:pt x="635" y="128"/>
                  </a:lnTo>
                  <a:lnTo>
                    <a:pt x="631" y="128"/>
                  </a:lnTo>
                  <a:lnTo>
                    <a:pt x="627" y="128"/>
                  </a:lnTo>
                  <a:lnTo>
                    <a:pt x="623" y="132"/>
                  </a:lnTo>
                  <a:lnTo>
                    <a:pt x="619" y="132"/>
                  </a:lnTo>
                  <a:lnTo>
                    <a:pt x="619" y="136"/>
                  </a:lnTo>
                  <a:lnTo>
                    <a:pt x="619" y="140"/>
                  </a:lnTo>
                  <a:lnTo>
                    <a:pt x="623" y="144"/>
                  </a:lnTo>
                  <a:lnTo>
                    <a:pt x="619" y="148"/>
                  </a:lnTo>
                  <a:lnTo>
                    <a:pt x="619" y="152"/>
                  </a:lnTo>
                  <a:lnTo>
                    <a:pt x="619" y="156"/>
                  </a:lnTo>
                  <a:lnTo>
                    <a:pt x="619" y="160"/>
                  </a:lnTo>
                  <a:lnTo>
                    <a:pt x="619" y="164"/>
                  </a:lnTo>
                  <a:lnTo>
                    <a:pt x="619" y="168"/>
                  </a:lnTo>
                  <a:lnTo>
                    <a:pt x="619" y="171"/>
                  </a:lnTo>
                  <a:lnTo>
                    <a:pt x="619" y="175"/>
                  </a:lnTo>
                  <a:lnTo>
                    <a:pt x="623" y="179"/>
                  </a:lnTo>
                  <a:lnTo>
                    <a:pt x="623" y="183"/>
                  </a:lnTo>
                  <a:lnTo>
                    <a:pt x="619" y="183"/>
                  </a:lnTo>
                  <a:lnTo>
                    <a:pt x="615" y="183"/>
                  </a:lnTo>
                  <a:lnTo>
                    <a:pt x="615" y="187"/>
                  </a:lnTo>
                  <a:lnTo>
                    <a:pt x="611" y="191"/>
                  </a:lnTo>
                  <a:lnTo>
                    <a:pt x="611" y="195"/>
                  </a:lnTo>
                  <a:lnTo>
                    <a:pt x="611" y="199"/>
                  </a:lnTo>
                  <a:lnTo>
                    <a:pt x="607" y="199"/>
                  </a:lnTo>
                  <a:lnTo>
                    <a:pt x="607" y="203"/>
                  </a:lnTo>
                  <a:lnTo>
                    <a:pt x="603" y="207"/>
                  </a:lnTo>
                  <a:lnTo>
                    <a:pt x="603" y="211"/>
                  </a:lnTo>
                  <a:lnTo>
                    <a:pt x="599" y="211"/>
                  </a:lnTo>
                  <a:lnTo>
                    <a:pt x="599" y="215"/>
                  </a:lnTo>
                  <a:lnTo>
                    <a:pt x="599" y="219"/>
                  </a:lnTo>
                  <a:lnTo>
                    <a:pt x="599" y="223"/>
                  </a:lnTo>
                  <a:lnTo>
                    <a:pt x="595" y="227"/>
                  </a:lnTo>
                  <a:lnTo>
                    <a:pt x="595" y="231"/>
                  </a:lnTo>
                  <a:lnTo>
                    <a:pt x="599" y="231"/>
                  </a:lnTo>
                  <a:lnTo>
                    <a:pt x="595" y="231"/>
                  </a:lnTo>
                  <a:lnTo>
                    <a:pt x="599" y="235"/>
                  </a:lnTo>
                  <a:lnTo>
                    <a:pt x="599" y="239"/>
                  </a:lnTo>
                  <a:lnTo>
                    <a:pt x="599" y="243"/>
                  </a:lnTo>
                  <a:lnTo>
                    <a:pt x="599" y="247"/>
                  </a:lnTo>
                  <a:lnTo>
                    <a:pt x="595" y="247"/>
                  </a:lnTo>
                  <a:lnTo>
                    <a:pt x="595" y="251"/>
                  </a:lnTo>
                  <a:lnTo>
                    <a:pt x="591" y="251"/>
                  </a:lnTo>
                  <a:lnTo>
                    <a:pt x="591" y="255"/>
                  </a:lnTo>
                  <a:lnTo>
                    <a:pt x="591" y="259"/>
                  </a:lnTo>
                  <a:lnTo>
                    <a:pt x="591" y="263"/>
                  </a:lnTo>
                  <a:lnTo>
                    <a:pt x="587" y="263"/>
                  </a:lnTo>
                  <a:lnTo>
                    <a:pt x="587" y="267"/>
                  </a:lnTo>
                  <a:lnTo>
                    <a:pt x="587" y="271"/>
                  </a:lnTo>
                  <a:lnTo>
                    <a:pt x="591" y="275"/>
                  </a:lnTo>
                  <a:lnTo>
                    <a:pt x="591" y="279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5" y="287"/>
                  </a:lnTo>
                  <a:lnTo>
                    <a:pt x="595" y="291"/>
                  </a:lnTo>
                  <a:lnTo>
                    <a:pt x="595" y="295"/>
                  </a:lnTo>
                  <a:lnTo>
                    <a:pt x="595" y="299"/>
                  </a:lnTo>
                  <a:lnTo>
                    <a:pt x="595" y="303"/>
                  </a:lnTo>
                  <a:lnTo>
                    <a:pt x="599" y="303"/>
                  </a:lnTo>
                  <a:lnTo>
                    <a:pt x="599" y="307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9" y="319"/>
                  </a:lnTo>
                  <a:lnTo>
                    <a:pt x="599" y="323"/>
                  </a:lnTo>
                  <a:lnTo>
                    <a:pt x="595" y="323"/>
                  </a:lnTo>
                  <a:lnTo>
                    <a:pt x="595" y="327"/>
                  </a:lnTo>
                  <a:lnTo>
                    <a:pt x="595" y="331"/>
                  </a:lnTo>
                  <a:lnTo>
                    <a:pt x="591" y="331"/>
                  </a:lnTo>
                  <a:lnTo>
                    <a:pt x="591" y="335"/>
                  </a:lnTo>
                  <a:lnTo>
                    <a:pt x="591" y="339"/>
                  </a:lnTo>
                  <a:lnTo>
                    <a:pt x="591" y="343"/>
                  </a:lnTo>
                  <a:lnTo>
                    <a:pt x="587" y="343"/>
                  </a:lnTo>
                  <a:lnTo>
                    <a:pt x="587" y="347"/>
                  </a:lnTo>
                  <a:lnTo>
                    <a:pt x="591" y="347"/>
                  </a:lnTo>
                  <a:lnTo>
                    <a:pt x="591" y="351"/>
                  </a:lnTo>
                  <a:lnTo>
                    <a:pt x="591" y="355"/>
                  </a:lnTo>
                  <a:lnTo>
                    <a:pt x="591" y="359"/>
                  </a:lnTo>
                  <a:lnTo>
                    <a:pt x="591" y="363"/>
                  </a:lnTo>
                  <a:lnTo>
                    <a:pt x="587" y="363"/>
                  </a:lnTo>
                  <a:lnTo>
                    <a:pt x="587" y="367"/>
                  </a:lnTo>
                  <a:lnTo>
                    <a:pt x="583" y="371"/>
                  </a:lnTo>
                  <a:lnTo>
                    <a:pt x="583" y="367"/>
                  </a:lnTo>
                  <a:lnTo>
                    <a:pt x="579" y="371"/>
                  </a:lnTo>
                  <a:lnTo>
                    <a:pt x="579" y="375"/>
                  </a:lnTo>
                  <a:lnTo>
                    <a:pt x="579" y="379"/>
                  </a:lnTo>
                  <a:lnTo>
                    <a:pt x="579" y="383"/>
                  </a:lnTo>
                  <a:lnTo>
                    <a:pt x="579" y="387"/>
                  </a:lnTo>
                  <a:lnTo>
                    <a:pt x="579" y="391"/>
                  </a:lnTo>
                  <a:lnTo>
                    <a:pt x="579" y="395"/>
                  </a:lnTo>
                  <a:lnTo>
                    <a:pt x="579" y="399"/>
                  </a:lnTo>
                  <a:lnTo>
                    <a:pt x="583" y="403"/>
                  </a:lnTo>
                  <a:lnTo>
                    <a:pt x="583" y="407"/>
                  </a:lnTo>
                  <a:lnTo>
                    <a:pt x="583" y="411"/>
                  </a:lnTo>
                  <a:lnTo>
                    <a:pt x="583" y="415"/>
                  </a:lnTo>
                  <a:lnTo>
                    <a:pt x="579" y="415"/>
                  </a:lnTo>
                  <a:lnTo>
                    <a:pt x="579" y="419"/>
                  </a:lnTo>
                  <a:lnTo>
                    <a:pt x="575" y="419"/>
                  </a:lnTo>
                  <a:lnTo>
                    <a:pt x="575" y="423"/>
                  </a:lnTo>
                  <a:lnTo>
                    <a:pt x="575" y="427"/>
                  </a:lnTo>
                  <a:lnTo>
                    <a:pt x="575" y="431"/>
                  </a:lnTo>
                  <a:lnTo>
                    <a:pt x="575" y="435"/>
                  </a:lnTo>
                  <a:lnTo>
                    <a:pt x="571" y="435"/>
                  </a:lnTo>
                  <a:lnTo>
                    <a:pt x="571" y="431"/>
                  </a:lnTo>
                  <a:lnTo>
                    <a:pt x="571" y="435"/>
                  </a:lnTo>
                  <a:lnTo>
                    <a:pt x="571" y="439"/>
                  </a:lnTo>
                  <a:lnTo>
                    <a:pt x="571" y="443"/>
                  </a:lnTo>
                  <a:lnTo>
                    <a:pt x="567" y="447"/>
                  </a:lnTo>
                  <a:lnTo>
                    <a:pt x="571" y="447"/>
                  </a:lnTo>
                  <a:lnTo>
                    <a:pt x="571" y="451"/>
                  </a:lnTo>
                  <a:lnTo>
                    <a:pt x="567" y="451"/>
                  </a:lnTo>
                  <a:lnTo>
                    <a:pt x="567" y="455"/>
                  </a:lnTo>
                  <a:lnTo>
                    <a:pt x="567" y="459"/>
                  </a:lnTo>
                  <a:lnTo>
                    <a:pt x="567" y="463"/>
                  </a:lnTo>
                  <a:lnTo>
                    <a:pt x="567" y="467"/>
                  </a:lnTo>
                  <a:lnTo>
                    <a:pt x="567" y="471"/>
                  </a:lnTo>
                  <a:lnTo>
                    <a:pt x="567" y="475"/>
                  </a:lnTo>
                  <a:lnTo>
                    <a:pt x="567" y="479"/>
                  </a:lnTo>
                  <a:lnTo>
                    <a:pt x="571" y="479"/>
                  </a:lnTo>
                  <a:lnTo>
                    <a:pt x="571" y="483"/>
                  </a:lnTo>
                  <a:lnTo>
                    <a:pt x="571" y="487"/>
                  </a:lnTo>
                  <a:lnTo>
                    <a:pt x="567" y="487"/>
                  </a:lnTo>
                  <a:lnTo>
                    <a:pt x="563" y="491"/>
                  </a:lnTo>
                  <a:lnTo>
                    <a:pt x="567" y="491"/>
                  </a:lnTo>
                  <a:lnTo>
                    <a:pt x="563" y="495"/>
                  </a:lnTo>
                  <a:lnTo>
                    <a:pt x="563" y="499"/>
                  </a:lnTo>
                  <a:lnTo>
                    <a:pt x="563" y="503"/>
                  </a:lnTo>
                  <a:lnTo>
                    <a:pt x="563" y="507"/>
                  </a:lnTo>
                  <a:lnTo>
                    <a:pt x="567" y="507"/>
                  </a:lnTo>
                  <a:lnTo>
                    <a:pt x="571" y="507"/>
                  </a:lnTo>
                  <a:lnTo>
                    <a:pt x="571" y="511"/>
                  </a:lnTo>
                  <a:lnTo>
                    <a:pt x="567" y="511"/>
                  </a:lnTo>
                  <a:lnTo>
                    <a:pt x="567" y="515"/>
                  </a:lnTo>
                  <a:lnTo>
                    <a:pt x="571" y="515"/>
                  </a:lnTo>
                  <a:lnTo>
                    <a:pt x="571" y="519"/>
                  </a:lnTo>
                  <a:lnTo>
                    <a:pt x="571" y="523"/>
                  </a:lnTo>
                  <a:lnTo>
                    <a:pt x="571" y="527"/>
                  </a:lnTo>
                  <a:lnTo>
                    <a:pt x="567" y="527"/>
                  </a:lnTo>
                  <a:lnTo>
                    <a:pt x="571" y="531"/>
                  </a:lnTo>
                  <a:lnTo>
                    <a:pt x="567" y="531"/>
                  </a:lnTo>
                  <a:lnTo>
                    <a:pt x="567" y="535"/>
                  </a:lnTo>
                  <a:lnTo>
                    <a:pt x="571" y="535"/>
                  </a:lnTo>
                  <a:lnTo>
                    <a:pt x="575" y="535"/>
                  </a:lnTo>
                  <a:lnTo>
                    <a:pt x="579" y="535"/>
                  </a:lnTo>
                  <a:lnTo>
                    <a:pt x="579" y="539"/>
                  </a:lnTo>
                  <a:lnTo>
                    <a:pt x="579" y="543"/>
                  </a:lnTo>
                  <a:lnTo>
                    <a:pt x="575" y="543"/>
                  </a:lnTo>
                  <a:lnTo>
                    <a:pt x="571" y="543"/>
                  </a:lnTo>
                  <a:lnTo>
                    <a:pt x="567" y="543"/>
                  </a:lnTo>
                  <a:lnTo>
                    <a:pt x="563" y="543"/>
                  </a:lnTo>
                  <a:lnTo>
                    <a:pt x="567" y="543"/>
                  </a:lnTo>
                  <a:lnTo>
                    <a:pt x="567" y="547"/>
                  </a:lnTo>
                  <a:lnTo>
                    <a:pt x="571" y="547"/>
                  </a:lnTo>
                  <a:lnTo>
                    <a:pt x="575" y="547"/>
                  </a:lnTo>
                  <a:lnTo>
                    <a:pt x="575" y="551"/>
                  </a:lnTo>
                  <a:lnTo>
                    <a:pt x="575" y="555"/>
                  </a:lnTo>
                  <a:lnTo>
                    <a:pt x="571" y="559"/>
                  </a:lnTo>
                  <a:lnTo>
                    <a:pt x="571" y="563"/>
                  </a:lnTo>
                  <a:lnTo>
                    <a:pt x="571" y="567"/>
                  </a:lnTo>
                  <a:lnTo>
                    <a:pt x="571" y="571"/>
                  </a:lnTo>
                  <a:lnTo>
                    <a:pt x="567" y="571"/>
                  </a:lnTo>
                  <a:lnTo>
                    <a:pt x="571" y="571"/>
                  </a:lnTo>
                  <a:lnTo>
                    <a:pt x="571" y="575"/>
                  </a:lnTo>
                  <a:lnTo>
                    <a:pt x="571" y="579"/>
                  </a:lnTo>
                  <a:lnTo>
                    <a:pt x="571" y="583"/>
                  </a:lnTo>
                  <a:lnTo>
                    <a:pt x="567" y="587"/>
                  </a:lnTo>
                  <a:lnTo>
                    <a:pt x="567" y="591"/>
                  </a:lnTo>
                  <a:lnTo>
                    <a:pt x="567" y="595"/>
                  </a:lnTo>
                  <a:lnTo>
                    <a:pt x="563" y="599"/>
                  </a:lnTo>
                  <a:lnTo>
                    <a:pt x="559" y="599"/>
                  </a:lnTo>
                  <a:lnTo>
                    <a:pt x="563" y="603"/>
                  </a:lnTo>
                  <a:lnTo>
                    <a:pt x="559" y="603"/>
                  </a:lnTo>
                  <a:lnTo>
                    <a:pt x="559" y="606"/>
                  </a:lnTo>
                  <a:lnTo>
                    <a:pt x="559" y="610"/>
                  </a:lnTo>
                  <a:lnTo>
                    <a:pt x="563" y="614"/>
                  </a:lnTo>
                  <a:lnTo>
                    <a:pt x="563" y="618"/>
                  </a:lnTo>
                  <a:lnTo>
                    <a:pt x="559" y="618"/>
                  </a:lnTo>
                  <a:lnTo>
                    <a:pt x="559" y="622"/>
                  </a:lnTo>
                  <a:lnTo>
                    <a:pt x="555" y="622"/>
                  </a:lnTo>
                  <a:lnTo>
                    <a:pt x="559" y="622"/>
                  </a:lnTo>
                  <a:lnTo>
                    <a:pt x="559" y="626"/>
                  </a:lnTo>
                  <a:lnTo>
                    <a:pt x="559" y="630"/>
                  </a:lnTo>
                  <a:lnTo>
                    <a:pt x="555" y="630"/>
                  </a:lnTo>
                  <a:lnTo>
                    <a:pt x="551" y="630"/>
                  </a:lnTo>
                  <a:lnTo>
                    <a:pt x="551" y="634"/>
                  </a:lnTo>
                  <a:lnTo>
                    <a:pt x="547" y="638"/>
                  </a:lnTo>
                  <a:lnTo>
                    <a:pt x="551" y="638"/>
                  </a:lnTo>
                  <a:lnTo>
                    <a:pt x="547" y="638"/>
                  </a:lnTo>
                  <a:lnTo>
                    <a:pt x="543" y="638"/>
                  </a:lnTo>
                  <a:lnTo>
                    <a:pt x="543" y="642"/>
                  </a:lnTo>
                  <a:lnTo>
                    <a:pt x="543" y="646"/>
                  </a:lnTo>
                  <a:lnTo>
                    <a:pt x="543" y="650"/>
                  </a:lnTo>
                  <a:lnTo>
                    <a:pt x="543" y="654"/>
                  </a:lnTo>
                  <a:lnTo>
                    <a:pt x="543" y="658"/>
                  </a:lnTo>
                  <a:lnTo>
                    <a:pt x="547" y="662"/>
                  </a:lnTo>
                  <a:lnTo>
                    <a:pt x="547" y="666"/>
                  </a:lnTo>
                  <a:lnTo>
                    <a:pt x="547" y="670"/>
                  </a:lnTo>
                  <a:lnTo>
                    <a:pt x="547" y="674"/>
                  </a:lnTo>
                  <a:lnTo>
                    <a:pt x="551" y="674"/>
                  </a:lnTo>
                  <a:lnTo>
                    <a:pt x="551" y="670"/>
                  </a:lnTo>
                  <a:lnTo>
                    <a:pt x="555" y="670"/>
                  </a:lnTo>
                  <a:lnTo>
                    <a:pt x="559" y="670"/>
                  </a:lnTo>
                  <a:lnTo>
                    <a:pt x="563" y="670"/>
                  </a:lnTo>
                  <a:lnTo>
                    <a:pt x="559" y="670"/>
                  </a:lnTo>
                  <a:lnTo>
                    <a:pt x="563" y="674"/>
                  </a:lnTo>
                  <a:lnTo>
                    <a:pt x="563" y="678"/>
                  </a:lnTo>
                  <a:lnTo>
                    <a:pt x="559" y="678"/>
                  </a:lnTo>
                  <a:lnTo>
                    <a:pt x="559" y="682"/>
                  </a:lnTo>
                  <a:lnTo>
                    <a:pt x="563" y="682"/>
                  </a:lnTo>
                  <a:lnTo>
                    <a:pt x="563" y="686"/>
                  </a:lnTo>
                  <a:lnTo>
                    <a:pt x="559" y="690"/>
                  </a:lnTo>
                  <a:lnTo>
                    <a:pt x="563" y="694"/>
                  </a:lnTo>
                  <a:lnTo>
                    <a:pt x="567" y="698"/>
                  </a:lnTo>
                  <a:lnTo>
                    <a:pt x="571" y="702"/>
                  </a:lnTo>
                  <a:lnTo>
                    <a:pt x="579" y="702"/>
                  </a:lnTo>
                  <a:lnTo>
                    <a:pt x="587" y="702"/>
                  </a:lnTo>
                  <a:lnTo>
                    <a:pt x="591" y="702"/>
                  </a:lnTo>
                  <a:lnTo>
                    <a:pt x="595" y="702"/>
                  </a:lnTo>
                  <a:lnTo>
                    <a:pt x="599" y="702"/>
                  </a:lnTo>
                  <a:lnTo>
                    <a:pt x="603" y="702"/>
                  </a:lnTo>
                  <a:lnTo>
                    <a:pt x="607" y="702"/>
                  </a:lnTo>
                  <a:lnTo>
                    <a:pt x="611" y="706"/>
                  </a:lnTo>
                  <a:lnTo>
                    <a:pt x="615" y="706"/>
                  </a:lnTo>
                  <a:lnTo>
                    <a:pt x="619" y="706"/>
                  </a:lnTo>
                  <a:lnTo>
                    <a:pt x="619" y="710"/>
                  </a:lnTo>
                  <a:lnTo>
                    <a:pt x="619" y="706"/>
                  </a:lnTo>
                  <a:lnTo>
                    <a:pt x="615" y="706"/>
                  </a:lnTo>
                  <a:lnTo>
                    <a:pt x="611" y="706"/>
                  </a:lnTo>
                  <a:lnTo>
                    <a:pt x="607" y="706"/>
                  </a:lnTo>
                  <a:lnTo>
                    <a:pt x="603" y="706"/>
                  </a:lnTo>
                  <a:lnTo>
                    <a:pt x="603" y="710"/>
                  </a:lnTo>
                  <a:lnTo>
                    <a:pt x="603" y="714"/>
                  </a:lnTo>
                  <a:lnTo>
                    <a:pt x="599" y="710"/>
                  </a:lnTo>
                  <a:lnTo>
                    <a:pt x="595" y="714"/>
                  </a:lnTo>
                  <a:lnTo>
                    <a:pt x="587" y="718"/>
                  </a:lnTo>
                  <a:lnTo>
                    <a:pt x="583" y="718"/>
                  </a:lnTo>
                  <a:lnTo>
                    <a:pt x="583" y="722"/>
                  </a:lnTo>
                  <a:lnTo>
                    <a:pt x="583" y="726"/>
                  </a:lnTo>
                  <a:lnTo>
                    <a:pt x="583" y="730"/>
                  </a:lnTo>
                  <a:lnTo>
                    <a:pt x="583" y="734"/>
                  </a:lnTo>
                  <a:lnTo>
                    <a:pt x="583" y="738"/>
                  </a:lnTo>
                  <a:lnTo>
                    <a:pt x="583" y="742"/>
                  </a:lnTo>
                  <a:lnTo>
                    <a:pt x="579" y="742"/>
                  </a:lnTo>
                  <a:lnTo>
                    <a:pt x="575" y="742"/>
                  </a:lnTo>
                  <a:lnTo>
                    <a:pt x="571" y="742"/>
                  </a:lnTo>
                  <a:lnTo>
                    <a:pt x="567" y="738"/>
                  </a:lnTo>
                  <a:lnTo>
                    <a:pt x="563" y="738"/>
                  </a:lnTo>
                  <a:lnTo>
                    <a:pt x="559" y="734"/>
                  </a:lnTo>
                  <a:lnTo>
                    <a:pt x="559" y="730"/>
                  </a:lnTo>
                  <a:lnTo>
                    <a:pt x="563" y="730"/>
                  </a:lnTo>
                  <a:lnTo>
                    <a:pt x="563" y="734"/>
                  </a:lnTo>
                  <a:lnTo>
                    <a:pt x="567" y="734"/>
                  </a:lnTo>
                  <a:lnTo>
                    <a:pt x="567" y="730"/>
                  </a:lnTo>
                  <a:lnTo>
                    <a:pt x="567" y="726"/>
                  </a:lnTo>
                  <a:lnTo>
                    <a:pt x="567" y="730"/>
                  </a:lnTo>
                  <a:lnTo>
                    <a:pt x="571" y="734"/>
                  </a:lnTo>
                  <a:lnTo>
                    <a:pt x="567" y="734"/>
                  </a:lnTo>
                  <a:lnTo>
                    <a:pt x="571" y="734"/>
                  </a:lnTo>
                  <a:lnTo>
                    <a:pt x="571" y="730"/>
                  </a:lnTo>
                  <a:lnTo>
                    <a:pt x="571" y="726"/>
                  </a:lnTo>
                  <a:lnTo>
                    <a:pt x="575" y="726"/>
                  </a:lnTo>
                  <a:lnTo>
                    <a:pt x="579" y="722"/>
                  </a:lnTo>
                  <a:lnTo>
                    <a:pt x="579" y="718"/>
                  </a:lnTo>
                  <a:lnTo>
                    <a:pt x="575" y="718"/>
                  </a:lnTo>
                  <a:lnTo>
                    <a:pt x="571" y="722"/>
                  </a:lnTo>
                  <a:lnTo>
                    <a:pt x="567" y="722"/>
                  </a:lnTo>
                  <a:lnTo>
                    <a:pt x="567" y="726"/>
                  </a:lnTo>
                  <a:lnTo>
                    <a:pt x="563" y="726"/>
                  </a:lnTo>
                  <a:lnTo>
                    <a:pt x="563" y="722"/>
                  </a:lnTo>
                  <a:lnTo>
                    <a:pt x="559" y="726"/>
                  </a:lnTo>
                  <a:lnTo>
                    <a:pt x="563" y="726"/>
                  </a:lnTo>
                  <a:lnTo>
                    <a:pt x="559" y="730"/>
                  </a:lnTo>
                  <a:lnTo>
                    <a:pt x="559" y="726"/>
                  </a:lnTo>
                  <a:lnTo>
                    <a:pt x="559" y="730"/>
                  </a:lnTo>
                  <a:lnTo>
                    <a:pt x="555" y="730"/>
                  </a:lnTo>
                  <a:lnTo>
                    <a:pt x="559" y="734"/>
                  </a:lnTo>
                  <a:lnTo>
                    <a:pt x="555" y="734"/>
                  </a:lnTo>
                  <a:lnTo>
                    <a:pt x="551" y="730"/>
                  </a:lnTo>
                  <a:lnTo>
                    <a:pt x="547" y="730"/>
                  </a:lnTo>
                  <a:lnTo>
                    <a:pt x="547" y="726"/>
                  </a:lnTo>
                  <a:lnTo>
                    <a:pt x="551" y="726"/>
                  </a:lnTo>
                  <a:lnTo>
                    <a:pt x="555" y="726"/>
                  </a:lnTo>
                  <a:lnTo>
                    <a:pt x="555" y="730"/>
                  </a:lnTo>
                  <a:lnTo>
                    <a:pt x="555" y="726"/>
                  </a:lnTo>
                  <a:lnTo>
                    <a:pt x="551" y="726"/>
                  </a:lnTo>
                  <a:lnTo>
                    <a:pt x="551" y="722"/>
                  </a:lnTo>
                  <a:lnTo>
                    <a:pt x="551" y="718"/>
                  </a:lnTo>
                  <a:lnTo>
                    <a:pt x="555" y="718"/>
                  </a:lnTo>
                  <a:lnTo>
                    <a:pt x="559" y="718"/>
                  </a:lnTo>
                  <a:lnTo>
                    <a:pt x="563" y="718"/>
                  </a:lnTo>
                  <a:lnTo>
                    <a:pt x="563" y="714"/>
                  </a:lnTo>
                  <a:lnTo>
                    <a:pt x="567" y="714"/>
                  </a:lnTo>
                  <a:lnTo>
                    <a:pt x="571" y="714"/>
                  </a:lnTo>
                  <a:lnTo>
                    <a:pt x="575" y="714"/>
                  </a:lnTo>
                  <a:lnTo>
                    <a:pt x="571" y="714"/>
                  </a:lnTo>
                  <a:lnTo>
                    <a:pt x="567" y="714"/>
                  </a:lnTo>
                  <a:lnTo>
                    <a:pt x="563" y="710"/>
                  </a:lnTo>
                  <a:lnTo>
                    <a:pt x="559" y="714"/>
                  </a:lnTo>
                  <a:lnTo>
                    <a:pt x="559" y="710"/>
                  </a:lnTo>
                  <a:lnTo>
                    <a:pt x="559" y="714"/>
                  </a:lnTo>
                  <a:lnTo>
                    <a:pt x="555" y="714"/>
                  </a:lnTo>
                  <a:lnTo>
                    <a:pt x="551" y="714"/>
                  </a:lnTo>
                  <a:lnTo>
                    <a:pt x="555" y="714"/>
                  </a:lnTo>
                  <a:lnTo>
                    <a:pt x="555" y="718"/>
                  </a:lnTo>
                  <a:lnTo>
                    <a:pt x="551" y="718"/>
                  </a:lnTo>
                  <a:lnTo>
                    <a:pt x="551" y="722"/>
                  </a:lnTo>
                  <a:lnTo>
                    <a:pt x="551" y="726"/>
                  </a:lnTo>
                  <a:lnTo>
                    <a:pt x="547" y="726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18"/>
                  </a:lnTo>
                  <a:lnTo>
                    <a:pt x="547" y="718"/>
                  </a:lnTo>
                  <a:lnTo>
                    <a:pt x="551" y="710"/>
                  </a:lnTo>
                  <a:lnTo>
                    <a:pt x="547" y="710"/>
                  </a:lnTo>
                  <a:lnTo>
                    <a:pt x="547" y="714"/>
                  </a:lnTo>
                  <a:lnTo>
                    <a:pt x="543" y="714"/>
                  </a:lnTo>
                  <a:lnTo>
                    <a:pt x="543" y="718"/>
                  </a:lnTo>
                  <a:lnTo>
                    <a:pt x="539" y="718"/>
                  </a:lnTo>
                  <a:lnTo>
                    <a:pt x="539" y="714"/>
                  </a:lnTo>
                  <a:lnTo>
                    <a:pt x="543" y="714"/>
                  </a:lnTo>
                  <a:lnTo>
                    <a:pt x="543" y="710"/>
                  </a:lnTo>
                  <a:lnTo>
                    <a:pt x="539" y="710"/>
                  </a:lnTo>
                  <a:lnTo>
                    <a:pt x="543" y="710"/>
                  </a:lnTo>
                  <a:lnTo>
                    <a:pt x="543" y="706"/>
                  </a:lnTo>
                  <a:lnTo>
                    <a:pt x="543" y="702"/>
                  </a:lnTo>
                  <a:lnTo>
                    <a:pt x="539" y="702"/>
                  </a:lnTo>
                  <a:lnTo>
                    <a:pt x="543" y="706"/>
                  </a:lnTo>
                  <a:lnTo>
                    <a:pt x="547" y="706"/>
                  </a:lnTo>
                  <a:lnTo>
                    <a:pt x="547" y="702"/>
                  </a:lnTo>
                  <a:lnTo>
                    <a:pt x="551" y="702"/>
                  </a:lnTo>
                  <a:lnTo>
                    <a:pt x="551" y="706"/>
                  </a:lnTo>
                  <a:lnTo>
                    <a:pt x="555" y="706"/>
                  </a:lnTo>
                  <a:lnTo>
                    <a:pt x="555" y="702"/>
                  </a:lnTo>
                  <a:lnTo>
                    <a:pt x="551" y="706"/>
                  </a:lnTo>
                  <a:lnTo>
                    <a:pt x="551" y="702"/>
                  </a:lnTo>
                  <a:lnTo>
                    <a:pt x="555" y="698"/>
                  </a:lnTo>
                  <a:lnTo>
                    <a:pt x="555" y="702"/>
                  </a:lnTo>
                  <a:lnTo>
                    <a:pt x="559" y="702"/>
                  </a:lnTo>
                  <a:lnTo>
                    <a:pt x="559" y="706"/>
                  </a:lnTo>
                  <a:lnTo>
                    <a:pt x="555" y="706"/>
                  </a:lnTo>
                  <a:lnTo>
                    <a:pt x="555" y="710"/>
                  </a:lnTo>
                  <a:lnTo>
                    <a:pt x="551" y="710"/>
                  </a:lnTo>
                  <a:lnTo>
                    <a:pt x="555" y="710"/>
                  </a:lnTo>
                  <a:lnTo>
                    <a:pt x="559" y="710"/>
                  </a:lnTo>
                  <a:lnTo>
                    <a:pt x="559" y="706"/>
                  </a:lnTo>
                  <a:lnTo>
                    <a:pt x="559" y="702"/>
                  </a:lnTo>
                  <a:lnTo>
                    <a:pt x="555" y="702"/>
                  </a:lnTo>
                  <a:lnTo>
                    <a:pt x="555" y="698"/>
                  </a:lnTo>
                  <a:lnTo>
                    <a:pt x="559" y="698"/>
                  </a:lnTo>
                  <a:lnTo>
                    <a:pt x="559" y="694"/>
                  </a:lnTo>
                  <a:lnTo>
                    <a:pt x="555" y="690"/>
                  </a:lnTo>
                  <a:lnTo>
                    <a:pt x="551" y="690"/>
                  </a:lnTo>
                  <a:lnTo>
                    <a:pt x="551" y="686"/>
                  </a:lnTo>
                  <a:lnTo>
                    <a:pt x="547" y="686"/>
                  </a:lnTo>
                  <a:lnTo>
                    <a:pt x="547" y="690"/>
                  </a:lnTo>
                  <a:lnTo>
                    <a:pt x="551" y="690"/>
                  </a:lnTo>
                  <a:lnTo>
                    <a:pt x="555" y="690"/>
                  </a:lnTo>
                  <a:lnTo>
                    <a:pt x="555" y="694"/>
                  </a:lnTo>
                  <a:lnTo>
                    <a:pt x="559" y="694"/>
                  </a:lnTo>
                  <a:lnTo>
                    <a:pt x="555" y="698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7" y="690"/>
                  </a:lnTo>
                  <a:lnTo>
                    <a:pt x="547" y="694"/>
                  </a:lnTo>
                  <a:lnTo>
                    <a:pt x="551" y="694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47" y="702"/>
                  </a:lnTo>
                  <a:lnTo>
                    <a:pt x="547" y="698"/>
                  </a:lnTo>
                  <a:lnTo>
                    <a:pt x="547" y="694"/>
                  </a:lnTo>
                  <a:lnTo>
                    <a:pt x="547" y="702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43" y="698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39" y="694"/>
                  </a:lnTo>
                  <a:lnTo>
                    <a:pt x="539" y="690"/>
                  </a:lnTo>
                  <a:lnTo>
                    <a:pt x="535" y="686"/>
                  </a:lnTo>
                  <a:lnTo>
                    <a:pt x="539" y="686"/>
                  </a:lnTo>
                  <a:lnTo>
                    <a:pt x="539" y="690"/>
                  </a:lnTo>
                  <a:lnTo>
                    <a:pt x="543" y="690"/>
                  </a:lnTo>
                  <a:lnTo>
                    <a:pt x="539" y="686"/>
                  </a:lnTo>
                  <a:lnTo>
                    <a:pt x="539" y="682"/>
                  </a:lnTo>
                  <a:lnTo>
                    <a:pt x="535" y="682"/>
                  </a:lnTo>
                  <a:lnTo>
                    <a:pt x="535" y="678"/>
                  </a:lnTo>
                  <a:lnTo>
                    <a:pt x="531" y="678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9" y="674"/>
                  </a:lnTo>
                  <a:lnTo>
                    <a:pt x="539" y="670"/>
                  </a:lnTo>
                  <a:lnTo>
                    <a:pt x="543" y="670"/>
                  </a:lnTo>
                  <a:lnTo>
                    <a:pt x="539" y="670"/>
                  </a:lnTo>
                  <a:lnTo>
                    <a:pt x="539" y="666"/>
                  </a:lnTo>
                  <a:lnTo>
                    <a:pt x="543" y="666"/>
                  </a:lnTo>
                  <a:lnTo>
                    <a:pt x="539" y="666"/>
                  </a:lnTo>
                  <a:lnTo>
                    <a:pt x="539" y="670"/>
                  </a:lnTo>
                  <a:lnTo>
                    <a:pt x="539" y="674"/>
                  </a:lnTo>
                  <a:lnTo>
                    <a:pt x="535" y="674"/>
                  </a:lnTo>
                  <a:lnTo>
                    <a:pt x="535" y="670"/>
                  </a:lnTo>
                  <a:lnTo>
                    <a:pt x="531" y="670"/>
                  </a:lnTo>
                  <a:lnTo>
                    <a:pt x="531" y="666"/>
                  </a:lnTo>
                  <a:lnTo>
                    <a:pt x="535" y="666"/>
                  </a:lnTo>
                  <a:lnTo>
                    <a:pt x="539" y="666"/>
                  </a:lnTo>
                  <a:lnTo>
                    <a:pt x="535" y="666"/>
                  </a:lnTo>
                  <a:lnTo>
                    <a:pt x="531" y="666"/>
                  </a:lnTo>
                  <a:lnTo>
                    <a:pt x="527" y="662"/>
                  </a:lnTo>
                  <a:lnTo>
                    <a:pt x="527" y="658"/>
                  </a:lnTo>
                  <a:lnTo>
                    <a:pt x="531" y="658"/>
                  </a:lnTo>
                  <a:lnTo>
                    <a:pt x="535" y="662"/>
                  </a:lnTo>
                  <a:lnTo>
                    <a:pt x="539" y="662"/>
                  </a:lnTo>
                  <a:lnTo>
                    <a:pt x="535" y="658"/>
                  </a:lnTo>
                  <a:lnTo>
                    <a:pt x="531" y="658"/>
                  </a:lnTo>
                  <a:lnTo>
                    <a:pt x="531" y="654"/>
                  </a:lnTo>
                  <a:lnTo>
                    <a:pt x="535" y="654"/>
                  </a:lnTo>
                  <a:lnTo>
                    <a:pt x="539" y="658"/>
                  </a:lnTo>
                  <a:lnTo>
                    <a:pt x="539" y="654"/>
                  </a:lnTo>
                  <a:lnTo>
                    <a:pt x="535" y="654"/>
                  </a:lnTo>
                  <a:lnTo>
                    <a:pt x="531" y="654"/>
                  </a:lnTo>
                  <a:lnTo>
                    <a:pt x="531" y="650"/>
                  </a:lnTo>
                  <a:lnTo>
                    <a:pt x="535" y="650"/>
                  </a:lnTo>
                  <a:lnTo>
                    <a:pt x="531" y="650"/>
                  </a:lnTo>
                  <a:lnTo>
                    <a:pt x="531" y="646"/>
                  </a:lnTo>
                  <a:lnTo>
                    <a:pt x="535" y="646"/>
                  </a:lnTo>
                  <a:lnTo>
                    <a:pt x="539" y="646"/>
                  </a:lnTo>
                  <a:lnTo>
                    <a:pt x="539" y="650"/>
                  </a:lnTo>
                  <a:lnTo>
                    <a:pt x="539" y="646"/>
                  </a:lnTo>
                  <a:lnTo>
                    <a:pt x="535" y="646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9" y="642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34"/>
                  </a:lnTo>
                  <a:lnTo>
                    <a:pt x="539" y="634"/>
                  </a:lnTo>
                  <a:lnTo>
                    <a:pt x="535" y="634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1" y="646"/>
                  </a:lnTo>
                  <a:lnTo>
                    <a:pt x="531" y="642"/>
                  </a:lnTo>
                  <a:lnTo>
                    <a:pt x="531" y="638"/>
                  </a:lnTo>
                  <a:lnTo>
                    <a:pt x="531" y="634"/>
                  </a:lnTo>
                  <a:lnTo>
                    <a:pt x="531" y="630"/>
                  </a:lnTo>
                  <a:lnTo>
                    <a:pt x="527" y="630"/>
                  </a:lnTo>
                  <a:lnTo>
                    <a:pt x="531" y="630"/>
                  </a:lnTo>
                  <a:lnTo>
                    <a:pt x="531" y="626"/>
                  </a:lnTo>
                  <a:lnTo>
                    <a:pt x="535" y="626"/>
                  </a:lnTo>
                  <a:lnTo>
                    <a:pt x="531" y="626"/>
                  </a:lnTo>
                  <a:lnTo>
                    <a:pt x="531" y="622"/>
                  </a:lnTo>
                  <a:lnTo>
                    <a:pt x="535" y="622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1" y="614"/>
                  </a:lnTo>
                  <a:lnTo>
                    <a:pt x="527" y="614"/>
                  </a:lnTo>
                  <a:lnTo>
                    <a:pt x="527" y="610"/>
                  </a:lnTo>
                  <a:lnTo>
                    <a:pt x="531" y="610"/>
                  </a:lnTo>
                  <a:lnTo>
                    <a:pt x="531" y="614"/>
                  </a:lnTo>
                  <a:lnTo>
                    <a:pt x="531" y="610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43" y="614"/>
                  </a:lnTo>
                  <a:lnTo>
                    <a:pt x="543" y="618"/>
                  </a:lnTo>
                  <a:lnTo>
                    <a:pt x="543" y="614"/>
                  </a:lnTo>
                  <a:lnTo>
                    <a:pt x="547" y="614"/>
                  </a:lnTo>
                  <a:lnTo>
                    <a:pt x="543" y="614"/>
                  </a:lnTo>
                  <a:lnTo>
                    <a:pt x="543" y="610"/>
                  </a:lnTo>
                  <a:lnTo>
                    <a:pt x="539" y="610"/>
                  </a:lnTo>
                  <a:lnTo>
                    <a:pt x="543" y="610"/>
                  </a:lnTo>
                  <a:lnTo>
                    <a:pt x="547" y="610"/>
                  </a:lnTo>
                  <a:lnTo>
                    <a:pt x="543" y="610"/>
                  </a:lnTo>
                  <a:lnTo>
                    <a:pt x="539" y="606"/>
                  </a:lnTo>
                  <a:lnTo>
                    <a:pt x="539" y="603"/>
                  </a:lnTo>
                  <a:lnTo>
                    <a:pt x="539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27" y="606"/>
                  </a:lnTo>
                  <a:lnTo>
                    <a:pt x="523" y="606"/>
                  </a:lnTo>
                  <a:lnTo>
                    <a:pt x="527" y="603"/>
                  </a:lnTo>
                  <a:lnTo>
                    <a:pt x="531" y="603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31" y="603"/>
                  </a:lnTo>
                  <a:lnTo>
                    <a:pt x="535" y="603"/>
                  </a:lnTo>
                  <a:lnTo>
                    <a:pt x="531" y="603"/>
                  </a:lnTo>
                  <a:lnTo>
                    <a:pt x="527" y="599"/>
                  </a:lnTo>
                  <a:lnTo>
                    <a:pt x="531" y="595"/>
                  </a:lnTo>
                  <a:lnTo>
                    <a:pt x="535" y="595"/>
                  </a:lnTo>
                  <a:lnTo>
                    <a:pt x="535" y="599"/>
                  </a:lnTo>
                  <a:lnTo>
                    <a:pt x="535" y="595"/>
                  </a:lnTo>
                  <a:lnTo>
                    <a:pt x="535" y="591"/>
                  </a:lnTo>
                  <a:lnTo>
                    <a:pt x="531" y="587"/>
                  </a:lnTo>
                  <a:lnTo>
                    <a:pt x="531" y="583"/>
                  </a:lnTo>
                  <a:lnTo>
                    <a:pt x="527" y="587"/>
                  </a:lnTo>
                  <a:lnTo>
                    <a:pt x="531" y="587"/>
                  </a:lnTo>
                  <a:lnTo>
                    <a:pt x="527" y="587"/>
                  </a:lnTo>
                  <a:lnTo>
                    <a:pt x="523" y="587"/>
                  </a:lnTo>
                  <a:lnTo>
                    <a:pt x="519" y="583"/>
                  </a:lnTo>
                  <a:lnTo>
                    <a:pt x="519" y="579"/>
                  </a:lnTo>
                  <a:lnTo>
                    <a:pt x="523" y="579"/>
                  </a:lnTo>
                  <a:lnTo>
                    <a:pt x="519" y="579"/>
                  </a:lnTo>
                  <a:lnTo>
                    <a:pt x="519" y="583"/>
                  </a:lnTo>
                  <a:lnTo>
                    <a:pt x="515" y="583"/>
                  </a:lnTo>
                  <a:lnTo>
                    <a:pt x="511" y="583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5" y="583"/>
                  </a:lnTo>
                  <a:lnTo>
                    <a:pt x="515" y="587"/>
                  </a:lnTo>
                  <a:lnTo>
                    <a:pt x="515" y="591"/>
                  </a:lnTo>
                  <a:lnTo>
                    <a:pt x="511" y="591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1" y="579"/>
                  </a:lnTo>
                  <a:lnTo>
                    <a:pt x="515" y="579"/>
                  </a:lnTo>
                  <a:lnTo>
                    <a:pt x="515" y="575"/>
                  </a:lnTo>
                  <a:lnTo>
                    <a:pt x="519" y="575"/>
                  </a:lnTo>
                  <a:lnTo>
                    <a:pt x="519" y="579"/>
                  </a:lnTo>
                  <a:lnTo>
                    <a:pt x="519" y="575"/>
                  </a:lnTo>
                  <a:lnTo>
                    <a:pt x="519" y="571"/>
                  </a:lnTo>
                  <a:lnTo>
                    <a:pt x="523" y="571"/>
                  </a:lnTo>
                  <a:lnTo>
                    <a:pt x="523" y="567"/>
                  </a:lnTo>
                  <a:lnTo>
                    <a:pt x="527" y="563"/>
                  </a:lnTo>
                  <a:lnTo>
                    <a:pt x="531" y="563"/>
                  </a:lnTo>
                  <a:lnTo>
                    <a:pt x="535" y="563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1" y="575"/>
                  </a:lnTo>
                  <a:lnTo>
                    <a:pt x="531" y="571"/>
                  </a:lnTo>
                  <a:lnTo>
                    <a:pt x="527" y="571"/>
                  </a:lnTo>
                  <a:lnTo>
                    <a:pt x="531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5" y="575"/>
                  </a:lnTo>
                  <a:lnTo>
                    <a:pt x="539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9" y="571"/>
                  </a:lnTo>
                  <a:lnTo>
                    <a:pt x="539" y="575"/>
                  </a:lnTo>
                  <a:lnTo>
                    <a:pt x="539" y="579"/>
                  </a:lnTo>
                  <a:lnTo>
                    <a:pt x="535" y="579"/>
                  </a:lnTo>
                  <a:lnTo>
                    <a:pt x="539" y="583"/>
                  </a:lnTo>
                  <a:lnTo>
                    <a:pt x="539" y="579"/>
                  </a:lnTo>
                  <a:lnTo>
                    <a:pt x="539" y="575"/>
                  </a:lnTo>
                  <a:lnTo>
                    <a:pt x="543" y="575"/>
                  </a:lnTo>
                  <a:lnTo>
                    <a:pt x="543" y="571"/>
                  </a:lnTo>
                  <a:lnTo>
                    <a:pt x="543" y="575"/>
                  </a:lnTo>
                  <a:lnTo>
                    <a:pt x="539" y="575"/>
                  </a:lnTo>
                  <a:lnTo>
                    <a:pt x="543" y="571"/>
                  </a:lnTo>
                  <a:lnTo>
                    <a:pt x="543" y="567"/>
                  </a:lnTo>
                  <a:lnTo>
                    <a:pt x="539" y="567"/>
                  </a:lnTo>
                  <a:lnTo>
                    <a:pt x="543" y="563"/>
                  </a:lnTo>
                  <a:lnTo>
                    <a:pt x="547" y="563"/>
                  </a:lnTo>
                  <a:lnTo>
                    <a:pt x="547" y="559"/>
                  </a:lnTo>
                  <a:lnTo>
                    <a:pt x="543" y="559"/>
                  </a:lnTo>
                  <a:lnTo>
                    <a:pt x="543" y="563"/>
                  </a:lnTo>
                  <a:lnTo>
                    <a:pt x="543" y="555"/>
                  </a:lnTo>
                  <a:lnTo>
                    <a:pt x="547" y="555"/>
                  </a:lnTo>
                  <a:lnTo>
                    <a:pt x="551" y="555"/>
                  </a:lnTo>
                  <a:lnTo>
                    <a:pt x="555" y="555"/>
                  </a:lnTo>
                  <a:lnTo>
                    <a:pt x="551" y="555"/>
                  </a:lnTo>
                  <a:lnTo>
                    <a:pt x="547" y="555"/>
                  </a:lnTo>
                  <a:lnTo>
                    <a:pt x="547" y="551"/>
                  </a:lnTo>
                  <a:lnTo>
                    <a:pt x="547" y="555"/>
                  </a:lnTo>
                  <a:lnTo>
                    <a:pt x="543" y="551"/>
                  </a:lnTo>
                  <a:lnTo>
                    <a:pt x="547" y="551"/>
                  </a:lnTo>
                  <a:lnTo>
                    <a:pt x="547" y="547"/>
                  </a:lnTo>
                  <a:lnTo>
                    <a:pt x="543" y="547"/>
                  </a:lnTo>
                  <a:lnTo>
                    <a:pt x="547" y="547"/>
                  </a:lnTo>
                  <a:lnTo>
                    <a:pt x="551" y="543"/>
                  </a:lnTo>
                  <a:lnTo>
                    <a:pt x="555" y="543"/>
                  </a:lnTo>
                  <a:lnTo>
                    <a:pt x="555" y="539"/>
                  </a:lnTo>
                  <a:lnTo>
                    <a:pt x="555" y="535"/>
                  </a:lnTo>
                  <a:lnTo>
                    <a:pt x="551" y="531"/>
                  </a:lnTo>
                  <a:lnTo>
                    <a:pt x="547" y="531"/>
                  </a:lnTo>
                  <a:lnTo>
                    <a:pt x="547" y="527"/>
                  </a:lnTo>
                  <a:lnTo>
                    <a:pt x="551" y="523"/>
                  </a:lnTo>
                  <a:lnTo>
                    <a:pt x="555" y="519"/>
                  </a:lnTo>
                  <a:lnTo>
                    <a:pt x="551" y="519"/>
                  </a:lnTo>
                  <a:close/>
                  <a:moveTo>
                    <a:pt x="539" y="547"/>
                  </a:moveTo>
                  <a:lnTo>
                    <a:pt x="539" y="543"/>
                  </a:lnTo>
                  <a:lnTo>
                    <a:pt x="535" y="543"/>
                  </a:lnTo>
                  <a:lnTo>
                    <a:pt x="539" y="543"/>
                  </a:lnTo>
                  <a:lnTo>
                    <a:pt x="539" y="547"/>
                  </a:lnTo>
                  <a:close/>
                  <a:moveTo>
                    <a:pt x="511" y="630"/>
                  </a:moveTo>
                  <a:lnTo>
                    <a:pt x="511" y="626"/>
                  </a:lnTo>
                  <a:lnTo>
                    <a:pt x="515" y="626"/>
                  </a:lnTo>
                  <a:lnTo>
                    <a:pt x="515" y="630"/>
                  </a:lnTo>
                  <a:lnTo>
                    <a:pt x="511" y="630"/>
                  </a:lnTo>
                  <a:close/>
                  <a:moveTo>
                    <a:pt x="519" y="630"/>
                  </a:moveTo>
                  <a:lnTo>
                    <a:pt x="515" y="630"/>
                  </a:lnTo>
                  <a:lnTo>
                    <a:pt x="515" y="626"/>
                  </a:lnTo>
                  <a:lnTo>
                    <a:pt x="519" y="626"/>
                  </a:lnTo>
                  <a:lnTo>
                    <a:pt x="519" y="630"/>
                  </a:lnTo>
                  <a:close/>
                  <a:moveTo>
                    <a:pt x="535" y="718"/>
                  </a:moveTo>
                  <a:lnTo>
                    <a:pt x="535" y="714"/>
                  </a:lnTo>
                  <a:lnTo>
                    <a:pt x="535" y="710"/>
                  </a:lnTo>
                  <a:lnTo>
                    <a:pt x="539" y="710"/>
                  </a:lnTo>
                  <a:lnTo>
                    <a:pt x="539" y="714"/>
                  </a:lnTo>
                  <a:lnTo>
                    <a:pt x="539" y="718"/>
                  </a:lnTo>
                  <a:lnTo>
                    <a:pt x="535" y="718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9" y="531"/>
                  </a:lnTo>
                  <a:close/>
                  <a:moveTo>
                    <a:pt x="519" y="571"/>
                  </a:moveTo>
                  <a:lnTo>
                    <a:pt x="519" y="567"/>
                  </a:lnTo>
                  <a:lnTo>
                    <a:pt x="523" y="567"/>
                  </a:lnTo>
                  <a:lnTo>
                    <a:pt x="519" y="567"/>
                  </a:lnTo>
                  <a:lnTo>
                    <a:pt x="523" y="567"/>
                  </a:lnTo>
                  <a:lnTo>
                    <a:pt x="523" y="563"/>
                  </a:lnTo>
                  <a:lnTo>
                    <a:pt x="523" y="567"/>
                  </a:lnTo>
                  <a:lnTo>
                    <a:pt x="523" y="571"/>
                  </a:lnTo>
                  <a:lnTo>
                    <a:pt x="519" y="571"/>
                  </a:lnTo>
                  <a:close/>
                  <a:moveTo>
                    <a:pt x="535" y="595"/>
                  </a:moveTo>
                  <a:lnTo>
                    <a:pt x="531" y="595"/>
                  </a:lnTo>
                  <a:lnTo>
                    <a:pt x="531" y="591"/>
                  </a:lnTo>
                  <a:lnTo>
                    <a:pt x="535" y="591"/>
                  </a:lnTo>
                  <a:lnTo>
                    <a:pt x="535" y="595"/>
                  </a:lnTo>
                  <a:close/>
                  <a:moveTo>
                    <a:pt x="531" y="622"/>
                  </a:moveTo>
                  <a:lnTo>
                    <a:pt x="527" y="622"/>
                  </a:lnTo>
                  <a:lnTo>
                    <a:pt x="527" y="618"/>
                  </a:lnTo>
                  <a:lnTo>
                    <a:pt x="531" y="622"/>
                  </a:lnTo>
                  <a:close/>
                  <a:moveTo>
                    <a:pt x="519" y="626"/>
                  </a:moveTo>
                  <a:lnTo>
                    <a:pt x="523" y="626"/>
                  </a:lnTo>
                  <a:lnTo>
                    <a:pt x="519" y="626"/>
                  </a:lnTo>
                  <a:close/>
                  <a:moveTo>
                    <a:pt x="511" y="638"/>
                  </a:moveTo>
                  <a:lnTo>
                    <a:pt x="511" y="634"/>
                  </a:lnTo>
                  <a:lnTo>
                    <a:pt x="515" y="634"/>
                  </a:lnTo>
                  <a:lnTo>
                    <a:pt x="515" y="638"/>
                  </a:lnTo>
                  <a:lnTo>
                    <a:pt x="511" y="638"/>
                  </a:lnTo>
                  <a:close/>
                  <a:moveTo>
                    <a:pt x="535" y="686"/>
                  </a:moveTo>
                  <a:lnTo>
                    <a:pt x="531" y="686"/>
                  </a:lnTo>
                  <a:lnTo>
                    <a:pt x="531" y="682"/>
                  </a:ln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23" y="706"/>
                  </a:moveTo>
                  <a:lnTo>
                    <a:pt x="523" y="702"/>
                  </a:lnTo>
                  <a:lnTo>
                    <a:pt x="527" y="702"/>
                  </a:lnTo>
                  <a:lnTo>
                    <a:pt x="523" y="706"/>
                  </a:lnTo>
                  <a:close/>
                  <a:moveTo>
                    <a:pt x="543" y="730"/>
                  </a:moveTo>
                  <a:lnTo>
                    <a:pt x="543" y="734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39" y="734"/>
                  </a:lnTo>
                  <a:lnTo>
                    <a:pt x="543" y="734"/>
                  </a:lnTo>
                  <a:lnTo>
                    <a:pt x="543" y="730"/>
                  </a:lnTo>
                  <a:close/>
                  <a:moveTo>
                    <a:pt x="591" y="754"/>
                  </a:moveTo>
                  <a:lnTo>
                    <a:pt x="591" y="750"/>
                  </a:lnTo>
                  <a:lnTo>
                    <a:pt x="587" y="750"/>
                  </a:lnTo>
                  <a:lnTo>
                    <a:pt x="591" y="750"/>
                  </a:lnTo>
                  <a:lnTo>
                    <a:pt x="595" y="750"/>
                  </a:lnTo>
                  <a:lnTo>
                    <a:pt x="591" y="750"/>
                  </a:lnTo>
                  <a:lnTo>
                    <a:pt x="591" y="754"/>
                  </a:lnTo>
                  <a:close/>
                  <a:moveTo>
                    <a:pt x="0" y="187"/>
                  </a:moveTo>
                  <a:lnTo>
                    <a:pt x="0" y="183"/>
                  </a:lnTo>
                  <a:lnTo>
                    <a:pt x="4" y="183"/>
                  </a:lnTo>
                  <a:lnTo>
                    <a:pt x="0" y="183"/>
                  </a:lnTo>
                  <a:lnTo>
                    <a:pt x="0" y="187"/>
                  </a:lnTo>
                  <a:close/>
                  <a:moveTo>
                    <a:pt x="543" y="503"/>
                  </a:moveTo>
                  <a:lnTo>
                    <a:pt x="543" y="507"/>
                  </a:lnTo>
                  <a:lnTo>
                    <a:pt x="539" y="507"/>
                  </a:lnTo>
                  <a:lnTo>
                    <a:pt x="539" y="511"/>
                  </a:lnTo>
                  <a:lnTo>
                    <a:pt x="535" y="511"/>
                  </a:lnTo>
                  <a:lnTo>
                    <a:pt x="531" y="511"/>
                  </a:lnTo>
                  <a:lnTo>
                    <a:pt x="531" y="507"/>
                  </a:lnTo>
                  <a:lnTo>
                    <a:pt x="531" y="503"/>
                  </a:lnTo>
                  <a:lnTo>
                    <a:pt x="535" y="503"/>
                  </a:lnTo>
                  <a:lnTo>
                    <a:pt x="535" y="495"/>
                  </a:lnTo>
                  <a:lnTo>
                    <a:pt x="531" y="495"/>
                  </a:lnTo>
                  <a:lnTo>
                    <a:pt x="531" y="491"/>
                  </a:lnTo>
                  <a:lnTo>
                    <a:pt x="535" y="487"/>
                  </a:lnTo>
                  <a:lnTo>
                    <a:pt x="535" y="483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43" y="479"/>
                  </a:lnTo>
                  <a:lnTo>
                    <a:pt x="543" y="483"/>
                  </a:lnTo>
                  <a:lnTo>
                    <a:pt x="543" y="487"/>
                  </a:lnTo>
                  <a:lnTo>
                    <a:pt x="547" y="487"/>
                  </a:lnTo>
                  <a:lnTo>
                    <a:pt x="543" y="491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5"/>
                  </a:lnTo>
                  <a:lnTo>
                    <a:pt x="539" y="495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9"/>
                  </a:lnTo>
                  <a:lnTo>
                    <a:pt x="543" y="503"/>
                  </a:lnTo>
                  <a:close/>
                  <a:moveTo>
                    <a:pt x="543" y="495"/>
                  </a:moveTo>
                  <a:lnTo>
                    <a:pt x="543" y="491"/>
                  </a:lnTo>
                  <a:lnTo>
                    <a:pt x="539" y="491"/>
                  </a:lnTo>
                  <a:lnTo>
                    <a:pt x="543" y="491"/>
                  </a:lnTo>
                  <a:lnTo>
                    <a:pt x="543" y="495"/>
                  </a:lnTo>
                  <a:close/>
                  <a:moveTo>
                    <a:pt x="523" y="519"/>
                  </a:moveTo>
                  <a:lnTo>
                    <a:pt x="523" y="515"/>
                  </a:lnTo>
                  <a:lnTo>
                    <a:pt x="527" y="515"/>
                  </a:lnTo>
                  <a:lnTo>
                    <a:pt x="527" y="519"/>
                  </a:lnTo>
                  <a:lnTo>
                    <a:pt x="523" y="519"/>
                  </a:lnTo>
                  <a:close/>
                  <a:moveTo>
                    <a:pt x="535" y="523"/>
                  </a:moveTo>
                  <a:lnTo>
                    <a:pt x="539" y="523"/>
                  </a:lnTo>
                  <a:lnTo>
                    <a:pt x="539" y="519"/>
                  </a:lnTo>
                  <a:lnTo>
                    <a:pt x="539" y="523"/>
                  </a:lnTo>
                  <a:lnTo>
                    <a:pt x="535" y="523"/>
                  </a:lnTo>
                  <a:close/>
                  <a:moveTo>
                    <a:pt x="547" y="527"/>
                  </a:moveTo>
                  <a:lnTo>
                    <a:pt x="547" y="523"/>
                  </a:lnTo>
                  <a:lnTo>
                    <a:pt x="547" y="527"/>
                  </a:lnTo>
                  <a:close/>
                  <a:moveTo>
                    <a:pt x="539" y="527"/>
                  </a:moveTo>
                  <a:lnTo>
                    <a:pt x="539" y="523"/>
                  </a:lnTo>
                  <a:lnTo>
                    <a:pt x="543" y="527"/>
                  </a:lnTo>
                  <a:lnTo>
                    <a:pt x="539" y="527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5" y="527"/>
                  </a:lnTo>
                  <a:lnTo>
                    <a:pt x="539" y="527"/>
                  </a:lnTo>
                  <a:lnTo>
                    <a:pt x="539" y="531"/>
                  </a:lnTo>
                  <a:close/>
                  <a:moveTo>
                    <a:pt x="535" y="531"/>
                  </a:moveTo>
                  <a:lnTo>
                    <a:pt x="535" y="527"/>
                  </a:lnTo>
                  <a:lnTo>
                    <a:pt x="535" y="531"/>
                  </a:lnTo>
                  <a:close/>
                  <a:moveTo>
                    <a:pt x="535" y="535"/>
                  </a:moveTo>
                  <a:lnTo>
                    <a:pt x="535" y="531"/>
                  </a:lnTo>
                  <a:lnTo>
                    <a:pt x="535" y="535"/>
                  </a:lnTo>
                  <a:close/>
                  <a:moveTo>
                    <a:pt x="551" y="543"/>
                  </a:moveTo>
                  <a:lnTo>
                    <a:pt x="547" y="543"/>
                  </a:lnTo>
                  <a:lnTo>
                    <a:pt x="547" y="547"/>
                  </a:lnTo>
                  <a:lnTo>
                    <a:pt x="543" y="543"/>
                  </a:lnTo>
                  <a:lnTo>
                    <a:pt x="547" y="543"/>
                  </a:lnTo>
                  <a:lnTo>
                    <a:pt x="543" y="543"/>
                  </a:lnTo>
                  <a:lnTo>
                    <a:pt x="543" y="539"/>
                  </a:lnTo>
                  <a:lnTo>
                    <a:pt x="547" y="539"/>
                  </a:lnTo>
                  <a:lnTo>
                    <a:pt x="547" y="535"/>
                  </a:lnTo>
                  <a:lnTo>
                    <a:pt x="551" y="535"/>
                  </a:lnTo>
                  <a:lnTo>
                    <a:pt x="555" y="535"/>
                  </a:lnTo>
                  <a:lnTo>
                    <a:pt x="555" y="539"/>
                  </a:lnTo>
                  <a:lnTo>
                    <a:pt x="551" y="539"/>
                  </a:lnTo>
                  <a:lnTo>
                    <a:pt x="555" y="539"/>
                  </a:lnTo>
                  <a:lnTo>
                    <a:pt x="551" y="543"/>
                  </a:lnTo>
                  <a:close/>
                  <a:moveTo>
                    <a:pt x="531" y="539"/>
                  </a:moveTo>
                  <a:lnTo>
                    <a:pt x="527" y="535"/>
                  </a:lnTo>
                  <a:lnTo>
                    <a:pt x="531" y="535"/>
                  </a:lnTo>
                  <a:lnTo>
                    <a:pt x="531" y="539"/>
                  </a:lnTo>
                  <a:close/>
                  <a:moveTo>
                    <a:pt x="535" y="539"/>
                  </a:moveTo>
                  <a:lnTo>
                    <a:pt x="535" y="535"/>
                  </a:lnTo>
                  <a:lnTo>
                    <a:pt x="535" y="539"/>
                  </a:lnTo>
                  <a:close/>
                  <a:moveTo>
                    <a:pt x="531" y="539"/>
                  </a:moveTo>
                  <a:lnTo>
                    <a:pt x="531" y="535"/>
                  </a:lnTo>
                  <a:lnTo>
                    <a:pt x="535" y="539"/>
                  </a:lnTo>
                  <a:lnTo>
                    <a:pt x="531" y="539"/>
                  </a:lnTo>
                  <a:close/>
                  <a:moveTo>
                    <a:pt x="539" y="543"/>
                  </a:moveTo>
                  <a:lnTo>
                    <a:pt x="539" y="539"/>
                  </a:lnTo>
                  <a:lnTo>
                    <a:pt x="539" y="535"/>
                  </a:lnTo>
                  <a:lnTo>
                    <a:pt x="539" y="539"/>
                  </a:lnTo>
                  <a:lnTo>
                    <a:pt x="543" y="539"/>
                  </a:lnTo>
                  <a:lnTo>
                    <a:pt x="539" y="543"/>
                  </a:lnTo>
                  <a:close/>
                  <a:moveTo>
                    <a:pt x="531" y="543"/>
                  </a:moveTo>
                  <a:lnTo>
                    <a:pt x="531" y="539"/>
                  </a:lnTo>
                  <a:lnTo>
                    <a:pt x="535" y="539"/>
                  </a:lnTo>
                  <a:lnTo>
                    <a:pt x="539" y="539"/>
                  </a:lnTo>
                  <a:lnTo>
                    <a:pt x="535" y="539"/>
                  </a:lnTo>
                  <a:lnTo>
                    <a:pt x="531" y="543"/>
                  </a:lnTo>
                  <a:close/>
                  <a:moveTo>
                    <a:pt x="531" y="543"/>
                  </a:moveTo>
                  <a:lnTo>
                    <a:pt x="527" y="543"/>
                  </a:lnTo>
                  <a:lnTo>
                    <a:pt x="527" y="539"/>
                  </a:lnTo>
                  <a:lnTo>
                    <a:pt x="531" y="539"/>
                  </a:lnTo>
                  <a:lnTo>
                    <a:pt x="531" y="543"/>
                  </a:lnTo>
                  <a:close/>
                  <a:moveTo>
                    <a:pt x="539" y="543"/>
                  </a:moveTo>
                  <a:lnTo>
                    <a:pt x="543" y="543"/>
                  </a:lnTo>
                  <a:lnTo>
                    <a:pt x="539" y="543"/>
                  </a:lnTo>
                  <a:close/>
                  <a:moveTo>
                    <a:pt x="535" y="543"/>
                  </a:moveTo>
                  <a:lnTo>
                    <a:pt x="531" y="543"/>
                  </a:lnTo>
                  <a:lnTo>
                    <a:pt x="535" y="543"/>
                  </a:lnTo>
                  <a:close/>
                  <a:moveTo>
                    <a:pt x="519" y="547"/>
                  </a:moveTo>
                  <a:lnTo>
                    <a:pt x="519" y="543"/>
                  </a:lnTo>
                  <a:lnTo>
                    <a:pt x="519" y="547"/>
                  </a:lnTo>
                  <a:close/>
                  <a:moveTo>
                    <a:pt x="531" y="547"/>
                  </a:moveTo>
                  <a:lnTo>
                    <a:pt x="531" y="543"/>
                  </a:lnTo>
                  <a:lnTo>
                    <a:pt x="535" y="543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5" y="547"/>
                  </a:lnTo>
                  <a:lnTo>
                    <a:pt x="531" y="547"/>
                  </a:lnTo>
                  <a:close/>
                  <a:moveTo>
                    <a:pt x="539" y="551"/>
                  </a:moveTo>
                  <a:lnTo>
                    <a:pt x="535" y="551"/>
                  </a:lnTo>
                  <a:lnTo>
                    <a:pt x="531" y="551"/>
                  </a:lnTo>
                  <a:lnTo>
                    <a:pt x="531" y="547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9" y="551"/>
                  </a:lnTo>
                  <a:close/>
                  <a:moveTo>
                    <a:pt x="531" y="555"/>
                  </a:move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5" y="551"/>
                  </a:lnTo>
                  <a:lnTo>
                    <a:pt x="539" y="551"/>
                  </a:ln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1" y="555"/>
                  </a:moveTo>
                  <a:lnTo>
                    <a:pt x="527" y="555"/>
                  </a:lnTo>
                  <a:lnTo>
                    <a:pt x="527" y="551"/>
                  </a:ln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5" y="559"/>
                  </a:moveTo>
                  <a:lnTo>
                    <a:pt x="535" y="555"/>
                  </a:lnTo>
                  <a:lnTo>
                    <a:pt x="539" y="555"/>
                  </a:lnTo>
                  <a:lnTo>
                    <a:pt x="539" y="559"/>
                  </a:lnTo>
                  <a:lnTo>
                    <a:pt x="535" y="559"/>
                  </a:lnTo>
                  <a:close/>
                  <a:moveTo>
                    <a:pt x="543" y="563"/>
                  </a:moveTo>
                  <a:lnTo>
                    <a:pt x="539" y="563"/>
                  </a:lnTo>
                  <a:lnTo>
                    <a:pt x="539" y="559"/>
                  </a:lnTo>
                  <a:lnTo>
                    <a:pt x="539" y="555"/>
                  </a:lnTo>
                  <a:lnTo>
                    <a:pt x="543" y="555"/>
                  </a:lnTo>
                  <a:lnTo>
                    <a:pt x="543" y="559"/>
                  </a:lnTo>
                  <a:lnTo>
                    <a:pt x="543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31" y="555"/>
                  </a:lnTo>
                  <a:lnTo>
                    <a:pt x="531" y="559"/>
                  </a:lnTo>
                  <a:lnTo>
                    <a:pt x="531" y="563"/>
                  </a:lnTo>
                  <a:lnTo>
                    <a:pt x="527" y="563"/>
                  </a:lnTo>
                  <a:close/>
                  <a:moveTo>
                    <a:pt x="535" y="563"/>
                  </a:moveTo>
                  <a:lnTo>
                    <a:pt x="535" y="559"/>
                  </a:lnTo>
                  <a:lnTo>
                    <a:pt x="539" y="559"/>
                  </a:lnTo>
                  <a:lnTo>
                    <a:pt x="539" y="563"/>
                  </a:lnTo>
                  <a:lnTo>
                    <a:pt x="535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27" y="563"/>
                  </a:lnTo>
                  <a:close/>
                  <a:moveTo>
                    <a:pt x="535" y="567"/>
                  </a:moveTo>
                  <a:lnTo>
                    <a:pt x="535" y="563"/>
                  </a:lnTo>
                  <a:lnTo>
                    <a:pt x="535" y="567"/>
                  </a:lnTo>
                  <a:close/>
                  <a:moveTo>
                    <a:pt x="539" y="567"/>
                  </a:moveTo>
                  <a:lnTo>
                    <a:pt x="535" y="567"/>
                  </a:lnTo>
                  <a:lnTo>
                    <a:pt x="539" y="567"/>
                  </a:lnTo>
                  <a:lnTo>
                    <a:pt x="539" y="563"/>
                  </a:lnTo>
                  <a:lnTo>
                    <a:pt x="539" y="567"/>
                  </a:lnTo>
                  <a:close/>
                  <a:moveTo>
                    <a:pt x="539" y="571"/>
                  </a:moveTo>
                  <a:lnTo>
                    <a:pt x="535" y="571"/>
                  </a:lnTo>
                  <a:lnTo>
                    <a:pt x="535" y="567"/>
                  </a:lnTo>
                  <a:lnTo>
                    <a:pt x="539" y="567"/>
                  </a:lnTo>
                  <a:lnTo>
                    <a:pt x="539" y="571"/>
                  </a:lnTo>
                  <a:close/>
                  <a:moveTo>
                    <a:pt x="527" y="595"/>
                  </a:moveTo>
                  <a:lnTo>
                    <a:pt x="527" y="591"/>
                  </a:lnTo>
                  <a:lnTo>
                    <a:pt x="531" y="591"/>
                  </a:lnTo>
                  <a:lnTo>
                    <a:pt x="531" y="595"/>
                  </a:lnTo>
                  <a:lnTo>
                    <a:pt x="527" y="595"/>
                  </a:lnTo>
                  <a:close/>
                  <a:moveTo>
                    <a:pt x="519" y="606"/>
                  </a:moveTo>
                  <a:lnTo>
                    <a:pt x="523" y="606"/>
                  </a:lnTo>
                  <a:lnTo>
                    <a:pt x="519" y="606"/>
                  </a:lnTo>
                  <a:close/>
                  <a:moveTo>
                    <a:pt x="519" y="606"/>
                  </a:moveTo>
                  <a:lnTo>
                    <a:pt x="515" y="606"/>
                  </a:lnTo>
                  <a:lnTo>
                    <a:pt x="519" y="606"/>
                  </a:lnTo>
                  <a:close/>
                  <a:moveTo>
                    <a:pt x="531" y="610"/>
                  </a:moveTo>
                  <a:lnTo>
                    <a:pt x="527" y="610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39" y="606"/>
                  </a:lnTo>
                  <a:lnTo>
                    <a:pt x="539" y="610"/>
                  </a:lnTo>
                  <a:lnTo>
                    <a:pt x="535" y="610"/>
                  </a:lnTo>
                  <a:lnTo>
                    <a:pt x="531" y="610"/>
                  </a:lnTo>
                  <a:close/>
                  <a:moveTo>
                    <a:pt x="523" y="614"/>
                  </a:moveTo>
                  <a:lnTo>
                    <a:pt x="519" y="610"/>
                  </a:lnTo>
                  <a:lnTo>
                    <a:pt x="515" y="610"/>
                  </a:lnTo>
                  <a:lnTo>
                    <a:pt x="519" y="610"/>
                  </a:lnTo>
                  <a:lnTo>
                    <a:pt x="523" y="610"/>
                  </a:lnTo>
                  <a:lnTo>
                    <a:pt x="523" y="606"/>
                  </a:lnTo>
                  <a:lnTo>
                    <a:pt x="523" y="610"/>
                  </a:lnTo>
                  <a:lnTo>
                    <a:pt x="523" y="614"/>
                  </a:lnTo>
                  <a:close/>
                  <a:moveTo>
                    <a:pt x="519" y="626"/>
                  </a:moveTo>
                  <a:lnTo>
                    <a:pt x="515" y="626"/>
                  </a:lnTo>
                  <a:lnTo>
                    <a:pt x="515" y="622"/>
                  </a:lnTo>
                  <a:lnTo>
                    <a:pt x="515" y="618"/>
                  </a:lnTo>
                  <a:lnTo>
                    <a:pt x="515" y="622"/>
                  </a:lnTo>
                  <a:lnTo>
                    <a:pt x="511" y="622"/>
                  </a:lnTo>
                  <a:lnTo>
                    <a:pt x="511" y="618"/>
                  </a:lnTo>
                  <a:lnTo>
                    <a:pt x="515" y="618"/>
                  </a:lnTo>
                  <a:lnTo>
                    <a:pt x="511" y="618"/>
                  </a:lnTo>
                  <a:lnTo>
                    <a:pt x="511" y="614"/>
                  </a:lnTo>
                  <a:lnTo>
                    <a:pt x="511" y="610"/>
                  </a:lnTo>
                  <a:lnTo>
                    <a:pt x="515" y="610"/>
                  </a:lnTo>
                  <a:lnTo>
                    <a:pt x="515" y="614"/>
                  </a:lnTo>
                  <a:lnTo>
                    <a:pt x="515" y="618"/>
                  </a:lnTo>
                  <a:lnTo>
                    <a:pt x="519" y="618"/>
                  </a:lnTo>
                  <a:lnTo>
                    <a:pt x="519" y="622"/>
                  </a:lnTo>
                  <a:lnTo>
                    <a:pt x="519" y="626"/>
                  </a:lnTo>
                  <a:close/>
                  <a:moveTo>
                    <a:pt x="519" y="622"/>
                  </a:moveTo>
                  <a:lnTo>
                    <a:pt x="519" y="614"/>
                  </a:lnTo>
                  <a:lnTo>
                    <a:pt x="515" y="614"/>
                  </a:lnTo>
                  <a:lnTo>
                    <a:pt x="519" y="614"/>
                  </a:lnTo>
                  <a:lnTo>
                    <a:pt x="523" y="614"/>
                  </a:lnTo>
                  <a:lnTo>
                    <a:pt x="523" y="618"/>
                  </a:lnTo>
                  <a:lnTo>
                    <a:pt x="519" y="622"/>
                  </a:lnTo>
                  <a:close/>
                  <a:moveTo>
                    <a:pt x="527" y="618"/>
                  </a:moveTo>
                  <a:lnTo>
                    <a:pt x="527" y="614"/>
                  </a:lnTo>
                  <a:lnTo>
                    <a:pt x="531" y="614"/>
                  </a:lnTo>
                  <a:lnTo>
                    <a:pt x="531" y="618"/>
                  </a:lnTo>
                  <a:lnTo>
                    <a:pt x="527" y="618"/>
                  </a:lnTo>
                  <a:close/>
                  <a:moveTo>
                    <a:pt x="527" y="626"/>
                  </a:moveTo>
                  <a:lnTo>
                    <a:pt x="523" y="626"/>
                  </a:lnTo>
                  <a:lnTo>
                    <a:pt x="519" y="626"/>
                  </a:lnTo>
                  <a:lnTo>
                    <a:pt x="519" y="622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14"/>
                  </a:lnTo>
                  <a:lnTo>
                    <a:pt x="527" y="614"/>
                  </a:lnTo>
                  <a:lnTo>
                    <a:pt x="527" y="618"/>
                  </a:lnTo>
                  <a:lnTo>
                    <a:pt x="527" y="622"/>
                  </a:lnTo>
                  <a:lnTo>
                    <a:pt x="527" y="626"/>
                  </a:lnTo>
                  <a:lnTo>
                    <a:pt x="527" y="622"/>
                  </a:lnTo>
                  <a:lnTo>
                    <a:pt x="527" y="626"/>
                  </a:lnTo>
                  <a:close/>
                  <a:moveTo>
                    <a:pt x="531" y="622"/>
                  </a:moveTo>
                  <a:lnTo>
                    <a:pt x="531" y="618"/>
                  </a:lnTo>
                  <a:lnTo>
                    <a:pt x="527" y="618"/>
                  </a:lnTo>
                  <a:lnTo>
                    <a:pt x="531" y="618"/>
                  </a:lnTo>
                  <a:lnTo>
                    <a:pt x="531" y="622"/>
                  </a:lnTo>
                  <a:close/>
                  <a:moveTo>
                    <a:pt x="535" y="622"/>
                  </a:moveTo>
                  <a:lnTo>
                    <a:pt x="531" y="622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5" y="622"/>
                  </a:lnTo>
                  <a:close/>
                  <a:moveTo>
                    <a:pt x="511" y="626"/>
                  </a:moveTo>
                  <a:lnTo>
                    <a:pt x="515" y="626"/>
                  </a:lnTo>
                  <a:lnTo>
                    <a:pt x="511" y="626"/>
                  </a:lnTo>
                  <a:lnTo>
                    <a:pt x="511" y="622"/>
                  </a:lnTo>
                  <a:lnTo>
                    <a:pt x="515" y="622"/>
                  </a:lnTo>
                  <a:lnTo>
                    <a:pt x="515" y="626"/>
                  </a:lnTo>
                  <a:lnTo>
                    <a:pt x="511" y="626"/>
                  </a:lnTo>
                  <a:close/>
                  <a:moveTo>
                    <a:pt x="527" y="646"/>
                  </a:moveTo>
                  <a:lnTo>
                    <a:pt x="527" y="650"/>
                  </a:lnTo>
                  <a:lnTo>
                    <a:pt x="527" y="646"/>
                  </a:lnTo>
                  <a:lnTo>
                    <a:pt x="531" y="646"/>
                  </a:lnTo>
                  <a:lnTo>
                    <a:pt x="531" y="650"/>
                  </a:lnTo>
                  <a:lnTo>
                    <a:pt x="527" y="654"/>
                  </a:lnTo>
                  <a:lnTo>
                    <a:pt x="527" y="658"/>
                  </a:lnTo>
                  <a:lnTo>
                    <a:pt x="523" y="658"/>
                  </a:lnTo>
                  <a:lnTo>
                    <a:pt x="523" y="654"/>
                  </a:lnTo>
                  <a:lnTo>
                    <a:pt x="527" y="654"/>
                  </a:lnTo>
                  <a:lnTo>
                    <a:pt x="523" y="654"/>
                  </a:lnTo>
                  <a:lnTo>
                    <a:pt x="523" y="650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27" y="642"/>
                  </a:lnTo>
                  <a:lnTo>
                    <a:pt x="523" y="642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19" y="646"/>
                  </a:lnTo>
                  <a:lnTo>
                    <a:pt x="523" y="646"/>
                  </a:lnTo>
                  <a:lnTo>
                    <a:pt x="519" y="650"/>
                  </a:lnTo>
                  <a:lnTo>
                    <a:pt x="519" y="654"/>
                  </a:lnTo>
                  <a:lnTo>
                    <a:pt x="519" y="650"/>
                  </a:lnTo>
                  <a:lnTo>
                    <a:pt x="515" y="646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5" y="642"/>
                  </a:lnTo>
                  <a:lnTo>
                    <a:pt x="519" y="642"/>
                  </a:lnTo>
                  <a:lnTo>
                    <a:pt x="519" y="646"/>
                  </a:lnTo>
                  <a:lnTo>
                    <a:pt x="519" y="642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9" y="642"/>
                  </a:lnTo>
                  <a:lnTo>
                    <a:pt x="519" y="638"/>
                  </a:lnTo>
                  <a:lnTo>
                    <a:pt x="523" y="642"/>
                  </a:lnTo>
                  <a:lnTo>
                    <a:pt x="523" y="638"/>
                  </a:lnTo>
                  <a:lnTo>
                    <a:pt x="523" y="634"/>
                  </a:lnTo>
                  <a:lnTo>
                    <a:pt x="519" y="630"/>
                  </a:lnTo>
                  <a:lnTo>
                    <a:pt x="519" y="626"/>
                  </a:lnTo>
                  <a:lnTo>
                    <a:pt x="523" y="626"/>
                  </a:lnTo>
                  <a:lnTo>
                    <a:pt x="527" y="626"/>
                  </a:lnTo>
                  <a:lnTo>
                    <a:pt x="527" y="630"/>
                  </a:lnTo>
                  <a:lnTo>
                    <a:pt x="527" y="634"/>
                  </a:lnTo>
                  <a:lnTo>
                    <a:pt x="527" y="638"/>
                  </a:lnTo>
                  <a:lnTo>
                    <a:pt x="531" y="638"/>
                  </a:lnTo>
                  <a:lnTo>
                    <a:pt x="527" y="642"/>
                  </a:lnTo>
                  <a:lnTo>
                    <a:pt x="527" y="646"/>
                  </a:lnTo>
                  <a:close/>
                  <a:moveTo>
                    <a:pt x="519" y="634"/>
                  </a:moveTo>
                  <a:lnTo>
                    <a:pt x="515" y="630"/>
                  </a:lnTo>
                  <a:lnTo>
                    <a:pt x="519" y="630"/>
                  </a:lnTo>
                  <a:lnTo>
                    <a:pt x="519" y="634"/>
                  </a:lnTo>
                  <a:close/>
                  <a:moveTo>
                    <a:pt x="515" y="634"/>
                  </a:moveTo>
                  <a:lnTo>
                    <a:pt x="515" y="630"/>
                  </a:lnTo>
                  <a:lnTo>
                    <a:pt x="515" y="634"/>
                  </a:lnTo>
                  <a:lnTo>
                    <a:pt x="511" y="634"/>
                  </a:lnTo>
                  <a:lnTo>
                    <a:pt x="511" y="630"/>
                  </a:lnTo>
                  <a:lnTo>
                    <a:pt x="515" y="630"/>
                  </a:lnTo>
                  <a:lnTo>
                    <a:pt x="519" y="634"/>
                  </a:lnTo>
                  <a:lnTo>
                    <a:pt x="515" y="634"/>
                  </a:lnTo>
                  <a:close/>
                  <a:moveTo>
                    <a:pt x="523" y="638"/>
                  </a:moveTo>
                  <a:lnTo>
                    <a:pt x="519" y="638"/>
                  </a:lnTo>
                  <a:lnTo>
                    <a:pt x="515" y="638"/>
                  </a:lnTo>
                  <a:lnTo>
                    <a:pt x="515" y="634"/>
                  </a:lnTo>
                  <a:lnTo>
                    <a:pt x="519" y="634"/>
                  </a:lnTo>
                  <a:lnTo>
                    <a:pt x="523" y="634"/>
                  </a:lnTo>
                  <a:lnTo>
                    <a:pt x="523" y="638"/>
                  </a:lnTo>
                  <a:close/>
                  <a:moveTo>
                    <a:pt x="531" y="646"/>
                  </a:moveTo>
                  <a:lnTo>
                    <a:pt x="527" y="642"/>
                  </a:lnTo>
                  <a:lnTo>
                    <a:pt x="531" y="642"/>
                  </a:lnTo>
                  <a:lnTo>
                    <a:pt x="531" y="646"/>
                  </a:lnTo>
                  <a:close/>
                  <a:moveTo>
                    <a:pt x="519" y="654"/>
                  </a:moveTo>
                  <a:lnTo>
                    <a:pt x="515" y="650"/>
                  </a:lnTo>
                  <a:lnTo>
                    <a:pt x="515" y="654"/>
                  </a:lnTo>
                  <a:lnTo>
                    <a:pt x="515" y="650"/>
                  </a:lnTo>
                  <a:lnTo>
                    <a:pt x="511" y="650"/>
                  </a:lnTo>
                  <a:lnTo>
                    <a:pt x="511" y="646"/>
                  </a:lnTo>
                  <a:lnTo>
                    <a:pt x="515" y="646"/>
                  </a:lnTo>
                  <a:lnTo>
                    <a:pt x="519" y="650"/>
                  </a:lnTo>
                  <a:lnTo>
                    <a:pt x="519" y="654"/>
                  </a:lnTo>
                  <a:close/>
                  <a:moveTo>
                    <a:pt x="519" y="662"/>
                  </a:moveTo>
                  <a:lnTo>
                    <a:pt x="519" y="666"/>
                  </a:lnTo>
                  <a:lnTo>
                    <a:pt x="515" y="666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5" y="662"/>
                  </a:lnTo>
                  <a:lnTo>
                    <a:pt x="515" y="658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9" y="658"/>
                  </a:lnTo>
                  <a:lnTo>
                    <a:pt x="515" y="658"/>
                  </a:lnTo>
                  <a:lnTo>
                    <a:pt x="515" y="654"/>
                  </a:lnTo>
                  <a:lnTo>
                    <a:pt x="519" y="654"/>
                  </a:lnTo>
                  <a:lnTo>
                    <a:pt x="519" y="658"/>
                  </a:lnTo>
                  <a:lnTo>
                    <a:pt x="523" y="658"/>
                  </a:lnTo>
                  <a:lnTo>
                    <a:pt x="519" y="662"/>
                  </a:lnTo>
                  <a:close/>
                  <a:moveTo>
                    <a:pt x="523" y="666"/>
                  </a:moveTo>
                  <a:lnTo>
                    <a:pt x="523" y="662"/>
                  </a:lnTo>
                  <a:lnTo>
                    <a:pt x="527" y="662"/>
                  </a:lnTo>
                  <a:lnTo>
                    <a:pt x="527" y="666"/>
                  </a:lnTo>
                  <a:lnTo>
                    <a:pt x="523" y="666"/>
                  </a:lnTo>
                  <a:close/>
                  <a:moveTo>
                    <a:pt x="531" y="674"/>
                  </a:moveTo>
                  <a:lnTo>
                    <a:pt x="527" y="670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31" y="670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1" y="674"/>
                  </a:lnTo>
                  <a:close/>
                  <a:moveTo>
                    <a:pt x="515" y="674"/>
                  </a:moveTo>
                  <a:lnTo>
                    <a:pt x="511" y="670"/>
                  </a:lnTo>
                  <a:lnTo>
                    <a:pt x="515" y="670"/>
                  </a:lnTo>
                  <a:lnTo>
                    <a:pt x="515" y="666"/>
                  </a:lnTo>
                  <a:lnTo>
                    <a:pt x="519" y="666"/>
                  </a:lnTo>
                  <a:lnTo>
                    <a:pt x="519" y="670"/>
                  </a:lnTo>
                  <a:lnTo>
                    <a:pt x="515" y="670"/>
                  </a:lnTo>
                  <a:lnTo>
                    <a:pt x="515" y="674"/>
                  </a:lnTo>
                  <a:close/>
                  <a:moveTo>
                    <a:pt x="519" y="674"/>
                  </a:moveTo>
                  <a:lnTo>
                    <a:pt x="519" y="670"/>
                  </a:lnTo>
                  <a:lnTo>
                    <a:pt x="519" y="674"/>
                  </a:lnTo>
                  <a:close/>
                  <a:moveTo>
                    <a:pt x="527" y="674"/>
                  </a:moveTo>
                  <a:lnTo>
                    <a:pt x="523" y="674"/>
                  </a:lnTo>
                  <a:lnTo>
                    <a:pt x="523" y="670"/>
                  </a:lnTo>
                  <a:lnTo>
                    <a:pt x="527" y="674"/>
                  </a:lnTo>
                  <a:close/>
                  <a:moveTo>
                    <a:pt x="523" y="682"/>
                  </a:moveTo>
                  <a:lnTo>
                    <a:pt x="523" y="678"/>
                  </a:lnTo>
                  <a:lnTo>
                    <a:pt x="523" y="674"/>
                  </a:lnTo>
                  <a:lnTo>
                    <a:pt x="527" y="674"/>
                  </a:lnTo>
                  <a:lnTo>
                    <a:pt x="527" y="670"/>
                  </a:lnTo>
                  <a:lnTo>
                    <a:pt x="527" y="674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27" y="678"/>
                  </a:lnTo>
                  <a:lnTo>
                    <a:pt x="523" y="682"/>
                  </a:lnTo>
                  <a:close/>
                  <a:moveTo>
                    <a:pt x="531" y="682"/>
                  </a:moveTo>
                  <a:lnTo>
                    <a:pt x="531" y="678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31" y="682"/>
                  </a:lnTo>
                  <a:close/>
                  <a:moveTo>
                    <a:pt x="531" y="682"/>
                  </a:moveTo>
                  <a:lnTo>
                    <a:pt x="527" y="682"/>
                  </a:lnTo>
                  <a:lnTo>
                    <a:pt x="527" y="678"/>
                  </a:lnTo>
                  <a:lnTo>
                    <a:pt x="531" y="682"/>
                  </a:lnTo>
                  <a:close/>
                  <a:moveTo>
                    <a:pt x="519" y="690"/>
                  </a:moveTo>
                  <a:lnTo>
                    <a:pt x="519" y="686"/>
                  </a:lnTo>
                  <a:lnTo>
                    <a:pt x="523" y="686"/>
                  </a:lnTo>
                  <a:lnTo>
                    <a:pt x="523" y="682"/>
                  </a:lnTo>
                  <a:lnTo>
                    <a:pt x="527" y="682"/>
                  </a:lnTo>
                  <a:lnTo>
                    <a:pt x="527" y="686"/>
                  </a:lnTo>
                  <a:lnTo>
                    <a:pt x="523" y="686"/>
                  </a:lnTo>
                  <a:lnTo>
                    <a:pt x="519" y="690"/>
                  </a:lnTo>
                  <a:close/>
                  <a:moveTo>
                    <a:pt x="535" y="686"/>
                  </a:move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39" y="686"/>
                  </a:moveTo>
                  <a:lnTo>
                    <a:pt x="539" y="682"/>
                  </a:lnTo>
                  <a:lnTo>
                    <a:pt x="539" y="686"/>
                  </a:lnTo>
                  <a:close/>
                  <a:moveTo>
                    <a:pt x="515" y="690"/>
                  </a:moveTo>
                  <a:lnTo>
                    <a:pt x="519" y="690"/>
                  </a:lnTo>
                  <a:lnTo>
                    <a:pt x="519" y="686"/>
                  </a:lnTo>
                  <a:lnTo>
                    <a:pt x="519" y="682"/>
                  </a:lnTo>
                  <a:lnTo>
                    <a:pt x="519" y="686"/>
                  </a:lnTo>
                  <a:lnTo>
                    <a:pt x="519" y="690"/>
                  </a:lnTo>
                  <a:lnTo>
                    <a:pt x="515" y="690"/>
                  </a:lnTo>
                  <a:close/>
                  <a:moveTo>
                    <a:pt x="535" y="694"/>
                  </a:moveTo>
                  <a:lnTo>
                    <a:pt x="531" y="694"/>
                  </a:lnTo>
                  <a:lnTo>
                    <a:pt x="535" y="694"/>
                  </a:lnTo>
                  <a:lnTo>
                    <a:pt x="535" y="690"/>
                  </a:lnTo>
                  <a:lnTo>
                    <a:pt x="535" y="694"/>
                  </a:lnTo>
                  <a:close/>
                  <a:moveTo>
                    <a:pt x="523" y="702"/>
                  </a:moveTo>
                  <a:lnTo>
                    <a:pt x="519" y="702"/>
                  </a:lnTo>
                  <a:lnTo>
                    <a:pt x="519" y="698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694"/>
                  </a:lnTo>
                  <a:lnTo>
                    <a:pt x="523" y="690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702"/>
                  </a:lnTo>
                  <a:close/>
                  <a:moveTo>
                    <a:pt x="539" y="694"/>
                  </a:moveTo>
                  <a:lnTo>
                    <a:pt x="535" y="694"/>
                  </a:lnTo>
                  <a:lnTo>
                    <a:pt x="539" y="694"/>
                  </a:lnTo>
                  <a:close/>
                  <a:moveTo>
                    <a:pt x="535" y="698"/>
                  </a:moveTo>
                  <a:lnTo>
                    <a:pt x="531" y="698"/>
                  </a:lnTo>
                  <a:lnTo>
                    <a:pt x="527" y="694"/>
                  </a:lnTo>
                  <a:lnTo>
                    <a:pt x="531" y="694"/>
                  </a:lnTo>
                  <a:lnTo>
                    <a:pt x="535" y="698"/>
                  </a:lnTo>
                  <a:close/>
                  <a:moveTo>
                    <a:pt x="519" y="698"/>
                  </a:moveTo>
                  <a:lnTo>
                    <a:pt x="519" y="694"/>
                  </a:lnTo>
                  <a:lnTo>
                    <a:pt x="523" y="694"/>
                  </a:lnTo>
                  <a:lnTo>
                    <a:pt x="519" y="694"/>
                  </a:lnTo>
                  <a:lnTo>
                    <a:pt x="519" y="698"/>
                  </a:lnTo>
                  <a:close/>
                  <a:moveTo>
                    <a:pt x="539" y="698"/>
                  </a:moveTo>
                  <a:lnTo>
                    <a:pt x="535" y="698"/>
                  </a:lnTo>
                  <a:lnTo>
                    <a:pt x="535" y="694"/>
                  </a:lnTo>
                  <a:lnTo>
                    <a:pt x="539" y="694"/>
                  </a:lnTo>
                  <a:lnTo>
                    <a:pt x="539" y="698"/>
                  </a:lnTo>
                  <a:close/>
                  <a:moveTo>
                    <a:pt x="523" y="702"/>
                  </a:moveTo>
                  <a:lnTo>
                    <a:pt x="523" y="698"/>
                  </a:lnTo>
                  <a:lnTo>
                    <a:pt x="527" y="698"/>
                  </a:lnTo>
                  <a:lnTo>
                    <a:pt x="523" y="702"/>
                  </a:lnTo>
                  <a:close/>
                  <a:moveTo>
                    <a:pt x="551" y="702"/>
                  </a:moveTo>
                  <a:lnTo>
                    <a:pt x="551" y="698"/>
                  </a:lnTo>
                  <a:lnTo>
                    <a:pt x="551" y="702"/>
                  </a:lnTo>
                  <a:close/>
                  <a:moveTo>
                    <a:pt x="539" y="706"/>
                  </a:moveTo>
                  <a:lnTo>
                    <a:pt x="539" y="702"/>
                  </a:lnTo>
                  <a:lnTo>
                    <a:pt x="535" y="702"/>
                  </a:lnTo>
                  <a:lnTo>
                    <a:pt x="535" y="698"/>
                  </a:lnTo>
                  <a:lnTo>
                    <a:pt x="539" y="702"/>
                  </a:lnTo>
                  <a:lnTo>
                    <a:pt x="539" y="706"/>
                  </a:lnTo>
                  <a:close/>
                  <a:moveTo>
                    <a:pt x="523" y="702"/>
                  </a:moveTo>
                  <a:lnTo>
                    <a:pt x="527" y="702"/>
                  </a:lnTo>
                  <a:lnTo>
                    <a:pt x="527" y="698"/>
                  </a:lnTo>
                  <a:lnTo>
                    <a:pt x="527" y="702"/>
                  </a:lnTo>
                  <a:lnTo>
                    <a:pt x="523" y="702"/>
                  </a:lnTo>
                  <a:close/>
                  <a:moveTo>
                    <a:pt x="535" y="710"/>
                  </a:moveTo>
                  <a:lnTo>
                    <a:pt x="531" y="710"/>
                  </a:lnTo>
                  <a:lnTo>
                    <a:pt x="531" y="706"/>
                  </a:lnTo>
                  <a:lnTo>
                    <a:pt x="535" y="706"/>
                  </a:lnTo>
                  <a:lnTo>
                    <a:pt x="531" y="706"/>
                  </a:lnTo>
                  <a:lnTo>
                    <a:pt x="531" y="702"/>
                  </a:lnTo>
                  <a:lnTo>
                    <a:pt x="535" y="706"/>
                  </a:lnTo>
                  <a:lnTo>
                    <a:pt x="535" y="710"/>
                  </a:lnTo>
                  <a:close/>
                  <a:moveTo>
                    <a:pt x="539" y="710"/>
                  </a:moveTo>
                  <a:lnTo>
                    <a:pt x="539" y="706"/>
                  </a:lnTo>
                  <a:lnTo>
                    <a:pt x="535" y="706"/>
                  </a:lnTo>
                  <a:lnTo>
                    <a:pt x="535" y="702"/>
                  </a:lnTo>
                  <a:lnTo>
                    <a:pt x="535" y="706"/>
                  </a:lnTo>
                  <a:lnTo>
                    <a:pt x="539" y="706"/>
                  </a:lnTo>
                  <a:lnTo>
                    <a:pt x="539" y="710"/>
                  </a:lnTo>
                  <a:close/>
                  <a:moveTo>
                    <a:pt x="523" y="706"/>
                  </a:moveTo>
                  <a:lnTo>
                    <a:pt x="527" y="706"/>
                  </a:lnTo>
                  <a:lnTo>
                    <a:pt x="523" y="706"/>
                  </a:lnTo>
                  <a:close/>
                  <a:moveTo>
                    <a:pt x="619" y="766"/>
                  </a:moveTo>
                  <a:lnTo>
                    <a:pt x="615" y="766"/>
                  </a:lnTo>
                  <a:lnTo>
                    <a:pt x="611" y="766"/>
                  </a:lnTo>
                  <a:lnTo>
                    <a:pt x="603" y="766"/>
                  </a:lnTo>
                  <a:lnTo>
                    <a:pt x="603" y="762"/>
                  </a:lnTo>
                  <a:lnTo>
                    <a:pt x="599" y="762"/>
                  </a:lnTo>
                  <a:lnTo>
                    <a:pt x="599" y="766"/>
                  </a:lnTo>
                  <a:lnTo>
                    <a:pt x="595" y="766"/>
                  </a:lnTo>
                  <a:lnTo>
                    <a:pt x="591" y="766"/>
                  </a:lnTo>
                  <a:lnTo>
                    <a:pt x="591" y="762"/>
                  </a:lnTo>
                  <a:lnTo>
                    <a:pt x="591" y="766"/>
                  </a:lnTo>
                  <a:lnTo>
                    <a:pt x="587" y="766"/>
                  </a:lnTo>
                  <a:lnTo>
                    <a:pt x="583" y="766"/>
                  </a:lnTo>
                  <a:lnTo>
                    <a:pt x="583" y="762"/>
                  </a:lnTo>
                  <a:lnTo>
                    <a:pt x="587" y="762"/>
                  </a:lnTo>
                  <a:lnTo>
                    <a:pt x="591" y="762"/>
                  </a:lnTo>
                  <a:lnTo>
                    <a:pt x="587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75" y="762"/>
                  </a:lnTo>
                  <a:lnTo>
                    <a:pt x="579" y="762"/>
                  </a:lnTo>
                  <a:lnTo>
                    <a:pt x="579" y="758"/>
                  </a:lnTo>
                  <a:lnTo>
                    <a:pt x="575" y="758"/>
                  </a:lnTo>
                  <a:lnTo>
                    <a:pt x="575" y="762"/>
                  </a:lnTo>
                  <a:lnTo>
                    <a:pt x="571" y="762"/>
                  </a:lnTo>
                  <a:lnTo>
                    <a:pt x="571" y="758"/>
                  </a:lnTo>
                  <a:lnTo>
                    <a:pt x="571" y="762"/>
                  </a:lnTo>
                  <a:lnTo>
                    <a:pt x="567" y="762"/>
                  </a:lnTo>
                  <a:lnTo>
                    <a:pt x="567" y="758"/>
                  </a:lnTo>
                  <a:lnTo>
                    <a:pt x="571" y="758"/>
                  </a:lnTo>
                  <a:lnTo>
                    <a:pt x="567" y="758"/>
                  </a:lnTo>
                  <a:lnTo>
                    <a:pt x="567" y="754"/>
                  </a:lnTo>
                  <a:lnTo>
                    <a:pt x="571" y="754"/>
                  </a:lnTo>
                  <a:lnTo>
                    <a:pt x="571" y="758"/>
                  </a:lnTo>
                  <a:lnTo>
                    <a:pt x="575" y="758"/>
                  </a:lnTo>
                  <a:lnTo>
                    <a:pt x="571" y="758"/>
                  </a:lnTo>
                  <a:lnTo>
                    <a:pt x="571" y="754"/>
                  </a:lnTo>
                  <a:lnTo>
                    <a:pt x="575" y="758"/>
                  </a:lnTo>
                  <a:lnTo>
                    <a:pt x="575" y="754"/>
                  </a:lnTo>
                  <a:lnTo>
                    <a:pt x="579" y="754"/>
                  </a:lnTo>
                  <a:lnTo>
                    <a:pt x="583" y="758"/>
                  </a:lnTo>
                  <a:lnTo>
                    <a:pt x="583" y="754"/>
                  </a:lnTo>
                  <a:lnTo>
                    <a:pt x="587" y="754"/>
                  </a:lnTo>
                  <a:lnTo>
                    <a:pt x="587" y="758"/>
                  </a:lnTo>
                  <a:lnTo>
                    <a:pt x="587" y="754"/>
                  </a:lnTo>
                  <a:lnTo>
                    <a:pt x="591" y="758"/>
                  </a:lnTo>
                  <a:lnTo>
                    <a:pt x="595" y="758"/>
                  </a:lnTo>
                  <a:lnTo>
                    <a:pt x="591" y="758"/>
                  </a:lnTo>
                  <a:lnTo>
                    <a:pt x="591" y="754"/>
                  </a:lnTo>
                  <a:lnTo>
                    <a:pt x="587" y="754"/>
                  </a:lnTo>
                  <a:lnTo>
                    <a:pt x="583" y="754"/>
                  </a:lnTo>
                  <a:lnTo>
                    <a:pt x="583" y="750"/>
                  </a:lnTo>
                  <a:lnTo>
                    <a:pt x="587" y="750"/>
                  </a:lnTo>
                  <a:lnTo>
                    <a:pt x="591" y="754"/>
                  </a:lnTo>
                  <a:lnTo>
                    <a:pt x="595" y="754"/>
                  </a:lnTo>
                  <a:lnTo>
                    <a:pt x="595" y="750"/>
                  </a:lnTo>
                  <a:lnTo>
                    <a:pt x="595" y="754"/>
                  </a:lnTo>
                  <a:lnTo>
                    <a:pt x="599" y="754"/>
                  </a:lnTo>
                  <a:lnTo>
                    <a:pt x="599" y="758"/>
                  </a:lnTo>
                  <a:lnTo>
                    <a:pt x="599" y="754"/>
                  </a:lnTo>
                  <a:lnTo>
                    <a:pt x="603" y="754"/>
                  </a:lnTo>
                  <a:lnTo>
                    <a:pt x="607" y="754"/>
                  </a:lnTo>
                  <a:lnTo>
                    <a:pt x="607" y="758"/>
                  </a:lnTo>
                  <a:lnTo>
                    <a:pt x="607" y="762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11" y="754"/>
                  </a:lnTo>
                  <a:lnTo>
                    <a:pt x="607" y="754"/>
                  </a:lnTo>
                  <a:lnTo>
                    <a:pt x="603" y="754"/>
                  </a:lnTo>
                  <a:lnTo>
                    <a:pt x="603" y="750"/>
                  </a:lnTo>
                  <a:lnTo>
                    <a:pt x="599" y="750"/>
                  </a:lnTo>
                  <a:lnTo>
                    <a:pt x="595" y="750"/>
                  </a:lnTo>
                  <a:lnTo>
                    <a:pt x="595" y="746"/>
                  </a:lnTo>
                  <a:lnTo>
                    <a:pt x="595" y="742"/>
                  </a:lnTo>
                  <a:lnTo>
                    <a:pt x="595" y="738"/>
                  </a:lnTo>
                  <a:lnTo>
                    <a:pt x="599" y="738"/>
                  </a:lnTo>
                  <a:lnTo>
                    <a:pt x="607" y="734"/>
                  </a:lnTo>
                  <a:lnTo>
                    <a:pt x="607" y="730"/>
                  </a:lnTo>
                  <a:lnTo>
                    <a:pt x="603" y="730"/>
                  </a:lnTo>
                  <a:lnTo>
                    <a:pt x="599" y="730"/>
                  </a:lnTo>
                  <a:lnTo>
                    <a:pt x="595" y="730"/>
                  </a:lnTo>
                  <a:lnTo>
                    <a:pt x="595" y="734"/>
                  </a:lnTo>
                  <a:lnTo>
                    <a:pt x="591" y="734"/>
                  </a:lnTo>
                  <a:lnTo>
                    <a:pt x="591" y="730"/>
                  </a:lnTo>
                  <a:lnTo>
                    <a:pt x="591" y="726"/>
                  </a:lnTo>
                  <a:lnTo>
                    <a:pt x="591" y="722"/>
                  </a:lnTo>
                  <a:lnTo>
                    <a:pt x="595" y="722"/>
                  </a:lnTo>
                  <a:lnTo>
                    <a:pt x="595" y="718"/>
                  </a:lnTo>
                  <a:lnTo>
                    <a:pt x="591" y="718"/>
                  </a:lnTo>
                  <a:lnTo>
                    <a:pt x="595" y="718"/>
                  </a:lnTo>
                  <a:lnTo>
                    <a:pt x="599" y="718"/>
                  </a:lnTo>
                  <a:lnTo>
                    <a:pt x="603" y="714"/>
                  </a:lnTo>
                  <a:lnTo>
                    <a:pt x="603" y="710"/>
                  </a:lnTo>
                  <a:lnTo>
                    <a:pt x="607" y="710"/>
                  </a:lnTo>
                  <a:lnTo>
                    <a:pt x="607" y="714"/>
                  </a:lnTo>
                  <a:lnTo>
                    <a:pt x="611" y="714"/>
                  </a:lnTo>
                  <a:lnTo>
                    <a:pt x="615" y="714"/>
                  </a:lnTo>
                  <a:lnTo>
                    <a:pt x="619" y="714"/>
                  </a:lnTo>
                  <a:lnTo>
                    <a:pt x="619" y="718"/>
                  </a:lnTo>
                  <a:lnTo>
                    <a:pt x="619" y="726"/>
                  </a:lnTo>
                  <a:lnTo>
                    <a:pt x="619" y="730"/>
                  </a:lnTo>
                  <a:lnTo>
                    <a:pt x="619" y="734"/>
                  </a:lnTo>
                  <a:lnTo>
                    <a:pt x="619" y="742"/>
                  </a:lnTo>
                  <a:lnTo>
                    <a:pt x="619" y="746"/>
                  </a:lnTo>
                  <a:lnTo>
                    <a:pt x="619" y="754"/>
                  </a:lnTo>
                  <a:lnTo>
                    <a:pt x="619" y="758"/>
                  </a:lnTo>
                  <a:lnTo>
                    <a:pt x="619" y="766"/>
                  </a:lnTo>
                  <a:close/>
                  <a:moveTo>
                    <a:pt x="547" y="730"/>
                  </a:moveTo>
                  <a:lnTo>
                    <a:pt x="551" y="730"/>
                  </a:lnTo>
                  <a:lnTo>
                    <a:pt x="547" y="730"/>
                  </a:lnTo>
                  <a:lnTo>
                    <a:pt x="543" y="730"/>
                  </a:lnTo>
                  <a:lnTo>
                    <a:pt x="539" y="726"/>
                  </a:lnTo>
                  <a:lnTo>
                    <a:pt x="535" y="726"/>
                  </a:lnTo>
                  <a:lnTo>
                    <a:pt x="531" y="726"/>
                  </a:lnTo>
                  <a:lnTo>
                    <a:pt x="531" y="722"/>
                  </a:lnTo>
                  <a:lnTo>
                    <a:pt x="527" y="722"/>
                  </a:lnTo>
                  <a:lnTo>
                    <a:pt x="527" y="718"/>
                  </a:lnTo>
                  <a:lnTo>
                    <a:pt x="523" y="718"/>
                  </a:lnTo>
                  <a:lnTo>
                    <a:pt x="527" y="718"/>
                  </a:lnTo>
                  <a:lnTo>
                    <a:pt x="531" y="718"/>
                  </a:lnTo>
                  <a:lnTo>
                    <a:pt x="531" y="722"/>
                  </a:lnTo>
                  <a:lnTo>
                    <a:pt x="535" y="722"/>
                  </a:lnTo>
                  <a:lnTo>
                    <a:pt x="539" y="722"/>
                  </a:lnTo>
                  <a:lnTo>
                    <a:pt x="539" y="726"/>
                  </a:lnTo>
                  <a:lnTo>
                    <a:pt x="543" y="726"/>
                  </a:lnTo>
                  <a:lnTo>
                    <a:pt x="543" y="730"/>
                  </a:lnTo>
                  <a:lnTo>
                    <a:pt x="543" y="726"/>
                  </a:lnTo>
                  <a:lnTo>
                    <a:pt x="547" y="730"/>
                  </a:lnTo>
                  <a:close/>
                  <a:moveTo>
                    <a:pt x="543" y="722"/>
                  </a:moveTo>
                  <a:lnTo>
                    <a:pt x="539" y="722"/>
                  </a:lnTo>
                  <a:lnTo>
                    <a:pt x="539" y="718"/>
                  </a:lnTo>
                  <a:lnTo>
                    <a:pt x="543" y="718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22"/>
                  </a:lnTo>
                  <a:close/>
                  <a:moveTo>
                    <a:pt x="535" y="730"/>
                  </a:moveTo>
                  <a:lnTo>
                    <a:pt x="531" y="730"/>
                  </a:lnTo>
                  <a:lnTo>
                    <a:pt x="535" y="730"/>
                  </a:lnTo>
                  <a:close/>
                  <a:moveTo>
                    <a:pt x="547" y="742"/>
                  </a:moveTo>
                  <a:lnTo>
                    <a:pt x="547" y="738"/>
                  </a:lnTo>
                  <a:lnTo>
                    <a:pt x="543" y="738"/>
                  </a:lnTo>
                  <a:lnTo>
                    <a:pt x="543" y="742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47" y="738"/>
                  </a:lnTo>
                  <a:lnTo>
                    <a:pt x="551" y="738"/>
                  </a:lnTo>
                  <a:lnTo>
                    <a:pt x="547" y="738"/>
                  </a:lnTo>
                  <a:lnTo>
                    <a:pt x="543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51" y="738"/>
                  </a:lnTo>
                  <a:lnTo>
                    <a:pt x="555" y="738"/>
                  </a:lnTo>
                  <a:lnTo>
                    <a:pt x="555" y="734"/>
                  </a:lnTo>
                  <a:lnTo>
                    <a:pt x="555" y="738"/>
                  </a:lnTo>
                  <a:lnTo>
                    <a:pt x="559" y="734"/>
                  </a:lnTo>
                  <a:lnTo>
                    <a:pt x="559" y="738"/>
                  </a:lnTo>
                  <a:lnTo>
                    <a:pt x="559" y="742"/>
                  </a:lnTo>
                  <a:lnTo>
                    <a:pt x="559" y="738"/>
                  </a:lnTo>
                  <a:lnTo>
                    <a:pt x="563" y="738"/>
                  </a:lnTo>
                  <a:lnTo>
                    <a:pt x="563" y="742"/>
                  </a:lnTo>
                  <a:lnTo>
                    <a:pt x="559" y="742"/>
                  </a:lnTo>
                  <a:lnTo>
                    <a:pt x="559" y="746"/>
                  </a:lnTo>
                  <a:lnTo>
                    <a:pt x="563" y="746"/>
                  </a:lnTo>
                  <a:lnTo>
                    <a:pt x="559" y="746"/>
                  </a:lnTo>
                  <a:lnTo>
                    <a:pt x="559" y="750"/>
                  </a:lnTo>
                  <a:lnTo>
                    <a:pt x="555" y="746"/>
                  </a:lnTo>
                  <a:lnTo>
                    <a:pt x="555" y="750"/>
                  </a:lnTo>
                  <a:lnTo>
                    <a:pt x="551" y="750"/>
                  </a:lnTo>
                  <a:lnTo>
                    <a:pt x="551" y="746"/>
                  </a:lnTo>
                  <a:lnTo>
                    <a:pt x="555" y="746"/>
                  </a:lnTo>
                  <a:lnTo>
                    <a:pt x="555" y="742"/>
                  </a:lnTo>
                  <a:lnTo>
                    <a:pt x="551" y="742"/>
                  </a:lnTo>
                  <a:lnTo>
                    <a:pt x="551" y="746"/>
                  </a:lnTo>
                  <a:lnTo>
                    <a:pt x="547" y="746"/>
                  </a:lnTo>
                  <a:lnTo>
                    <a:pt x="547" y="742"/>
                  </a:lnTo>
                  <a:close/>
                  <a:moveTo>
                    <a:pt x="539" y="738"/>
                  </a:moveTo>
                  <a:lnTo>
                    <a:pt x="539" y="734"/>
                  </a:lnTo>
                  <a:lnTo>
                    <a:pt x="539" y="738"/>
                  </a:lnTo>
                  <a:close/>
                  <a:moveTo>
                    <a:pt x="587" y="750"/>
                  </a:moveTo>
                  <a:lnTo>
                    <a:pt x="583" y="750"/>
                  </a:lnTo>
                  <a:lnTo>
                    <a:pt x="583" y="746"/>
                  </a:lnTo>
                  <a:lnTo>
                    <a:pt x="583" y="742"/>
                  </a:lnTo>
                  <a:lnTo>
                    <a:pt x="587" y="742"/>
                  </a:lnTo>
                  <a:lnTo>
                    <a:pt x="587" y="738"/>
                  </a:lnTo>
                  <a:lnTo>
                    <a:pt x="587" y="734"/>
                  </a:lnTo>
                  <a:lnTo>
                    <a:pt x="591" y="734"/>
                  </a:lnTo>
                  <a:lnTo>
                    <a:pt x="591" y="738"/>
                  </a:lnTo>
                  <a:lnTo>
                    <a:pt x="587" y="738"/>
                  </a:lnTo>
                  <a:lnTo>
                    <a:pt x="591" y="742"/>
                  </a:lnTo>
                  <a:lnTo>
                    <a:pt x="591" y="746"/>
                  </a:lnTo>
                  <a:lnTo>
                    <a:pt x="587" y="746"/>
                  </a:lnTo>
                  <a:lnTo>
                    <a:pt x="587" y="742"/>
                  </a:lnTo>
                  <a:lnTo>
                    <a:pt x="587" y="746"/>
                  </a:lnTo>
                  <a:lnTo>
                    <a:pt x="587" y="750"/>
                  </a:lnTo>
                  <a:close/>
                  <a:moveTo>
                    <a:pt x="571" y="746"/>
                  </a:moveTo>
                  <a:lnTo>
                    <a:pt x="571" y="750"/>
                  </a:lnTo>
                  <a:lnTo>
                    <a:pt x="567" y="750"/>
                  </a:lnTo>
                  <a:lnTo>
                    <a:pt x="567" y="746"/>
                  </a:lnTo>
                  <a:lnTo>
                    <a:pt x="567" y="750"/>
                  </a:lnTo>
                  <a:lnTo>
                    <a:pt x="571" y="750"/>
                  </a:lnTo>
                  <a:lnTo>
                    <a:pt x="567" y="754"/>
                  </a:lnTo>
                  <a:lnTo>
                    <a:pt x="567" y="750"/>
                  </a:lnTo>
                  <a:lnTo>
                    <a:pt x="563" y="750"/>
                  </a:lnTo>
                  <a:lnTo>
                    <a:pt x="563" y="746"/>
                  </a:lnTo>
                  <a:lnTo>
                    <a:pt x="567" y="746"/>
                  </a:lnTo>
                  <a:lnTo>
                    <a:pt x="567" y="742"/>
                  </a:lnTo>
                  <a:lnTo>
                    <a:pt x="571" y="742"/>
                  </a:lnTo>
                  <a:lnTo>
                    <a:pt x="571" y="746"/>
                  </a:lnTo>
                  <a:close/>
                  <a:moveTo>
                    <a:pt x="575" y="746"/>
                  </a:moveTo>
                  <a:lnTo>
                    <a:pt x="579" y="746"/>
                  </a:lnTo>
                  <a:lnTo>
                    <a:pt x="583" y="750"/>
                  </a:lnTo>
                  <a:lnTo>
                    <a:pt x="583" y="754"/>
                  </a:lnTo>
                  <a:lnTo>
                    <a:pt x="579" y="754"/>
                  </a:lnTo>
                  <a:lnTo>
                    <a:pt x="575" y="754"/>
                  </a:lnTo>
                  <a:lnTo>
                    <a:pt x="575" y="750"/>
                  </a:lnTo>
                  <a:lnTo>
                    <a:pt x="571" y="750"/>
                  </a:lnTo>
                  <a:lnTo>
                    <a:pt x="571" y="746"/>
                  </a:lnTo>
                  <a:lnTo>
                    <a:pt x="575" y="746"/>
                  </a:lnTo>
                  <a:close/>
                  <a:moveTo>
                    <a:pt x="547" y="750"/>
                  </a:moveTo>
                  <a:lnTo>
                    <a:pt x="543" y="746"/>
                  </a:lnTo>
                  <a:lnTo>
                    <a:pt x="547" y="746"/>
                  </a:lnTo>
                  <a:lnTo>
                    <a:pt x="547" y="750"/>
                  </a:lnTo>
                  <a:close/>
                  <a:moveTo>
                    <a:pt x="591" y="750"/>
                  </a:moveTo>
                  <a:lnTo>
                    <a:pt x="587" y="746"/>
                  </a:lnTo>
                  <a:lnTo>
                    <a:pt x="591" y="746"/>
                  </a:lnTo>
                  <a:lnTo>
                    <a:pt x="591" y="750"/>
                  </a:lnTo>
                  <a:close/>
                  <a:moveTo>
                    <a:pt x="563" y="746"/>
                  </a:moveTo>
                  <a:lnTo>
                    <a:pt x="563" y="750"/>
                  </a:lnTo>
                  <a:lnTo>
                    <a:pt x="559" y="750"/>
                  </a:lnTo>
                  <a:lnTo>
                    <a:pt x="559" y="746"/>
                  </a:lnTo>
                  <a:lnTo>
                    <a:pt x="563" y="746"/>
                  </a:lnTo>
                  <a:close/>
                  <a:moveTo>
                    <a:pt x="559" y="754"/>
                  </a:moveTo>
                  <a:lnTo>
                    <a:pt x="563" y="754"/>
                  </a:lnTo>
                  <a:lnTo>
                    <a:pt x="559" y="754"/>
                  </a:lnTo>
                  <a:close/>
                  <a:moveTo>
                    <a:pt x="579" y="766"/>
                  </a:moveTo>
                  <a:lnTo>
                    <a:pt x="575" y="766"/>
                  </a:lnTo>
                  <a:lnTo>
                    <a:pt x="579" y="766"/>
                  </a:lnTo>
                  <a:lnTo>
                    <a:pt x="583" y="766"/>
                  </a:lnTo>
                  <a:lnTo>
                    <a:pt x="579" y="766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599" y="770"/>
                  </a:moveTo>
                  <a:lnTo>
                    <a:pt x="599" y="766"/>
                  </a:lnTo>
                  <a:lnTo>
                    <a:pt x="603" y="766"/>
                  </a:lnTo>
                  <a:lnTo>
                    <a:pt x="607" y="766"/>
                  </a:lnTo>
                  <a:lnTo>
                    <a:pt x="611" y="770"/>
                  </a:lnTo>
                  <a:lnTo>
                    <a:pt x="607" y="770"/>
                  </a:lnTo>
                  <a:lnTo>
                    <a:pt x="603" y="770"/>
                  </a:lnTo>
                  <a:lnTo>
                    <a:pt x="599" y="770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87" y="770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3" y="770"/>
                  </a:lnTo>
                  <a:lnTo>
                    <a:pt x="583" y="766"/>
                  </a:lnTo>
                  <a:lnTo>
                    <a:pt x="587" y="770"/>
                  </a:ln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627" y="766"/>
                  </a:moveTo>
                  <a:lnTo>
                    <a:pt x="631" y="766"/>
                  </a:lnTo>
                  <a:lnTo>
                    <a:pt x="635" y="766"/>
                  </a:lnTo>
                  <a:lnTo>
                    <a:pt x="639" y="766"/>
                  </a:lnTo>
                  <a:lnTo>
                    <a:pt x="639" y="770"/>
                  </a:lnTo>
                  <a:lnTo>
                    <a:pt x="643" y="770"/>
                  </a:lnTo>
                  <a:lnTo>
                    <a:pt x="643" y="774"/>
                  </a:lnTo>
                  <a:lnTo>
                    <a:pt x="639" y="774"/>
                  </a:lnTo>
                  <a:lnTo>
                    <a:pt x="639" y="778"/>
                  </a:lnTo>
                  <a:lnTo>
                    <a:pt x="635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23" y="774"/>
                  </a:lnTo>
                  <a:lnTo>
                    <a:pt x="623" y="770"/>
                  </a:lnTo>
                  <a:lnTo>
                    <a:pt x="623" y="766"/>
                  </a:lnTo>
                  <a:lnTo>
                    <a:pt x="627" y="766"/>
                  </a:lnTo>
                  <a:close/>
                  <a:moveTo>
                    <a:pt x="595" y="770"/>
                  </a:moveTo>
                  <a:lnTo>
                    <a:pt x="595" y="766"/>
                  </a:lnTo>
                  <a:lnTo>
                    <a:pt x="595" y="770"/>
                  </a:lnTo>
                  <a:close/>
                  <a:moveTo>
                    <a:pt x="627" y="786"/>
                  </a:moveTo>
                  <a:lnTo>
                    <a:pt x="623" y="786"/>
                  </a:lnTo>
                  <a:lnTo>
                    <a:pt x="623" y="782"/>
                  </a:lnTo>
                  <a:lnTo>
                    <a:pt x="619" y="782"/>
                  </a:lnTo>
                  <a:lnTo>
                    <a:pt x="619" y="778"/>
                  </a:lnTo>
                  <a:lnTo>
                    <a:pt x="615" y="778"/>
                  </a:lnTo>
                  <a:lnTo>
                    <a:pt x="615" y="782"/>
                  </a:lnTo>
                  <a:lnTo>
                    <a:pt x="611" y="778"/>
                  </a:lnTo>
                  <a:lnTo>
                    <a:pt x="615" y="778"/>
                  </a:lnTo>
                  <a:lnTo>
                    <a:pt x="611" y="778"/>
                  </a:lnTo>
                  <a:lnTo>
                    <a:pt x="615" y="774"/>
                  </a:lnTo>
                  <a:lnTo>
                    <a:pt x="611" y="774"/>
                  </a:lnTo>
                  <a:lnTo>
                    <a:pt x="607" y="774"/>
                  </a:lnTo>
                  <a:lnTo>
                    <a:pt x="607" y="778"/>
                  </a:lnTo>
                  <a:lnTo>
                    <a:pt x="611" y="778"/>
                  </a:lnTo>
                  <a:lnTo>
                    <a:pt x="611" y="782"/>
                  </a:lnTo>
                  <a:lnTo>
                    <a:pt x="607" y="782"/>
                  </a:lnTo>
                  <a:lnTo>
                    <a:pt x="603" y="778"/>
                  </a:lnTo>
                  <a:lnTo>
                    <a:pt x="607" y="778"/>
                  </a:lnTo>
                  <a:lnTo>
                    <a:pt x="603" y="778"/>
                  </a:lnTo>
                  <a:lnTo>
                    <a:pt x="599" y="778"/>
                  </a:lnTo>
                  <a:lnTo>
                    <a:pt x="603" y="774"/>
                  </a:lnTo>
                  <a:lnTo>
                    <a:pt x="599" y="774"/>
                  </a:lnTo>
                  <a:lnTo>
                    <a:pt x="595" y="774"/>
                  </a:lnTo>
                  <a:lnTo>
                    <a:pt x="599" y="770"/>
                  </a:lnTo>
                  <a:lnTo>
                    <a:pt x="603" y="770"/>
                  </a:lnTo>
                  <a:lnTo>
                    <a:pt x="607" y="770"/>
                  </a:lnTo>
                  <a:lnTo>
                    <a:pt x="611" y="770"/>
                  </a:lnTo>
                  <a:lnTo>
                    <a:pt x="615" y="770"/>
                  </a:lnTo>
                  <a:lnTo>
                    <a:pt x="615" y="766"/>
                  </a:lnTo>
                  <a:lnTo>
                    <a:pt x="619" y="766"/>
                  </a:lnTo>
                  <a:lnTo>
                    <a:pt x="623" y="770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5" y="770"/>
                  </a:lnTo>
                  <a:lnTo>
                    <a:pt x="611" y="770"/>
                  </a:lnTo>
                  <a:lnTo>
                    <a:pt x="615" y="774"/>
                  </a:lnTo>
                  <a:lnTo>
                    <a:pt x="619" y="774"/>
                  </a:lnTo>
                  <a:lnTo>
                    <a:pt x="623" y="774"/>
                  </a:lnTo>
                  <a:lnTo>
                    <a:pt x="619" y="778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9" y="778"/>
                  </a:lnTo>
                  <a:lnTo>
                    <a:pt x="623" y="778"/>
                  </a:lnTo>
                  <a:lnTo>
                    <a:pt x="623" y="782"/>
                  </a:lnTo>
                  <a:lnTo>
                    <a:pt x="627" y="778"/>
                  </a:lnTo>
                  <a:lnTo>
                    <a:pt x="627" y="782"/>
                  </a:lnTo>
                  <a:lnTo>
                    <a:pt x="627" y="786"/>
                  </a:lnTo>
                  <a:close/>
                  <a:moveTo>
                    <a:pt x="643" y="770"/>
                  </a:moveTo>
                  <a:lnTo>
                    <a:pt x="639" y="770"/>
                  </a:lnTo>
                  <a:lnTo>
                    <a:pt x="643" y="770"/>
                  </a:lnTo>
                  <a:close/>
                  <a:moveTo>
                    <a:pt x="647" y="774"/>
                  </a:moveTo>
                  <a:lnTo>
                    <a:pt x="651" y="774"/>
                  </a:lnTo>
                  <a:lnTo>
                    <a:pt x="647" y="774"/>
                  </a:lnTo>
                  <a:close/>
                  <a:moveTo>
                    <a:pt x="643" y="774"/>
                  </a:moveTo>
                  <a:lnTo>
                    <a:pt x="643" y="778"/>
                  </a:lnTo>
                  <a:lnTo>
                    <a:pt x="639" y="774"/>
                  </a:lnTo>
                  <a:lnTo>
                    <a:pt x="643" y="774"/>
                  </a:lnTo>
                  <a:close/>
                  <a:moveTo>
                    <a:pt x="631" y="782"/>
                  </a:moveTo>
                  <a:lnTo>
                    <a:pt x="635" y="782"/>
                  </a:lnTo>
                  <a:lnTo>
                    <a:pt x="631" y="782"/>
                  </a:lnTo>
                  <a:close/>
                  <a:moveTo>
                    <a:pt x="635" y="786"/>
                  </a:moveTo>
                  <a:lnTo>
                    <a:pt x="635" y="782"/>
                  </a:lnTo>
                  <a:lnTo>
                    <a:pt x="639" y="786"/>
                  </a:lnTo>
                  <a:lnTo>
                    <a:pt x="635" y="786"/>
                  </a:lnTo>
                  <a:close/>
                  <a:moveTo>
                    <a:pt x="631" y="790"/>
                  </a:moveTo>
                  <a:lnTo>
                    <a:pt x="635" y="790"/>
                  </a:lnTo>
                  <a:lnTo>
                    <a:pt x="635" y="786"/>
                  </a:lnTo>
                  <a:lnTo>
                    <a:pt x="635" y="790"/>
                  </a:lnTo>
                  <a:lnTo>
                    <a:pt x="631" y="790"/>
                  </a:lnTo>
                  <a:close/>
                  <a:moveTo>
                    <a:pt x="639" y="790"/>
                  </a:moveTo>
                  <a:lnTo>
                    <a:pt x="635" y="790"/>
                  </a:lnTo>
                  <a:lnTo>
                    <a:pt x="639" y="79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30" name="Freeform 183">
              <a:extLst>
                <a:ext uri="{FF2B5EF4-FFF2-40B4-BE49-F238E27FC236}">
                  <a16:creationId xmlns:a16="http://schemas.microsoft.com/office/drawing/2014/main" xmlns="" id="{30A00B9B-8A05-4CF8-8904-66C00A597AA6}"/>
                </a:ext>
              </a:extLst>
            </p:cNvPr>
            <p:cNvSpPr>
              <a:spLocks noEditPoints="1"/>
            </p:cNvSpPr>
            <p:nvPr>
              <p:custDataLst>
                <p:tags r:id="rId182"/>
              </p:custDataLst>
            </p:nvPr>
          </p:nvSpPr>
          <p:spPr bwMode="gray">
            <a:xfrm>
              <a:off x="7540919" y="4634514"/>
              <a:ext cx="336655" cy="277332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83" y="16"/>
                </a:cxn>
                <a:cxn ang="0">
                  <a:pos x="139" y="24"/>
                </a:cxn>
                <a:cxn ang="0">
                  <a:pos x="179" y="43"/>
                </a:cxn>
                <a:cxn ang="0">
                  <a:pos x="179" y="59"/>
                </a:cxn>
                <a:cxn ang="0">
                  <a:pos x="167" y="35"/>
                </a:cxn>
                <a:cxn ang="0">
                  <a:pos x="151" y="24"/>
                </a:cxn>
                <a:cxn ang="0">
                  <a:pos x="155" y="28"/>
                </a:cxn>
                <a:cxn ang="0">
                  <a:pos x="175" y="39"/>
                </a:cxn>
                <a:cxn ang="0">
                  <a:pos x="71" y="119"/>
                </a:cxn>
                <a:cxn ang="0">
                  <a:pos x="56" y="115"/>
                </a:cxn>
                <a:cxn ang="0">
                  <a:pos x="44" y="111"/>
                </a:cxn>
                <a:cxn ang="0">
                  <a:pos x="40" y="119"/>
                </a:cxn>
                <a:cxn ang="0">
                  <a:pos x="24" y="127"/>
                </a:cxn>
                <a:cxn ang="0">
                  <a:pos x="28" y="127"/>
                </a:cxn>
                <a:cxn ang="0">
                  <a:pos x="28" y="143"/>
                </a:cxn>
                <a:cxn ang="0">
                  <a:pos x="4" y="143"/>
                </a:cxn>
                <a:cxn ang="0">
                  <a:pos x="0" y="63"/>
                </a:cxn>
                <a:cxn ang="0">
                  <a:pos x="16" y="31"/>
                </a:cxn>
                <a:cxn ang="0">
                  <a:pos x="40" y="39"/>
                </a:cxn>
                <a:cxn ang="0">
                  <a:pos x="59" y="47"/>
                </a:cxn>
                <a:cxn ang="0">
                  <a:pos x="71" y="67"/>
                </a:cxn>
                <a:cxn ang="0">
                  <a:pos x="87" y="79"/>
                </a:cxn>
                <a:cxn ang="0">
                  <a:pos x="103" y="91"/>
                </a:cxn>
                <a:cxn ang="0">
                  <a:pos x="91" y="107"/>
                </a:cxn>
                <a:cxn ang="0">
                  <a:pos x="107" y="119"/>
                </a:cxn>
                <a:cxn ang="0">
                  <a:pos x="115" y="139"/>
                </a:cxn>
                <a:cxn ang="0">
                  <a:pos x="127" y="147"/>
                </a:cxn>
                <a:cxn ang="0">
                  <a:pos x="139" y="159"/>
                </a:cxn>
                <a:cxn ang="0">
                  <a:pos x="147" y="163"/>
                </a:cxn>
                <a:cxn ang="0">
                  <a:pos x="139" y="167"/>
                </a:cxn>
                <a:cxn ang="0">
                  <a:pos x="123" y="163"/>
                </a:cxn>
                <a:cxn ang="0">
                  <a:pos x="99" y="151"/>
                </a:cxn>
                <a:cxn ang="0">
                  <a:pos x="91" y="139"/>
                </a:cxn>
                <a:cxn ang="0">
                  <a:pos x="151" y="28"/>
                </a:cxn>
                <a:cxn ang="0">
                  <a:pos x="131" y="75"/>
                </a:cxn>
                <a:cxn ang="0">
                  <a:pos x="135" y="71"/>
                </a:cxn>
                <a:cxn ang="0">
                  <a:pos x="151" y="71"/>
                </a:cxn>
                <a:cxn ang="0">
                  <a:pos x="159" y="51"/>
                </a:cxn>
                <a:cxn ang="0">
                  <a:pos x="171" y="59"/>
                </a:cxn>
                <a:cxn ang="0">
                  <a:pos x="159" y="75"/>
                </a:cxn>
                <a:cxn ang="0">
                  <a:pos x="143" y="87"/>
                </a:cxn>
                <a:cxn ang="0">
                  <a:pos x="123" y="83"/>
                </a:cxn>
                <a:cxn ang="0">
                  <a:pos x="111" y="75"/>
                </a:cxn>
                <a:cxn ang="0">
                  <a:pos x="207" y="75"/>
                </a:cxn>
                <a:cxn ang="0">
                  <a:pos x="207" y="75"/>
                </a:cxn>
                <a:cxn ang="0">
                  <a:pos x="223" y="87"/>
                </a:cxn>
                <a:cxn ang="0">
                  <a:pos x="215" y="95"/>
                </a:cxn>
                <a:cxn ang="0">
                  <a:pos x="207" y="75"/>
                </a:cxn>
                <a:cxn ang="0">
                  <a:pos x="107" y="75"/>
                </a:cxn>
                <a:cxn ang="0">
                  <a:pos x="36" y="131"/>
                </a:cxn>
                <a:cxn ang="0">
                  <a:pos x="155" y="135"/>
                </a:cxn>
                <a:cxn ang="0">
                  <a:pos x="179" y="143"/>
                </a:cxn>
                <a:cxn ang="0">
                  <a:pos x="36" y="143"/>
                </a:cxn>
                <a:cxn ang="0">
                  <a:pos x="147" y="151"/>
                </a:cxn>
                <a:cxn ang="0">
                  <a:pos x="151" y="151"/>
                </a:cxn>
                <a:cxn ang="0">
                  <a:pos x="151" y="155"/>
                </a:cxn>
                <a:cxn ang="0">
                  <a:pos x="151" y="167"/>
                </a:cxn>
                <a:cxn ang="0">
                  <a:pos x="195" y="183"/>
                </a:cxn>
                <a:cxn ang="0">
                  <a:pos x="187" y="187"/>
                </a:cxn>
                <a:cxn ang="0">
                  <a:pos x="191" y="187"/>
                </a:cxn>
              </a:cxnLst>
              <a:rect l="0" t="0" r="r" b="b"/>
              <a:pathLst>
                <a:path w="227" h="187">
                  <a:moveTo>
                    <a:pt x="131" y="4"/>
                  </a:moveTo>
                  <a:lnTo>
                    <a:pt x="131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close/>
                  <a:moveTo>
                    <a:pt x="95" y="8"/>
                  </a:moveTo>
                  <a:lnTo>
                    <a:pt x="95" y="12"/>
                  </a:lnTo>
                  <a:lnTo>
                    <a:pt x="99" y="12"/>
                  </a:lnTo>
                  <a:lnTo>
                    <a:pt x="95" y="12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12"/>
                  </a:lnTo>
                  <a:lnTo>
                    <a:pt x="83" y="16"/>
                  </a:lnTo>
                  <a:lnTo>
                    <a:pt x="83" y="12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8"/>
                  </a:lnTo>
                  <a:close/>
                  <a:moveTo>
                    <a:pt x="143" y="24"/>
                  </a:moveTo>
                  <a:lnTo>
                    <a:pt x="139" y="24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20"/>
                  </a:lnTo>
                  <a:lnTo>
                    <a:pt x="143" y="24"/>
                  </a:lnTo>
                  <a:close/>
                  <a:moveTo>
                    <a:pt x="175" y="43"/>
                  </a:moveTo>
                  <a:lnTo>
                    <a:pt x="179" y="43"/>
                  </a:lnTo>
                  <a:lnTo>
                    <a:pt x="179" y="47"/>
                  </a:lnTo>
                  <a:lnTo>
                    <a:pt x="183" y="47"/>
                  </a:lnTo>
                  <a:lnTo>
                    <a:pt x="183" y="51"/>
                  </a:lnTo>
                  <a:lnTo>
                    <a:pt x="183" y="55"/>
                  </a:lnTo>
                  <a:lnTo>
                    <a:pt x="183" y="59"/>
                  </a:lnTo>
                  <a:lnTo>
                    <a:pt x="179" y="63"/>
                  </a:lnTo>
                  <a:lnTo>
                    <a:pt x="179" y="59"/>
                  </a:lnTo>
                  <a:lnTo>
                    <a:pt x="175" y="55"/>
                  </a:lnTo>
                  <a:lnTo>
                    <a:pt x="175" y="51"/>
                  </a:lnTo>
                  <a:lnTo>
                    <a:pt x="175" y="47"/>
                  </a:lnTo>
                  <a:lnTo>
                    <a:pt x="175" y="43"/>
                  </a:lnTo>
                  <a:lnTo>
                    <a:pt x="171" y="43"/>
                  </a:lnTo>
                  <a:lnTo>
                    <a:pt x="171" y="39"/>
                  </a:lnTo>
                  <a:lnTo>
                    <a:pt x="167" y="35"/>
                  </a:lnTo>
                  <a:lnTo>
                    <a:pt x="163" y="35"/>
                  </a:lnTo>
                  <a:lnTo>
                    <a:pt x="163" y="31"/>
                  </a:lnTo>
                  <a:lnTo>
                    <a:pt x="159" y="31"/>
                  </a:lnTo>
                  <a:lnTo>
                    <a:pt x="159" y="28"/>
                  </a:lnTo>
                  <a:lnTo>
                    <a:pt x="155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47" y="20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31"/>
                  </a:lnTo>
                  <a:lnTo>
                    <a:pt x="167" y="31"/>
                  </a:lnTo>
                  <a:lnTo>
                    <a:pt x="167" y="35"/>
                  </a:lnTo>
                  <a:lnTo>
                    <a:pt x="171" y="35"/>
                  </a:lnTo>
                  <a:lnTo>
                    <a:pt x="171" y="39"/>
                  </a:lnTo>
                  <a:lnTo>
                    <a:pt x="175" y="39"/>
                  </a:lnTo>
                  <a:lnTo>
                    <a:pt x="175" y="43"/>
                  </a:lnTo>
                  <a:close/>
                  <a:moveTo>
                    <a:pt x="79" y="131"/>
                  </a:moveTo>
                  <a:lnTo>
                    <a:pt x="79" y="127"/>
                  </a:lnTo>
                  <a:lnTo>
                    <a:pt x="79" y="123"/>
                  </a:lnTo>
                  <a:lnTo>
                    <a:pt x="75" y="123"/>
                  </a:lnTo>
                  <a:lnTo>
                    <a:pt x="75" y="119"/>
                  </a:lnTo>
                  <a:lnTo>
                    <a:pt x="71" y="119"/>
                  </a:lnTo>
                  <a:lnTo>
                    <a:pt x="67" y="119"/>
                  </a:lnTo>
                  <a:lnTo>
                    <a:pt x="63" y="119"/>
                  </a:lnTo>
                  <a:lnTo>
                    <a:pt x="63" y="115"/>
                  </a:lnTo>
                  <a:lnTo>
                    <a:pt x="59" y="115"/>
                  </a:lnTo>
                  <a:lnTo>
                    <a:pt x="59" y="111"/>
                  </a:lnTo>
                  <a:lnTo>
                    <a:pt x="59" y="115"/>
                  </a:lnTo>
                  <a:lnTo>
                    <a:pt x="56" y="115"/>
                  </a:lnTo>
                  <a:lnTo>
                    <a:pt x="56" y="111"/>
                  </a:lnTo>
                  <a:lnTo>
                    <a:pt x="52" y="111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48" y="115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0" y="111"/>
                  </a:lnTo>
                  <a:lnTo>
                    <a:pt x="44" y="111"/>
                  </a:lnTo>
                  <a:lnTo>
                    <a:pt x="44" y="115"/>
                  </a:lnTo>
                  <a:lnTo>
                    <a:pt x="44" y="119"/>
                  </a:lnTo>
                  <a:lnTo>
                    <a:pt x="40" y="119"/>
                  </a:lnTo>
                  <a:lnTo>
                    <a:pt x="36" y="119"/>
                  </a:lnTo>
                  <a:lnTo>
                    <a:pt x="40" y="119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2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24" y="123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16" y="123"/>
                  </a:lnTo>
                  <a:lnTo>
                    <a:pt x="20" y="123"/>
                  </a:lnTo>
                  <a:lnTo>
                    <a:pt x="20" y="127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32" y="127"/>
                  </a:lnTo>
                  <a:lnTo>
                    <a:pt x="32" y="131"/>
                  </a:lnTo>
                  <a:lnTo>
                    <a:pt x="36" y="131"/>
                  </a:lnTo>
                  <a:lnTo>
                    <a:pt x="36" y="135"/>
                  </a:lnTo>
                  <a:lnTo>
                    <a:pt x="36" y="139"/>
                  </a:lnTo>
                  <a:lnTo>
                    <a:pt x="32" y="139"/>
                  </a:lnTo>
                  <a:lnTo>
                    <a:pt x="28" y="143"/>
                  </a:lnTo>
                  <a:lnTo>
                    <a:pt x="24" y="143"/>
                  </a:lnTo>
                  <a:lnTo>
                    <a:pt x="20" y="143"/>
                  </a:lnTo>
                  <a:lnTo>
                    <a:pt x="16" y="143"/>
                  </a:lnTo>
                  <a:lnTo>
                    <a:pt x="12" y="143"/>
                  </a:lnTo>
                  <a:lnTo>
                    <a:pt x="8" y="143"/>
                  </a:lnTo>
                  <a:lnTo>
                    <a:pt x="8" y="139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0" y="91"/>
                  </a:lnTo>
                  <a:lnTo>
                    <a:pt x="0" y="83"/>
                  </a:lnTo>
                  <a:lnTo>
                    <a:pt x="0" y="63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6" y="35"/>
                  </a:lnTo>
                  <a:lnTo>
                    <a:pt x="40" y="35"/>
                  </a:lnTo>
                  <a:lnTo>
                    <a:pt x="40" y="39"/>
                  </a:lnTo>
                  <a:lnTo>
                    <a:pt x="44" y="39"/>
                  </a:lnTo>
                  <a:lnTo>
                    <a:pt x="44" y="43"/>
                  </a:lnTo>
                  <a:lnTo>
                    <a:pt x="48" y="43"/>
                  </a:lnTo>
                  <a:lnTo>
                    <a:pt x="52" y="43"/>
                  </a:lnTo>
                  <a:lnTo>
                    <a:pt x="56" y="43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51"/>
                  </a:lnTo>
                  <a:lnTo>
                    <a:pt x="63" y="55"/>
                  </a:lnTo>
                  <a:lnTo>
                    <a:pt x="67" y="55"/>
                  </a:lnTo>
                  <a:lnTo>
                    <a:pt x="67" y="59"/>
                  </a:lnTo>
                  <a:lnTo>
                    <a:pt x="71" y="59"/>
                  </a:lnTo>
                  <a:lnTo>
                    <a:pt x="71" y="63"/>
                  </a:lnTo>
                  <a:lnTo>
                    <a:pt x="71" y="67"/>
                  </a:lnTo>
                  <a:lnTo>
                    <a:pt x="71" y="71"/>
                  </a:lnTo>
                  <a:lnTo>
                    <a:pt x="71" y="75"/>
                  </a:lnTo>
                  <a:lnTo>
                    <a:pt x="75" y="75"/>
                  </a:lnTo>
                  <a:lnTo>
                    <a:pt x="79" y="75"/>
                  </a:lnTo>
                  <a:lnTo>
                    <a:pt x="83" y="75"/>
                  </a:lnTo>
                  <a:lnTo>
                    <a:pt x="83" y="79"/>
                  </a:lnTo>
                  <a:lnTo>
                    <a:pt x="87" y="79"/>
                  </a:lnTo>
                  <a:lnTo>
                    <a:pt x="91" y="79"/>
                  </a:lnTo>
                  <a:lnTo>
                    <a:pt x="91" y="83"/>
                  </a:lnTo>
                  <a:lnTo>
                    <a:pt x="95" y="83"/>
                  </a:lnTo>
                  <a:lnTo>
                    <a:pt x="99" y="83"/>
                  </a:lnTo>
                  <a:lnTo>
                    <a:pt x="99" y="87"/>
                  </a:lnTo>
                  <a:lnTo>
                    <a:pt x="103" y="87"/>
                  </a:lnTo>
                  <a:lnTo>
                    <a:pt x="103" y="91"/>
                  </a:lnTo>
                  <a:lnTo>
                    <a:pt x="103" y="95"/>
                  </a:lnTo>
                  <a:lnTo>
                    <a:pt x="99" y="95"/>
                  </a:lnTo>
                  <a:lnTo>
                    <a:pt x="95" y="95"/>
                  </a:lnTo>
                  <a:lnTo>
                    <a:pt x="91" y="95"/>
                  </a:lnTo>
                  <a:lnTo>
                    <a:pt x="91" y="99"/>
                  </a:lnTo>
                  <a:lnTo>
                    <a:pt x="91" y="103"/>
                  </a:lnTo>
                  <a:lnTo>
                    <a:pt x="91" y="107"/>
                  </a:lnTo>
                  <a:lnTo>
                    <a:pt x="95" y="111"/>
                  </a:lnTo>
                  <a:lnTo>
                    <a:pt x="99" y="111"/>
                  </a:lnTo>
                  <a:lnTo>
                    <a:pt x="99" y="115"/>
                  </a:lnTo>
                  <a:lnTo>
                    <a:pt x="103" y="119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27"/>
                  </a:lnTo>
                  <a:lnTo>
                    <a:pt x="107" y="131"/>
                  </a:lnTo>
                  <a:lnTo>
                    <a:pt x="111" y="131"/>
                  </a:lnTo>
                  <a:lnTo>
                    <a:pt x="111" y="135"/>
                  </a:lnTo>
                  <a:lnTo>
                    <a:pt x="115" y="135"/>
                  </a:lnTo>
                  <a:lnTo>
                    <a:pt x="115" y="139"/>
                  </a:lnTo>
                  <a:lnTo>
                    <a:pt x="119" y="139"/>
                  </a:lnTo>
                  <a:lnTo>
                    <a:pt x="123" y="139"/>
                  </a:lnTo>
                  <a:lnTo>
                    <a:pt x="127" y="139"/>
                  </a:lnTo>
                  <a:lnTo>
                    <a:pt x="127" y="143"/>
                  </a:lnTo>
                  <a:lnTo>
                    <a:pt x="123" y="143"/>
                  </a:lnTo>
                  <a:lnTo>
                    <a:pt x="123" y="147"/>
                  </a:lnTo>
                  <a:lnTo>
                    <a:pt x="127" y="147"/>
                  </a:lnTo>
                  <a:lnTo>
                    <a:pt x="127" y="151"/>
                  </a:lnTo>
                  <a:lnTo>
                    <a:pt x="131" y="151"/>
                  </a:lnTo>
                  <a:lnTo>
                    <a:pt x="135" y="151"/>
                  </a:lnTo>
                  <a:lnTo>
                    <a:pt x="131" y="151"/>
                  </a:lnTo>
                  <a:lnTo>
                    <a:pt x="131" y="155"/>
                  </a:lnTo>
                  <a:lnTo>
                    <a:pt x="135" y="159"/>
                  </a:lnTo>
                  <a:lnTo>
                    <a:pt x="139" y="159"/>
                  </a:lnTo>
                  <a:lnTo>
                    <a:pt x="143" y="159"/>
                  </a:lnTo>
                  <a:lnTo>
                    <a:pt x="143" y="163"/>
                  </a:lnTo>
                  <a:lnTo>
                    <a:pt x="147" y="163"/>
                  </a:lnTo>
                  <a:lnTo>
                    <a:pt x="147" y="159"/>
                  </a:lnTo>
                  <a:lnTo>
                    <a:pt x="151" y="159"/>
                  </a:lnTo>
                  <a:lnTo>
                    <a:pt x="151" y="163"/>
                  </a:lnTo>
                  <a:lnTo>
                    <a:pt x="147" y="163"/>
                  </a:lnTo>
                  <a:lnTo>
                    <a:pt x="143" y="163"/>
                  </a:lnTo>
                  <a:lnTo>
                    <a:pt x="143" y="167"/>
                  </a:lnTo>
                  <a:lnTo>
                    <a:pt x="147" y="167"/>
                  </a:lnTo>
                  <a:lnTo>
                    <a:pt x="143" y="167"/>
                  </a:lnTo>
                  <a:lnTo>
                    <a:pt x="143" y="171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5" y="163"/>
                  </a:lnTo>
                  <a:lnTo>
                    <a:pt x="131" y="163"/>
                  </a:lnTo>
                  <a:lnTo>
                    <a:pt x="127" y="163"/>
                  </a:lnTo>
                  <a:lnTo>
                    <a:pt x="123" y="163"/>
                  </a:lnTo>
                  <a:lnTo>
                    <a:pt x="119" y="163"/>
                  </a:lnTo>
                  <a:lnTo>
                    <a:pt x="115" y="159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5"/>
                  </a:lnTo>
                  <a:lnTo>
                    <a:pt x="99" y="151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1" y="147"/>
                  </a:lnTo>
                  <a:lnTo>
                    <a:pt x="91" y="143"/>
                  </a:lnTo>
                  <a:lnTo>
                    <a:pt x="87" y="143"/>
                  </a:lnTo>
                  <a:lnTo>
                    <a:pt x="87" y="139"/>
                  </a:lnTo>
                  <a:lnTo>
                    <a:pt x="91" y="139"/>
                  </a:lnTo>
                  <a:lnTo>
                    <a:pt x="87" y="139"/>
                  </a:lnTo>
                  <a:lnTo>
                    <a:pt x="83" y="139"/>
                  </a:lnTo>
                  <a:lnTo>
                    <a:pt x="83" y="135"/>
                  </a:lnTo>
                  <a:lnTo>
                    <a:pt x="83" y="131"/>
                  </a:lnTo>
                  <a:lnTo>
                    <a:pt x="79" y="131"/>
                  </a:lnTo>
                  <a:close/>
                  <a:moveTo>
                    <a:pt x="147" y="28"/>
                  </a:moveTo>
                  <a:lnTo>
                    <a:pt x="151" y="28"/>
                  </a:lnTo>
                  <a:lnTo>
                    <a:pt x="147" y="28"/>
                  </a:lnTo>
                  <a:close/>
                  <a:moveTo>
                    <a:pt x="175" y="31"/>
                  </a:moveTo>
                  <a:lnTo>
                    <a:pt x="175" y="28"/>
                  </a:lnTo>
                  <a:lnTo>
                    <a:pt x="175" y="31"/>
                  </a:lnTo>
                  <a:close/>
                  <a:moveTo>
                    <a:pt x="123" y="75"/>
                  </a:moveTo>
                  <a:lnTo>
                    <a:pt x="127" y="75"/>
                  </a:lnTo>
                  <a:lnTo>
                    <a:pt x="131" y="75"/>
                  </a:lnTo>
                  <a:lnTo>
                    <a:pt x="135" y="75"/>
                  </a:lnTo>
                  <a:lnTo>
                    <a:pt x="135" y="71"/>
                  </a:lnTo>
                  <a:lnTo>
                    <a:pt x="135" y="67"/>
                  </a:lnTo>
                  <a:lnTo>
                    <a:pt x="139" y="63"/>
                  </a:lnTo>
                  <a:lnTo>
                    <a:pt x="139" y="67"/>
                  </a:lnTo>
                  <a:lnTo>
                    <a:pt x="135" y="67"/>
                  </a:lnTo>
                  <a:lnTo>
                    <a:pt x="135" y="71"/>
                  </a:lnTo>
                  <a:lnTo>
                    <a:pt x="139" y="75"/>
                  </a:lnTo>
                  <a:lnTo>
                    <a:pt x="143" y="75"/>
                  </a:lnTo>
                  <a:lnTo>
                    <a:pt x="143" y="71"/>
                  </a:lnTo>
                  <a:lnTo>
                    <a:pt x="143" y="75"/>
                  </a:lnTo>
                  <a:lnTo>
                    <a:pt x="147" y="75"/>
                  </a:lnTo>
                  <a:lnTo>
                    <a:pt x="151" y="75"/>
                  </a:lnTo>
                  <a:lnTo>
                    <a:pt x="151" y="71"/>
                  </a:lnTo>
                  <a:lnTo>
                    <a:pt x="151" y="67"/>
                  </a:lnTo>
                  <a:lnTo>
                    <a:pt x="155" y="63"/>
                  </a:lnTo>
                  <a:lnTo>
                    <a:pt x="159" y="63"/>
                  </a:lnTo>
                  <a:lnTo>
                    <a:pt x="163" y="63"/>
                  </a:lnTo>
                  <a:lnTo>
                    <a:pt x="163" y="59"/>
                  </a:lnTo>
                  <a:lnTo>
                    <a:pt x="159" y="55"/>
                  </a:lnTo>
                  <a:lnTo>
                    <a:pt x="159" y="51"/>
                  </a:lnTo>
                  <a:lnTo>
                    <a:pt x="163" y="51"/>
                  </a:lnTo>
                  <a:lnTo>
                    <a:pt x="167" y="51"/>
                  </a:lnTo>
                  <a:lnTo>
                    <a:pt x="167" y="47"/>
                  </a:lnTo>
                  <a:lnTo>
                    <a:pt x="171" y="51"/>
                  </a:lnTo>
                  <a:lnTo>
                    <a:pt x="167" y="51"/>
                  </a:lnTo>
                  <a:lnTo>
                    <a:pt x="171" y="51"/>
                  </a:lnTo>
                  <a:lnTo>
                    <a:pt x="171" y="59"/>
                  </a:lnTo>
                  <a:lnTo>
                    <a:pt x="171" y="63"/>
                  </a:lnTo>
                  <a:lnTo>
                    <a:pt x="167" y="63"/>
                  </a:lnTo>
                  <a:lnTo>
                    <a:pt x="167" y="67"/>
                  </a:lnTo>
                  <a:lnTo>
                    <a:pt x="167" y="71"/>
                  </a:lnTo>
                  <a:lnTo>
                    <a:pt x="167" y="75"/>
                  </a:lnTo>
                  <a:lnTo>
                    <a:pt x="163" y="75"/>
                  </a:lnTo>
                  <a:lnTo>
                    <a:pt x="159" y="75"/>
                  </a:lnTo>
                  <a:lnTo>
                    <a:pt x="159" y="79"/>
                  </a:lnTo>
                  <a:lnTo>
                    <a:pt x="155" y="79"/>
                  </a:lnTo>
                  <a:lnTo>
                    <a:pt x="155" y="83"/>
                  </a:lnTo>
                  <a:lnTo>
                    <a:pt x="151" y="83"/>
                  </a:lnTo>
                  <a:lnTo>
                    <a:pt x="147" y="83"/>
                  </a:lnTo>
                  <a:lnTo>
                    <a:pt x="147" y="87"/>
                  </a:lnTo>
                  <a:lnTo>
                    <a:pt x="143" y="87"/>
                  </a:lnTo>
                  <a:lnTo>
                    <a:pt x="139" y="87"/>
                  </a:lnTo>
                  <a:lnTo>
                    <a:pt x="135" y="87"/>
                  </a:lnTo>
                  <a:lnTo>
                    <a:pt x="131" y="87"/>
                  </a:lnTo>
                  <a:lnTo>
                    <a:pt x="127" y="87"/>
                  </a:lnTo>
                  <a:lnTo>
                    <a:pt x="127" y="83"/>
                  </a:lnTo>
                  <a:lnTo>
                    <a:pt x="123" y="87"/>
                  </a:lnTo>
                  <a:lnTo>
                    <a:pt x="123" y="83"/>
                  </a:lnTo>
                  <a:lnTo>
                    <a:pt x="119" y="83"/>
                  </a:lnTo>
                  <a:lnTo>
                    <a:pt x="119" y="79"/>
                  </a:lnTo>
                  <a:lnTo>
                    <a:pt x="115" y="79"/>
                  </a:lnTo>
                  <a:lnTo>
                    <a:pt x="111" y="79"/>
                  </a:lnTo>
                  <a:lnTo>
                    <a:pt x="111" y="75"/>
                  </a:lnTo>
                  <a:lnTo>
                    <a:pt x="111" y="71"/>
                  </a:lnTo>
                  <a:lnTo>
                    <a:pt x="111" y="75"/>
                  </a:lnTo>
                  <a:lnTo>
                    <a:pt x="115" y="75"/>
                  </a:lnTo>
                  <a:lnTo>
                    <a:pt x="119" y="75"/>
                  </a:lnTo>
                  <a:lnTo>
                    <a:pt x="123" y="75"/>
                  </a:lnTo>
                  <a:close/>
                  <a:moveTo>
                    <a:pt x="75" y="59"/>
                  </a:moveTo>
                  <a:lnTo>
                    <a:pt x="75" y="55"/>
                  </a:lnTo>
                  <a:lnTo>
                    <a:pt x="75" y="59"/>
                  </a:lnTo>
                  <a:close/>
                  <a:moveTo>
                    <a:pt x="207" y="75"/>
                  </a:moveTo>
                  <a:lnTo>
                    <a:pt x="207" y="71"/>
                  </a:lnTo>
                  <a:lnTo>
                    <a:pt x="203" y="67"/>
                  </a:lnTo>
                  <a:lnTo>
                    <a:pt x="207" y="67"/>
                  </a:lnTo>
                  <a:lnTo>
                    <a:pt x="207" y="63"/>
                  </a:lnTo>
                  <a:lnTo>
                    <a:pt x="207" y="67"/>
                  </a:lnTo>
                  <a:lnTo>
                    <a:pt x="207" y="71"/>
                  </a:lnTo>
                  <a:lnTo>
                    <a:pt x="207" y="75"/>
                  </a:lnTo>
                  <a:close/>
                  <a:moveTo>
                    <a:pt x="91" y="71"/>
                  </a:moveTo>
                  <a:lnTo>
                    <a:pt x="91" y="67"/>
                  </a:lnTo>
                  <a:lnTo>
                    <a:pt x="95" y="71"/>
                  </a:lnTo>
                  <a:lnTo>
                    <a:pt x="91" y="71"/>
                  </a:lnTo>
                  <a:close/>
                  <a:moveTo>
                    <a:pt x="219" y="83"/>
                  </a:moveTo>
                  <a:lnTo>
                    <a:pt x="219" y="87"/>
                  </a:lnTo>
                  <a:lnTo>
                    <a:pt x="223" y="87"/>
                  </a:lnTo>
                  <a:lnTo>
                    <a:pt x="223" y="91"/>
                  </a:lnTo>
                  <a:lnTo>
                    <a:pt x="227" y="91"/>
                  </a:lnTo>
                  <a:lnTo>
                    <a:pt x="227" y="95"/>
                  </a:lnTo>
                  <a:lnTo>
                    <a:pt x="227" y="99"/>
                  </a:lnTo>
                  <a:lnTo>
                    <a:pt x="223" y="99"/>
                  </a:lnTo>
                  <a:lnTo>
                    <a:pt x="219" y="99"/>
                  </a:lnTo>
                  <a:lnTo>
                    <a:pt x="215" y="95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1" y="87"/>
                  </a:lnTo>
                  <a:lnTo>
                    <a:pt x="211" y="83"/>
                  </a:lnTo>
                  <a:lnTo>
                    <a:pt x="207" y="83"/>
                  </a:lnTo>
                  <a:lnTo>
                    <a:pt x="207" y="79"/>
                  </a:lnTo>
                  <a:lnTo>
                    <a:pt x="207" y="75"/>
                  </a:lnTo>
                  <a:lnTo>
                    <a:pt x="211" y="75"/>
                  </a:lnTo>
                  <a:lnTo>
                    <a:pt x="215" y="79"/>
                  </a:lnTo>
                  <a:lnTo>
                    <a:pt x="219" y="83"/>
                  </a:lnTo>
                  <a:close/>
                  <a:moveTo>
                    <a:pt x="107" y="79"/>
                  </a:moveTo>
                  <a:lnTo>
                    <a:pt x="103" y="79"/>
                  </a:lnTo>
                  <a:lnTo>
                    <a:pt x="103" y="75"/>
                  </a:lnTo>
                  <a:lnTo>
                    <a:pt x="107" y="75"/>
                  </a:lnTo>
                  <a:lnTo>
                    <a:pt x="107" y="79"/>
                  </a:lnTo>
                  <a:close/>
                  <a:moveTo>
                    <a:pt x="40" y="127"/>
                  </a:moveTo>
                  <a:lnTo>
                    <a:pt x="36" y="127"/>
                  </a:lnTo>
                  <a:lnTo>
                    <a:pt x="40" y="127"/>
                  </a:lnTo>
                  <a:close/>
                  <a:moveTo>
                    <a:pt x="40" y="135"/>
                  </a:moveTo>
                  <a:lnTo>
                    <a:pt x="40" y="131"/>
                  </a:lnTo>
                  <a:lnTo>
                    <a:pt x="36" y="131"/>
                  </a:lnTo>
                  <a:lnTo>
                    <a:pt x="36" y="127"/>
                  </a:lnTo>
                  <a:lnTo>
                    <a:pt x="32" y="127"/>
                  </a:lnTo>
                  <a:lnTo>
                    <a:pt x="36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35"/>
                  </a:lnTo>
                  <a:close/>
                  <a:moveTo>
                    <a:pt x="155" y="135"/>
                  </a:move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51" y="131"/>
                  </a:lnTo>
                  <a:lnTo>
                    <a:pt x="151" y="135"/>
                  </a:lnTo>
                  <a:lnTo>
                    <a:pt x="155" y="135"/>
                  </a:lnTo>
                  <a:close/>
                  <a:moveTo>
                    <a:pt x="179" y="143"/>
                  </a:moveTo>
                  <a:lnTo>
                    <a:pt x="175" y="139"/>
                  </a:lnTo>
                  <a:lnTo>
                    <a:pt x="179" y="139"/>
                  </a:lnTo>
                  <a:lnTo>
                    <a:pt x="183" y="139"/>
                  </a:lnTo>
                  <a:lnTo>
                    <a:pt x="183" y="143"/>
                  </a:lnTo>
                  <a:lnTo>
                    <a:pt x="179" y="143"/>
                  </a:lnTo>
                  <a:close/>
                  <a:moveTo>
                    <a:pt x="36" y="139"/>
                  </a:moveTo>
                  <a:lnTo>
                    <a:pt x="36" y="143"/>
                  </a:lnTo>
                  <a:lnTo>
                    <a:pt x="32" y="139"/>
                  </a:lnTo>
                  <a:lnTo>
                    <a:pt x="36" y="139"/>
                  </a:lnTo>
                  <a:close/>
                  <a:moveTo>
                    <a:pt x="143" y="147"/>
                  </a:moveTo>
                  <a:lnTo>
                    <a:pt x="139" y="147"/>
                  </a:lnTo>
                  <a:lnTo>
                    <a:pt x="139" y="143"/>
                  </a:lnTo>
                  <a:lnTo>
                    <a:pt x="143" y="147"/>
                  </a:lnTo>
                  <a:close/>
                  <a:moveTo>
                    <a:pt x="147" y="151"/>
                  </a:moveTo>
                  <a:lnTo>
                    <a:pt x="143" y="151"/>
                  </a:lnTo>
                  <a:lnTo>
                    <a:pt x="143" y="147"/>
                  </a:lnTo>
                  <a:lnTo>
                    <a:pt x="143" y="143"/>
                  </a:lnTo>
                  <a:lnTo>
                    <a:pt x="143" y="147"/>
                  </a:lnTo>
                  <a:lnTo>
                    <a:pt x="147" y="147"/>
                  </a:lnTo>
                  <a:lnTo>
                    <a:pt x="151" y="147"/>
                  </a:lnTo>
                  <a:lnTo>
                    <a:pt x="151" y="151"/>
                  </a:lnTo>
                  <a:lnTo>
                    <a:pt x="147" y="151"/>
                  </a:lnTo>
                  <a:close/>
                  <a:moveTo>
                    <a:pt x="155" y="159"/>
                  </a:moveTo>
                  <a:lnTo>
                    <a:pt x="151" y="159"/>
                  </a:lnTo>
                  <a:lnTo>
                    <a:pt x="151" y="155"/>
                  </a:lnTo>
                  <a:lnTo>
                    <a:pt x="147" y="155"/>
                  </a:lnTo>
                  <a:lnTo>
                    <a:pt x="147" y="151"/>
                  </a:lnTo>
                  <a:lnTo>
                    <a:pt x="151" y="155"/>
                  </a:lnTo>
                  <a:lnTo>
                    <a:pt x="151" y="159"/>
                  </a:lnTo>
                  <a:lnTo>
                    <a:pt x="155" y="159"/>
                  </a:lnTo>
                  <a:lnTo>
                    <a:pt x="155" y="155"/>
                  </a:lnTo>
                  <a:lnTo>
                    <a:pt x="155" y="159"/>
                  </a:lnTo>
                  <a:close/>
                  <a:moveTo>
                    <a:pt x="151" y="167"/>
                  </a:moveTo>
                  <a:lnTo>
                    <a:pt x="147" y="167"/>
                  </a:lnTo>
                  <a:lnTo>
                    <a:pt x="151" y="167"/>
                  </a:lnTo>
                  <a:close/>
                  <a:moveTo>
                    <a:pt x="179" y="171"/>
                  </a:moveTo>
                  <a:lnTo>
                    <a:pt x="175" y="171"/>
                  </a:lnTo>
                  <a:lnTo>
                    <a:pt x="175" y="167"/>
                  </a:lnTo>
                  <a:lnTo>
                    <a:pt x="179" y="167"/>
                  </a:lnTo>
                  <a:lnTo>
                    <a:pt x="179" y="171"/>
                  </a:lnTo>
                  <a:close/>
                  <a:moveTo>
                    <a:pt x="199" y="183"/>
                  </a:moveTo>
                  <a:lnTo>
                    <a:pt x="195" y="183"/>
                  </a:lnTo>
                  <a:lnTo>
                    <a:pt x="199" y="183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203" y="183"/>
                  </a:lnTo>
                  <a:lnTo>
                    <a:pt x="199" y="183"/>
                  </a:lnTo>
                  <a:close/>
                  <a:moveTo>
                    <a:pt x="191" y="187"/>
                  </a:moveTo>
                  <a:lnTo>
                    <a:pt x="187" y="187"/>
                  </a:lnTo>
                  <a:lnTo>
                    <a:pt x="187" y="183"/>
                  </a:lnTo>
                  <a:lnTo>
                    <a:pt x="183" y="183"/>
                  </a:lnTo>
                  <a:lnTo>
                    <a:pt x="187" y="183"/>
                  </a:lnTo>
                  <a:lnTo>
                    <a:pt x="191" y="183"/>
                  </a:lnTo>
                  <a:lnTo>
                    <a:pt x="191" y="187"/>
                  </a:lnTo>
                  <a:lnTo>
                    <a:pt x="195" y="187"/>
                  </a:lnTo>
                  <a:lnTo>
                    <a:pt x="191" y="1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31" name="Freeform 184">
              <a:extLst>
                <a:ext uri="{FF2B5EF4-FFF2-40B4-BE49-F238E27FC236}">
                  <a16:creationId xmlns:a16="http://schemas.microsoft.com/office/drawing/2014/main" xmlns="" id="{93FAF942-2FAD-452C-9BF6-04C7615AC26E}"/>
                </a:ext>
              </a:extLst>
            </p:cNvPr>
            <p:cNvSpPr>
              <a:spLocks noEditPoints="1"/>
            </p:cNvSpPr>
            <p:nvPr>
              <p:custDataLst>
                <p:tags r:id="rId183"/>
              </p:custDataLst>
            </p:nvPr>
          </p:nvSpPr>
          <p:spPr bwMode="gray">
            <a:xfrm>
              <a:off x="3671606" y="3396155"/>
              <a:ext cx="568013" cy="290681"/>
            </a:xfrm>
            <a:custGeom>
              <a:avLst/>
              <a:gdLst/>
              <a:ahLst/>
              <a:cxnLst>
                <a:cxn ang="0">
                  <a:pos x="343" y="16"/>
                </a:cxn>
                <a:cxn ang="0">
                  <a:pos x="343" y="8"/>
                </a:cxn>
                <a:cxn ang="0">
                  <a:pos x="347" y="0"/>
                </a:cxn>
                <a:cxn ang="0">
                  <a:pos x="351" y="8"/>
                </a:cxn>
                <a:cxn ang="0">
                  <a:pos x="363" y="8"/>
                </a:cxn>
                <a:cxn ang="0">
                  <a:pos x="371" y="4"/>
                </a:cxn>
                <a:cxn ang="0">
                  <a:pos x="375" y="12"/>
                </a:cxn>
                <a:cxn ang="0">
                  <a:pos x="379" y="12"/>
                </a:cxn>
                <a:cxn ang="0">
                  <a:pos x="375" y="20"/>
                </a:cxn>
                <a:cxn ang="0">
                  <a:pos x="371" y="32"/>
                </a:cxn>
                <a:cxn ang="0">
                  <a:pos x="367" y="40"/>
                </a:cxn>
                <a:cxn ang="0">
                  <a:pos x="367" y="52"/>
                </a:cxn>
                <a:cxn ang="0">
                  <a:pos x="363" y="56"/>
                </a:cxn>
                <a:cxn ang="0">
                  <a:pos x="371" y="64"/>
                </a:cxn>
                <a:cxn ang="0">
                  <a:pos x="363" y="72"/>
                </a:cxn>
                <a:cxn ang="0">
                  <a:pos x="367" y="80"/>
                </a:cxn>
                <a:cxn ang="0">
                  <a:pos x="367" y="88"/>
                </a:cxn>
                <a:cxn ang="0">
                  <a:pos x="359" y="96"/>
                </a:cxn>
                <a:cxn ang="0">
                  <a:pos x="363" y="104"/>
                </a:cxn>
                <a:cxn ang="0">
                  <a:pos x="355" y="108"/>
                </a:cxn>
                <a:cxn ang="0">
                  <a:pos x="347" y="104"/>
                </a:cxn>
                <a:cxn ang="0">
                  <a:pos x="339" y="108"/>
                </a:cxn>
                <a:cxn ang="0">
                  <a:pos x="343" y="100"/>
                </a:cxn>
                <a:cxn ang="0">
                  <a:pos x="343" y="88"/>
                </a:cxn>
                <a:cxn ang="0">
                  <a:pos x="343" y="80"/>
                </a:cxn>
                <a:cxn ang="0">
                  <a:pos x="339" y="80"/>
                </a:cxn>
                <a:cxn ang="0">
                  <a:pos x="335" y="72"/>
                </a:cxn>
                <a:cxn ang="0">
                  <a:pos x="339" y="68"/>
                </a:cxn>
                <a:cxn ang="0">
                  <a:pos x="331" y="72"/>
                </a:cxn>
                <a:cxn ang="0">
                  <a:pos x="335" y="60"/>
                </a:cxn>
                <a:cxn ang="0">
                  <a:pos x="335" y="56"/>
                </a:cxn>
                <a:cxn ang="0">
                  <a:pos x="339" y="44"/>
                </a:cxn>
                <a:cxn ang="0">
                  <a:pos x="343" y="32"/>
                </a:cxn>
                <a:cxn ang="0">
                  <a:pos x="343" y="28"/>
                </a:cxn>
                <a:cxn ang="0">
                  <a:pos x="0" y="60"/>
                </a:cxn>
                <a:cxn ang="0">
                  <a:pos x="4" y="60"/>
                </a:cxn>
                <a:cxn ang="0">
                  <a:pos x="60" y="72"/>
                </a:cxn>
                <a:cxn ang="0">
                  <a:pos x="52" y="76"/>
                </a:cxn>
                <a:cxn ang="0">
                  <a:pos x="56" y="76"/>
                </a:cxn>
                <a:cxn ang="0">
                  <a:pos x="40" y="72"/>
                </a:cxn>
                <a:cxn ang="0">
                  <a:pos x="44" y="80"/>
                </a:cxn>
                <a:cxn ang="0">
                  <a:pos x="52" y="80"/>
                </a:cxn>
                <a:cxn ang="0">
                  <a:pos x="84" y="92"/>
                </a:cxn>
                <a:cxn ang="0">
                  <a:pos x="92" y="92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219" y="196"/>
                </a:cxn>
                <a:cxn ang="0">
                  <a:pos x="219" y="192"/>
                </a:cxn>
              </a:cxnLst>
              <a:rect l="0" t="0" r="r" b="b"/>
              <a:pathLst>
                <a:path w="383" h="196">
                  <a:moveTo>
                    <a:pt x="343" y="24"/>
                  </a:moveTo>
                  <a:lnTo>
                    <a:pt x="343" y="20"/>
                  </a:lnTo>
                  <a:lnTo>
                    <a:pt x="343" y="16"/>
                  </a:lnTo>
                  <a:lnTo>
                    <a:pt x="343" y="12"/>
                  </a:lnTo>
                  <a:lnTo>
                    <a:pt x="339" y="8"/>
                  </a:lnTo>
                  <a:lnTo>
                    <a:pt x="343" y="8"/>
                  </a:lnTo>
                  <a:lnTo>
                    <a:pt x="343" y="4"/>
                  </a:lnTo>
                  <a:lnTo>
                    <a:pt x="347" y="4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55" y="8"/>
                  </a:lnTo>
                  <a:lnTo>
                    <a:pt x="359" y="8"/>
                  </a:lnTo>
                  <a:lnTo>
                    <a:pt x="363" y="8"/>
                  </a:lnTo>
                  <a:lnTo>
                    <a:pt x="367" y="8"/>
                  </a:lnTo>
                  <a:lnTo>
                    <a:pt x="367" y="4"/>
                  </a:lnTo>
                  <a:lnTo>
                    <a:pt x="371" y="4"/>
                  </a:lnTo>
                  <a:lnTo>
                    <a:pt x="375" y="4"/>
                  </a:lnTo>
                  <a:lnTo>
                    <a:pt x="375" y="8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79" y="12"/>
                  </a:lnTo>
                  <a:lnTo>
                    <a:pt x="379" y="16"/>
                  </a:lnTo>
                  <a:lnTo>
                    <a:pt x="379" y="20"/>
                  </a:lnTo>
                  <a:lnTo>
                    <a:pt x="375" y="20"/>
                  </a:lnTo>
                  <a:lnTo>
                    <a:pt x="371" y="24"/>
                  </a:lnTo>
                  <a:lnTo>
                    <a:pt x="371" y="28"/>
                  </a:lnTo>
                  <a:lnTo>
                    <a:pt x="371" y="32"/>
                  </a:lnTo>
                  <a:lnTo>
                    <a:pt x="371" y="36"/>
                  </a:lnTo>
                  <a:lnTo>
                    <a:pt x="371" y="40"/>
                  </a:lnTo>
                  <a:lnTo>
                    <a:pt x="367" y="40"/>
                  </a:lnTo>
                  <a:lnTo>
                    <a:pt x="367" y="44"/>
                  </a:lnTo>
                  <a:lnTo>
                    <a:pt x="371" y="44"/>
                  </a:lnTo>
                  <a:lnTo>
                    <a:pt x="367" y="52"/>
                  </a:lnTo>
                  <a:lnTo>
                    <a:pt x="363" y="52"/>
                  </a:lnTo>
                  <a:lnTo>
                    <a:pt x="359" y="52"/>
                  </a:lnTo>
                  <a:lnTo>
                    <a:pt x="363" y="56"/>
                  </a:lnTo>
                  <a:lnTo>
                    <a:pt x="363" y="60"/>
                  </a:lnTo>
                  <a:lnTo>
                    <a:pt x="367" y="64"/>
                  </a:lnTo>
                  <a:lnTo>
                    <a:pt x="371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67" y="80"/>
                  </a:lnTo>
                  <a:lnTo>
                    <a:pt x="367" y="84"/>
                  </a:lnTo>
                  <a:lnTo>
                    <a:pt x="371" y="84"/>
                  </a:lnTo>
                  <a:lnTo>
                    <a:pt x="367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6"/>
                  </a:lnTo>
                  <a:lnTo>
                    <a:pt x="363" y="96"/>
                  </a:lnTo>
                  <a:lnTo>
                    <a:pt x="363" y="100"/>
                  </a:lnTo>
                  <a:lnTo>
                    <a:pt x="363" y="104"/>
                  </a:lnTo>
                  <a:lnTo>
                    <a:pt x="359" y="104"/>
                  </a:lnTo>
                  <a:lnTo>
                    <a:pt x="359" y="108"/>
                  </a:lnTo>
                  <a:lnTo>
                    <a:pt x="355" y="108"/>
                  </a:lnTo>
                  <a:lnTo>
                    <a:pt x="351" y="108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04"/>
                  </a:lnTo>
                  <a:lnTo>
                    <a:pt x="339" y="100"/>
                  </a:lnTo>
                  <a:lnTo>
                    <a:pt x="343" y="100"/>
                  </a:lnTo>
                  <a:lnTo>
                    <a:pt x="343" y="96"/>
                  </a:lnTo>
                  <a:lnTo>
                    <a:pt x="343" y="92"/>
                  </a:lnTo>
                  <a:lnTo>
                    <a:pt x="343" y="88"/>
                  </a:lnTo>
                  <a:lnTo>
                    <a:pt x="339" y="88"/>
                  </a:lnTo>
                  <a:lnTo>
                    <a:pt x="343" y="84"/>
                  </a:lnTo>
                  <a:lnTo>
                    <a:pt x="343" y="80"/>
                  </a:lnTo>
                  <a:lnTo>
                    <a:pt x="343" y="76"/>
                  </a:lnTo>
                  <a:lnTo>
                    <a:pt x="339" y="76"/>
                  </a:lnTo>
                  <a:lnTo>
                    <a:pt x="339" y="80"/>
                  </a:lnTo>
                  <a:lnTo>
                    <a:pt x="335" y="80"/>
                  </a:lnTo>
                  <a:lnTo>
                    <a:pt x="335" y="76"/>
                  </a:lnTo>
                  <a:lnTo>
                    <a:pt x="335" y="72"/>
                  </a:lnTo>
                  <a:lnTo>
                    <a:pt x="339" y="76"/>
                  </a:lnTo>
                  <a:lnTo>
                    <a:pt x="339" y="72"/>
                  </a:lnTo>
                  <a:lnTo>
                    <a:pt x="339" y="68"/>
                  </a:lnTo>
                  <a:lnTo>
                    <a:pt x="339" y="72"/>
                  </a:lnTo>
                  <a:lnTo>
                    <a:pt x="335" y="72"/>
                  </a:lnTo>
                  <a:lnTo>
                    <a:pt x="331" y="72"/>
                  </a:lnTo>
                  <a:lnTo>
                    <a:pt x="331" y="68"/>
                  </a:lnTo>
                  <a:lnTo>
                    <a:pt x="331" y="64"/>
                  </a:lnTo>
                  <a:lnTo>
                    <a:pt x="335" y="60"/>
                  </a:lnTo>
                  <a:lnTo>
                    <a:pt x="331" y="60"/>
                  </a:lnTo>
                  <a:lnTo>
                    <a:pt x="335" y="60"/>
                  </a:lnTo>
                  <a:lnTo>
                    <a:pt x="335" y="56"/>
                  </a:lnTo>
                  <a:lnTo>
                    <a:pt x="339" y="52"/>
                  </a:lnTo>
                  <a:lnTo>
                    <a:pt x="339" y="48"/>
                  </a:lnTo>
                  <a:lnTo>
                    <a:pt x="339" y="44"/>
                  </a:lnTo>
                  <a:lnTo>
                    <a:pt x="339" y="40"/>
                  </a:lnTo>
                  <a:lnTo>
                    <a:pt x="343" y="36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24"/>
                  </a:lnTo>
                  <a:close/>
                  <a:moveTo>
                    <a:pt x="4" y="60"/>
                  </a:move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60"/>
                  </a:lnTo>
                  <a:close/>
                  <a:moveTo>
                    <a:pt x="64" y="76"/>
                  </a:moveTo>
                  <a:lnTo>
                    <a:pt x="64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  <a:moveTo>
                    <a:pt x="52" y="76"/>
                  </a:moveTo>
                  <a:lnTo>
                    <a:pt x="48" y="72"/>
                  </a:lnTo>
                  <a:lnTo>
                    <a:pt x="52" y="72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8" y="80"/>
                  </a:moveTo>
                  <a:lnTo>
                    <a:pt x="44" y="80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52" y="80"/>
                  </a:lnTo>
                  <a:lnTo>
                    <a:pt x="48" y="80"/>
                  </a:lnTo>
                  <a:close/>
                  <a:moveTo>
                    <a:pt x="88" y="92"/>
                  </a:moveTo>
                  <a:lnTo>
                    <a:pt x="84" y="92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2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88" y="92"/>
                  </a:lnTo>
                  <a:close/>
                  <a:moveTo>
                    <a:pt x="96" y="108"/>
                  </a:moveTo>
                  <a:lnTo>
                    <a:pt x="92" y="108"/>
                  </a:lnTo>
                  <a:lnTo>
                    <a:pt x="96" y="108"/>
                  </a:lnTo>
                  <a:close/>
                  <a:moveTo>
                    <a:pt x="219" y="196"/>
                  </a:moveTo>
                  <a:lnTo>
                    <a:pt x="215" y="196"/>
                  </a:lnTo>
                  <a:lnTo>
                    <a:pt x="215" y="192"/>
                  </a:lnTo>
                  <a:lnTo>
                    <a:pt x="219" y="192"/>
                  </a:lnTo>
                  <a:lnTo>
                    <a:pt x="223" y="192"/>
                  </a:lnTo>
                  <a:lnTo>
                    <a:pt x="219" y="1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32" name="Freeform 186">
              <a:extLst>
                <a:ext uri="{FF2B5EF4-FFF2-40B4-BE49-F238E27FC236}">
                  <a16:creationId xmlns:a16="http://schemas.microsoft.com/office/drawing/2014/main" xmlns="" id="{4BC349DE-196E-4DB1-ACD9-5D06F81939D8}"/>
                </a:ext>
              </a:extLst>
            </p:cNvPr>
            <p:cNvSpPr>
              <a:spLocks noEditPoints="1"/>
            </p:cNvSpPr>
            <p:nvPr>
              <p:custDataLst>
                <p:tags r:id="rId184"/>
              </p:custDataLst>
            </p:nvPr>
          </p:nvSpPr>
          <p:spPr bwMode="gray">
            <a:xfrm>
              <a:off x="4748310" y="5202527"/>
              <a:ext cx="479029" cy="745981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33" name="Freeform 187">
              <a:extLst>
                <a:ext uri="{FF2B5EF4-FFF2-40B4-BE49-F238E27FC236}">
                  <a16:creationId xmlns:a16="http://schemas.microsoft.com/office/drawing/2014/main" xmlns="" id="{631EE9DD-4983-4A94-BBF1-CD235C257181}"/>
                </a:ext>
              </a:extLst>
            </p:cNvPr>
            <p:cNvSpPr>
              <a:spLocks noEditPoints="1"/>
            </p:cNvSpPr>
            <p:nvPr>
              <p:custDataLst>
                <p:tags r:id="rId185"/>
              </p:custDataLst>
            </p:nvPr>
          </p:nvSpPr>
          <p:spPr bwMode="gray">
            <a:xfrm>
              <a:off x="3966735" y="3350181"/>
              <a:ext cx="504242" cy="479029"/>
            </a:xfrm>
            <a:custGeom>
              <a:avLst/>
              <a:gdLst/>
              <a:ahLst/>
              <a:cxnLst>
                <a:cxn ang="0">
                  <a:pos x="224" y="4"/>
                </a:cxn>
                <a:cxn ang="0">
                  <a:pos x="236" y="4"/>
                </a:cxn>
                <a:cxn ang="0">
                  <a:pos x="252" y="8"/>
                </a:cxn>
                <a:cxn ang="0">
                  <a:pos x="256" y="16"/>
                </a:cxn>
                <a:cxn ang="0">
                  <a:pos x="272" y="20"/>
                </a:cxn>
                <a:cxn ang="0">
                  <a:pos x="284" y="20"/>
                </a:cxn>
                <a:cxn ang="0">
                  <a:pos x="296" y="20"/>
                </a:cxn>
                <a:cxn ang="0">
                  <a:pos x="308" y="27"/>
                </a:cxn>
                <a:cxn ang="0">
                  <a:pos x="328" y="27"/>
                </a:cxn>
                <a:cxn ang="0">
                  <a:pos x="316" y="43"/>
                </a:cxn>
                <a:cxn ang="0">
                  <a:pos x="300" y="51"/>
                </a:cxn>
                <a:cxn ang="0">
                  <a:pos x="288" y="63"/>
                </a:cxn>
                <a:cxn ang="0">
                  <a:pos x="284" y="63"/>
                </a:cxn>
                <a:cxn ang="0">
                  <a:pos x="272" y="83"/>
                </a:cxn>
                <a:cxn ang="0">
                  <a:pos x="280" y="99"/>
                </a:cxn>
                <a:cxn ang="0">
                  <a:pos x="272" y="111"/>
                </a:cxn>
                <a:cxn ang="0">
                  <a:pos x="264" y="123"/>
                </a:cxn>
                <a:cxn ang="0">
                  <a:pos x="252" y="131"/>
                </a:cxn>
                <a:cxn ang="0">
                  <a:pos x="240" y="143"/>
                </a:cxn>
                <a:cxn ang="0">
                  <a:pos x="224" y="143"/>
                </a:cxn>
                <a:cxn ang="0">
                  <a:pos x="208" y="147"/>
                </a:cxn>
                <a:cxn ang="0">
                  <a:pos x="196" y="155"/>
                </a:cxn>
                <a:cxn ang="0">
                  <a:pos x="184" y="155"/>
                </a:cxn>
                <a:cxn ang="0">
                  <a:pos x="180" y="143"/>
                </a:cxn>
                <a:cxn ang="0">
                  <a:pos x="164" y="131"/>
                </a:cxn>
                <a:cxn ang="0">
                  <a:pos x="168" y="119"/>
                </a:cxn>
                <a:cxn ang="0">
                  <a:pos x="164" y="107"/>
                </a:cxn>
                <a:cxn ang="0">
                  <a:pos x="168" y="95"/>
                </a:cxn>
                <a:cxn ang="0">
                  <a:pos x="168" y="83"/>
                </a:cxn>
                <a:cxn ang="0">
                  <a:pos x="172" y="67"/>
                </a:cxn>
                <a:cxn ang="0">
                  <a:pos x="180" y="51"/>
                </a:cxn>
                <a:cxn ang="0">
                  <a:pos x="176" y="43"/>
                </a:cxn>
                <a:cxn ang="0">
                  <a:pos x="168" y="39"/>
                </a:cxn>
                <a:cxn ang="0">
                  <a:pos x="152" y="35"/>
                </a:cxn>
                <a:cxn ang="0">
                  <a:pos x="140" y="39"/>
                </a:cxn>
                <a:cxn ang="0">
                  <a:pos x="144" y="31"/>
                </a:cxn>
                <a:cxn ang="0">
                  <a:pos x="140" y="24"/>
                </a:cxn>
                <a:cxn ang="0">
                  <a:pos x="144" y="20"/>
                </a:cxn>
                <a:cxn ang="0">
                  <a:pos x="136" y="12"/>
                </a:cxn>
                <a:cxn ang="0">
                  <a:pos x="152" y="4"/>
                </a:cxn>
                <a:cxn ang="0">
                  <a:pos x="168" y="4"/>
                </a:cxn>
                <a:cxn ang="0">
                  <a:pos x="188" y="0"/>
                </a:cxn>
                <a:cxn ang="0">
                  <a:pos x="204" y="4"/>
                </a:cxn>
                <a:cxn ang="0">
                  <a:pos x="196" y="163"/>
                </a:cxn>
                <a:cxn ang="0">
                  <a:pos x="336" y="79"/>
                </a:cxn>
                <a:cxn ang="0">
                  <a:pos x="312" y="87"/>
                </a:cxn>
                <a:cxn ang="0">
                  <a:pos x="324" y="83"/>
                </a:cxn>
                <a:cxn ang="0">
                  <a:pos x="320" y="91"/>
                </a:cxn>
                <a:cxn ang="0">
                  <a:pos x="296" y="95"/>
                </a:cxn>
                <a:cxn ang="0">
                  <a:pos x="300" y="103"/>
                </a:cxn>
                <a:cxn ang="0">
                  <a:pos x="68" y="299"/>
                </a:cxn>
                <a:cxn ang="0">
                  <a:pos x="68" y="303"/>
                </a:cxn>
                <a:cxn ang="0">
                  <a:pos x="4" y="303"/>
                </a:cxn>
                <a:cxn ang="0">
                  <a:pos x="60" y="315"/>
                </a:cxn>
                <a:cxn ang="0">
                  <a:pos x="68" y="307"/>
                </a:cxn>
                <a:cxn ang="0">
                  <a:pos x="24" y="315"/>
                </a:cxn>
                <a:cxn ang="0">
                  <a:pos x="32" y="307"/>
                </a:cxn>
                <a:cxn ang="0">
                  <a:pos x="24" y="319"/>
                </a:cxn>
                <a:cxn ang="0">
                  <a:pos x="40" y="323"/>
                </a:cxn>
                <a:cxn ang="0">
                  <a:pos x="44" y="319"/>
                </a:cxn>
                <a:cxn ang="0">
                  <a:pos x="4" y="319"/>
                </a:cxn>
              </a:cxnLst>
              <a:rect l="0" t="0" r="r" b="b"/>
              <a:pathLst>
                <a:path w="340" h="323">
                  <a:moveTo>
                    <a:pt x="208" y="8"/>
                  </a:moveTo>
                  <a:lnTo>
                    <a:pt x="212" y="8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4" y="8"/>
                  </a:lnTo>
                  <a:lnTo>
                    <a:pt x="228" y="8"/>
                  </a:lnTo>
                  <a:lnTo>
                    <a:pt x="232" y="8"/>
                  </a:lnTo>
                  <a:lnTo>
                    <a:pt x="232" y="4"/>
                  </a:lnTo>
                  <a:lnTo>
                    <a:pt x="236" y="4"/>
                  </a:lnTo>
                  <a:lnTo>
                    <a:pt x="236" y="8"/>
                  </a:lnTo>
                  <a:lnTo>
                    <a:pt x="240" y="8"/>
                  </a:lnTo>
                  <a:lnTo>
                    <a:pt x="244" y="8"/>
                  </a:lnTo>
                  <a:lnTo>
                    <a:pt x="248" y="8"/>
                  </a:lnTo>
                  <a:lnTo>
                    <a:pt x="252" y="8"/>
                  </a:lnTo>
                  <a:lnTo>
                    <a:pt x="256" y="8"/>
                  </a:lnTo>
                  <a:lnTo>
                    <a:pt x="256" y="12"/>
                  </a:lnTo>
                  <a:lnTo>
                    <a:pt x="252" y="12"/>
                  </a:lnTo>
                  <a:lnTo>
                    <a:pt x="256" y="12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6"/>
                  </a:lnTo>
                  <a:lnTo>
                    <a:pt x="264" y="16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80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8" y="16"/>
                  </a:lnTo>
                  <a:lnTo>
                    <a:pt x="288" y="20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7"/>
                  </a:lnTo>
                  <a:lnTo>
                    <a:pt x="304" y="24"/>
                  </a:lnTo>
                  <a:lnTo>
                    <a:pt x="304" y="27"/>
                  </a:lnTo>
                  <a:lnTo>
                    <a:pt x="308" y="27"/>
                  </a:lnTo>
                  <a:lnTo>
                    <a:pt x="312" y="27"/>
                  </a:lnTo>
                  <a:lnTo>
                    <a:pt x="316" y="27"/>
                  </a:lnTo>
                  <a:lnTo>
                    <a:pt x="320" y="24"/>
                  </a:lnTo>
                  <a:lnTo>
                    <a:pt x="324" y="27"/>
                  </a:lnTo>
                  <a:lnTo>
                    <a:pt x="328" y="27"/>
                  </a:lnTo>
                  <a:lnTo>
                    <a:pt x="324" y="31"/>
                  </a:lnTo>
                  <a:lnTo>
                    <a:pt x="324" y="35"/>
                  </a:lnTo>
                  <a:lnTo>
                    <a:pt x="324" y="39"/>
                  </a:lnTo>
                  <a:lnTo>
                    <a:pt x="320" y="39"/>
                  </a:lnTo>
                  <a:lnTo>
                    <a:pt x="316" y="43"/>
                  </a:lnTo>
                  <a:lnTo>
                    <a:pt x="312" y="47"/>
                  </a:lnTo>
                  <a:lnTo>
                    <a:pt x="308" y="47"/>
                  </a:lnTo>
                  <a:lnTo>
                    <a:pt x="308" y="51"/>
                  </a:lnTo>
                  <a:lnTo>
                    <a:pt x="304" y="51"/>
                  </a:lnTo>
                  <a:lnTo>
                    <a:pt x="300" y="51"/>
                  </a:lnTo>
                  <a:lnTo>
                    <a:pt x="296" y="55"/>
                  </a:lnTo>
                  <a:lnTo>
                    <a:pt x="292" y="55"/>
                  </a:lnTo>
                  <a:lnTo>
                    <a:pt x="288" y="55"/>
                  </a:lnTo>
                  <a:lnTo>
                    <a:pt x="288" y="59"/>
                  </a:lnTo>
                  <a:lnTo>
                    <a:pt x="288" y="63"/>
                  </a:lnTo>
                  <a:lnTo>
                    <a:pt x="288" y="67"/>
                  </a:lnTo>
                  <a:lnTo>
                    <a:pt x="284" y="67"/>
                  </a:lnTo>
                  <a:lnTo>
                    <a:pt x="284" y="63"/>
                  </a:lnTo>
                  <a:lnTo>
                    <a:pt x="288" y="63"/>
                  </a:lnTo>
                  <a:lnTo>
                    <a:pt x="284" y="63"/>
                  </a:lnTo>
                  <a:lnTo>
                    <a:pt x="284" y="67"/>
                  </a:lnTo>
                  <a:lnTo>
                    <a:pt x="280" y="71"/>
                  </a:lnTo>
                  <a:lnTo>
                    <a:pt x="276" y="75"/>
                  </a:lnTo>
                  <a:lnTo>
                    <a:pt x="276" y="79"/>
                  </a:lnTo>
                  <a:lnTo>
                    <a:pt x="272" y="83"/>
                  </a:lnTo>
                  <a:lnTo>
                    <a:pt x="272" y="87"/>
                  </a:lnTo>
                  <a:lnTo>
                    <a:pt x="272" y="95"/>
                  </a:lnTo>
                  <a:lnTo>
                    <a:pt x="272" y="99"/>
                  </a:lnTo>
                  <a:lnTo>
                    <a:pt x="276" y="99"/>
                  </a:lnTo>
                  <a:lnTo>
                    <a:pt x="280" y="99"/>
                  </a:lnTo>
                  <a:lnTo>
                    <a:pt x="280" y="103"/>
                  </a:lnTo>
                  <a:lnTo>
                    <a:pt x="276" y="103"/>
                  </a:lnTo>
                  <a:lnTo>
                    <a:pt x="276" y="107"/>
                  </a:lnTo>
                  <a:lnTo>
                    <a:pt x="272" y="107"/>
                  </a:lnTo>
                  <a:lnTo>
                    <a:pt x="272" y="111"/>
                  </a:lnTo>
                  <a:lnTo>
                    <a:pt x="268" y="111"/>
                  </a:lnTo>
                  <a:lnTo>
                    <a:pt x="268" y="115"/>
                  </a:lnTo>
                  <a:lnTo>
                    <a:pt x="268" y="119"/>
                  </a:lnTo>
                  <a:lnTo>
                    <a:pt x="264" y="119"/>
                  </a:lnTo>
                  <a:lnTo>
                    <a:pt x="264" y="123"/>
                  </a:lnTo>
                  <a:lnTo>
                    <a:pt x="264" y="127"/>
                  </a:lnTo>
                  <a:lnTo>
                    <a:pt x="260" y="127"/>
                  </a:lnTo>
                  <a:lnTo>
                    <a:pt x="256" y="127"/>
                  </a:lnTo>
                  <a:lnTo>
                    <a:pt x="252" y="127"/>
                  </a:lnTo>
                  <a:lnTo>
                    <a:pt x="252" y="131"/>
                  </a:lnTo>
                  <a:lnTo>
                    <a:pt x="248" y="135"/>
                  </a:lnTo>
                  <a:lnTo>
                    <a:pt x="248" y="139"/>
                  </a:lnTo>
                  <a:lnTo>
                    <a:pt x="244" y="139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6" y="143"/>
                  </a:lnTo>
                  <a:lnTo>
                    <a:pt x="232" y="147"/>
                  </a:lnTo>
                  <a:lnTo>
                    <a:pt x="232" y="143"/>
                  </a:lnTo>
                  <a:lnTo>
                    <a:pt x="228" y="143"/>
                  </a:lnTo>
                  <a:lnTo>
                    <a:pt x="224" y="143"/>
                  </a:lnTo>
                  <a:lnTo>
                    <a:pt x="220" y="143"/>
                  </a:lnTo>
                  <a:lnTo>
                    <a:pt x="216" y="143"/>
                  </a:lnTo>
                  <a:lnTo>
                    <a:pt x="212" y="143"/>
                  </a:lnTo>
                  <a:lnTo>
                    <a:pt x="208" y="143"/>
                  </a:lnTo>
                  <a:lnTo>
                    <a:pt x="208" y="147"/>
                  </a:lnTo>
                  <a:lnTo>
                    <a:pt x="204" y="147"/>
                  </a:lnTo>
                  <a:lnTo>
                    <a:pt x="200" y="147"/>
                  </a:lnTo>
                  <a:lnTo>
                    <a:pt x="200" y="151"/>
                  </a:lnTo>
                  <a:lnTo>
                    <a:pt x="196" y="151"/>
                  </a:lnTo>
                  <a:lnTo>
                    <a:pt x="196" y="155"/>
                  </a:lnTo>
                  <a:lnTo>
                    <a:pt x="192" y="155"/>
                  </a:lnTo>
                  <a:lnTo>
                    <a:pt x="192" y="159"/>
                  </a:lnTo>
                  <a:lnTo>
                    <a:pt x="188" y="159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1"/>
                  </a:lnTo>
                  <a:lnTo>
                    <a:pt x="180" y="151"/>
                  </a:lnTo>
                  <a:lnTo>
                    <a:pt x="184" y="147"/>
                  </a:lnTo>
                  <a:lnTo>
                    <a:pt x="180" y="147"/>
                  </a:lnTo>
                  <a:lnTo>
                    <a:pt x="180" y="143"/>
                  </a:lnTo>
                  <a:lnTo>
                    <a:pt x="176" y="139"/>
                  </a:lnTo>
                  <a:lnTo>
                    <a:pt x="172" y="135"/>
                  </a:lnTo>
                  <a:lnTo>
                    <a:pt x="168" y="135"/>
                  </a:lnTo>
                  <a:lnTo>
                    <a:pt x="164" y="135"/>
                  </a:lnTo>
                  <a:lnTo>
                    <a:pt x="164" y="131"/>
                  </a:lnTo>
                  <a:lnTo>
                    <a:pt x="164" y="127"/>
                  </a:lnTo>
                  <a:lnTo>
                    <a:pt x="160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68" y="119"/>
                  </a:lnTo>
                  <a:lnTo>
                    <a:pt x="172" y="115"/>
                  </a:lnTo>
                  <a:lnTo>
                    <a:pt x="168" y="115"/>
                  </a:lnTo>
                  <a:lnTo>
                    <a:pt x="168" y="111"/>
                  </a:lnTo>
                  <a:lnTo>
                    <a:pt x="164" y="111"/>
                  </a:lnTo>
                  <a:lnTo>
                    <a:pt x="164" y="107"/>
                  </a:lnTo>
                  <a:lnTo>
                    <a:pt x="164" y="103"/>
                  </a:lnTo>
                  <a:lnTo>
                    <a:pt x="168" y="103"/>
                  </a:lnTo>
                  <a:lnTo>
                    <a:pt x="168" y="99"/>
                  </a:lnTo>
                  <a:lnTo>
                    <a:pt x="172" y="95"/>
                  </a:lnTo>
                  <a:lnTo>
                    <a:pt x="168" y="95"/>
                  </a:lnTo>
                  <a:lnTo>
                    <a:pt x="164" y="91"/>
                  </a:lnTo>
                  <a:lnTo>
                    <a:pt x="164" y="87"/>
                  </a:lnTo>
                  <a:lnTo>
                    <a:pt x="160" y="83"/>
                  </a:lnTo>
                  <a:lnTo>
                    <a:pt x="164" y="83"/>
                  </a:lnTo>
                  <a:lnTo>
                    <a:pt x="168" y="83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72" y="71"/>
                  </a:lnTo>
                  <a:lnTo>
                    <a:pt x="172" y="67"/>
                  </a:lnTo>
                  <a:lnTo>
                    <a:pt x="172" y="63"/>
                  </a:lnTo>
                  <a:lnTo>
                    <a:pt x="172" y="59"/>
                  </a:lnTo>
                  <a:lnTo>
                    <a:pt x="172" y="55"/>
                  </a:lnTo>
                  <a:lnTo>
                    <a:pt x="176" y="51"/>
                  </a:lnTo>
                  <a:lnTo>
                    <a:pt x="180" y="51"/>
                  </a:lnTo>
                  <a:lnTo>
                    <a:pt x="180" y="47"/>
                  </a:lnTo>
                  <a:lnTo>
                    <a:pt x="180" y="43"/>
                  </a:lnTo>
                  <a:lnTo>
                    <a:pt x="184" y="43"/>
                  </a:lnTo>
                  <a:lnTo>
                    <a:pt x="180" y="43"/>
                  </a:lnTo>
                  <a:lnTo>
                    <a:pt x="176" y="43"/>
                  </a:lnTo>
                  <a:lnTo>
                    <a:pt x="176" y="39"/>
                  </a:lnTo>
                  <a:lnTo>
                    <a:pt x="176" y="35"/>
                  </a:lnTo>
                  <a:lnTo>
                    <a:pt x="172" y="35"/>
                  </a:lnTo>
                  <a:lnTo>
                    <a:pt x="168" y="35"/>
                  </a:lnTo>
                  <a:lnTo>
                    <a:pt x="168" y="39"/>
                  </a:lnTo>
                  <a:lnTo>
                    <a:pt x="164" y="39"/>
                  </a:lnTo>
                  <a:lnTo>
                    <a:pt x="160" y="39"/>
                  </a:lnTo>
                  <a:lnTo>
                    <a:pt x="156" y="39"/>
                  </a:lnTo>
                  <a:lnTo>
                    <a:pt x="152" y="39"/>
                  </a:lnTo>
                  <a:lnTo>
                    <a:pt x="152" y="35"/>
                  </a:lnTo>
                  <a:lnTo>
                    <a:pt x="152" y="31"/>
                  </a:lnTo>
                  <a:lnTo>
                    <a:pt x="148" y="31"/>
                  </a:lnTo>
                  <a:lnTo>
                    <a:pt x="148" y="35"/>
                  </a:lnTo>
                  <a:lnTo>
                    <a:pt x="144" y="35"/>
                  </a:lnTo>
                  <a:lnTo>
                    <a:pt x="140" y="39"/>
                  </a:lnTo>
                  <a:lnTo>
                    <a:pt x="140" y="35"/>
                  </a:lnTo>
                  <a:lnTo>
                    <a:pt x="140" y="31"/>
                  </a:lnTo>
                  <a:lnTo>
                    <a:pt x="144" y="31"/>
                  </a:lnTo>
                  <a:lnTo>
                    <a:pt x="144" y="27"/>
                  </a:lnTo>
                  <a:lnTo>
                    <a:pt x="144" y="31"/>
                  </a:lnTo>
                  <a:lnTo>
                    <a:pt x="140" y="31"/>
                  </a:lnTo>
                  <a:lnTo>
                    <a:pt x="140" y="27"/>
                  </a:lnTo>
                  <a:lnTo>
                    <a:pt x="144" y="27"/>
                  </a:lnTo>
                  <a:lnTo>
                    <a:pt x="140" y="27"/>
                  </a:lnTo>
                  <a:lnTo>
                    <a:pt x="140" y="24"/>
                  </a:lnTo>
                  <a:lnTo>
                    <a:pt x="140" y="27"/>
                  </a:lnTo>
                  <a:lnTo>
                    <a:pt x="144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0" y="24"/>
                  </a:lnTo>
                  <a:lnTo>
                    <a:pt x="140" y="20"/>
                  </a:lnTo>
                  <a:lnTo>
                    <a:pt x="136" y="20"/>
                  </a:lnTo>
                  <a:lnTo>
                    <a:pt x="136" y="16"/>
                  </a:lnTo>
                  <a:lnTo>
                    <a:pt x="136" y="12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8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4" y="0"/>
                  </a:lnTo>
                  <a:lnTo>
                    <a:pt x="164" y="4"/>
                  </a:lnTo>
                  <a:lnTo>
                    <a:pt x="168" y="4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lnTo>
                    <a:pt x="204" y="4"/>
                  </a:lnTo>
                  <a:lnTo>
                    <a:pt x="204" y="8"/>
                  </a:lnTo>
                  <a:lnTo>
                    <a:pt x="208" y="8"/>
                  </a:lnTo>
                  <a:close/>
                  <a:moveTo>
                    <a:pt x="196" y="163"/>
                  </a:moveTo>
                  <a:lnTo>
                    <a:pt x="196" y="159"/>
                  </a:lnTo>
                  <a:lnTo>
                    <a:pt x="196" y="163"/>
                  </a:lnTo>
                  <a:close/>
                  <a:moveTo>
                    <a:pt x="232" y="175"/>
                  </a:moveTo>
                  <a:lnTo>
                    <a:pt x="232" y="171"/>
                  </a:lnTo>
                  <a:lnTo>
                    <a:pt x="232" y="175"/>
                  </a:lnTo>
                  <a:close/>
                  <a:moveTo>
                    <a:pt x="340" y="79"/>
                  </a:moveTo>
                  <a:lnTo>
                    <a:pt x="336" y="79"/>
                  </a:lnTo>
                  <a:lnTo>
                    <a:pt x="332" y="75"/>
                  </a:lnTo>
                  <a:lnTo>
                    <a:pt x="336" y="75"/>
                  </a:lnTo>
                  <a:lnTo>
                    <a:pt x="340" y="75"/>
                  </a:lnTo>
                  <a:lnTo>
                    <a:pt x="340" y="79"/>
                  </a:lnTo>
                  <a:close/>
                  <a:moveTo>
                    <a:pt x="312" y="87"/>
                  </a:moveTo>
                  <a:lnTo>
                    <a:pt x="312" y="83"/>
                  </a:lnTo>
                  <a:lnTo>
                    <a:pt x="316" y="83"/>
                  </a:lnTo>
                  <a:lnTo>
                    <a:pt x="320" y="79"/>
                  </a:lnTo>
                  <a:lnTo>
                    <a:pt x="324" y="79"/>
                  </a:lnTo>
                  <a:lnTo>
                    <a:pt x="324" y="83"/>
                  </a:lnTo>
                  <a:lnTo>
                    <a:pt x="328" y="83"/>
                  </a:lnTo>
                  <a:lnTo>
                    <a:pt x="328" y="87"/>
                  </a:lnTo>
                  <a:lnTo>
                    <a:pt x="324" y="87"/>
                  </a:lnTo>
                  <a:lnTo>
                    <a:pt x="324" y="91"/>
                  </a:lnTo>
                  <a:lnTo>
                    <a:pt x="320" y="91"/>
                  </a:lnTo>
                  <a:lnTo>
                    <a:pt x="316" y="91"/>
                  </a:lnTo>
                  <a:lnTo>
                    <a:pt x="316" y="87"/>
                  </a:lnTo>
                  <a:lnTo>
                    <a:pt x="312" y="87"/>
                  </a:lnTo>
                  <a:close/>
                  <a:moveTo>
                    <a:pt x="296" y="99"/>
                  </a:moveTo>
                  <a:lnTo>
                    <a:pt x="296" y="95"/>
                  </a:lnTo>
                  <a:lnTo>
                    <a:pt x="300" y="95"/>
                  </a:lnTo>
                  <a:lnTo>
                    <a:pt x="300" y="99"/>
                  </a:lnTo>
                  <a:lnTo>
                    <a:pt x="296" y="99"/>
                  </a:lnTo>
                  <a:close/>
                  <a:moveTo>
                    <a:pt x="296" y="103"/>
                  </a:moveTo>
                  <a:lnTo>
                    <a:pt x="300" y="103"/>
                  </a:lnTo>
                  <a:lnTo>
                    <a:pt x="296" y="103"/>
                  </a:lnTo>
                  <a:close/>
                  <a:moveTo>
                    <a:pt x="68" y="303"/>
                  </a:moveTo>
                  <a:lnTo>
                    <a:pt x="68" y="299"/>
                  </a:lnTo>
                  <a:lnTo>
                    <a:pt x="64" y="299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8" y="303"/>
                  </a:lnTo>
                  <a:close/>
                  <a:moveTo>
                    <a:pt x="8" y="307"/>
                  </a:moveTo>
                  <a:lnTo>
                    <a:pt x="4" y="307"/>
                  </a:lnTo>
                  <a:lnTo>
                    <a:pt x="4" y="303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307"/>
                  </a:lnTo>
                  <a:close/>
                  <a:moveTo>
                    <a:pt x="60" y="315"/>
                  </a:moveTo>
                  <a:lnTo>
                    <a:pt x="56" y="315"/>
                  </a:lnTo>
                  <a:lnTo>
                    <a:pt x="60" y="315"/>
                  </a:lnTo>
                  <a:lnTo>
                    <a:pt x="60" y="311"/>
                  </a:lnTo>
                  <a:lnTo>
                    <a:pt x="64" y="307"/>
                  </a:lnTo>
                  <a:lnTo>
                    <a:pt x="64" y="303"/>
                  </a:lnTo>
                  <a:lnTo>
                    <a:pt x="68" y="303"/>
                  </a:lnTo>
                  <a:lnTo>
                    <a:pt x="68" y="307"/>
                  </a:lnTo>
                  <a:lnTo>
                    <a:pt x="64" y="311"/>
                  </a:lnTo>
                  <a:lnTo>
                    <a:pt x="64" y="315"/>
                  </a:lnTo>
                  <a:lnTo>
                    <a:pt x="60" y="315"/>
                  </a:lnTo>
                  <a:close/>
                  <a:moveTo>
                    <a:pt x="24" y="319"/>
                  </a:moveTo>
                  <a:lnTo>
                    <a:pt x="24" y="315"/>
                  </a:lnTo>
                  <a:lnTo>
                    <a:pt x="20" y="315"/>
                  </a:lnTo>
                  <a:lnTo>
                    <a:pt x="20" y="311"/>
                  </a:lnTo>
                  <a:lnTo>
                    <a:pt x="24" y="311"/>
                  </a:lnTo>
                  <a:lnTo>
                    <a:pt x="28" y="307"/>
                  </a:lnTo>
                  <a:lnTo>
                    <a:pt x="32" y="307"/>
                  </a:lnTo>
                  <a:lnTo>
                    <a:pt x="28" y="307"/>
                  </a:lnTo>
                  <a:lnTo>
                    <a:pt x="28" y="311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9"/>
                  </a:lnTo>
                  <a:close/>
                  <a:moveTo>
                    <a:pt x="16" y="319"/>
                  </a:moveTo>
                  <a:lnTo>
                    <a:pt x="12" y="315"/>
                  </a:lnTo>
                  <a:lnTo>
                    <a:pt x="16" y="315"/>
                  </a:lnTo>
                  <a:lnTo>
                    <a:pt x="16" y="319"/>
                  </a:lnTo>
                  <a:close/>
                  <a:moveTo>
                    <a:pt x="40" y="323"/>
                  </a:moveTo>
                  <a:lnTo>
                    <a:pt x="36" y="319"/>
                  </a:lnTo>
                  <a:lnTo>
                    <a:pt x="36" y="315"/>
                  </a:lnTo>
                  <a:lnTo>
                    <a:pt x="40" y="315"/>
                  </a:lnTo>
                  <a:lnTo>
                    <a:pt x="44" y="315"/>
                  </a:lnTo>
                  <a:lnTo>
                    <a:pt x="44" y="319"/>
                  </a:lnTo>
                  <a:lnTo>
                    <a:pt x="40" y="323"/>
                  </a:lnTo>
                  <a:close/>
                  <a:moveTo>
                    <a:pt x="4" y="323"/>
                  </a:moveTo>
                  <a:lnTo>
                    <a:pt x="0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34" name="Freeform 188">
              <a:extLst>
                <a:ext uri="{FF2B5EF4-FFF2-40B4-BE49-F238E27FC236}">
                  <a16:creationId xmlns:a16="http://schemas.microsoft.com/office/drawing/2014/main" xmlns="" id="{D86F6122-03AC-433C-9E45-BF95FFFE45E2}"/>
                </a:ext>
              </a:extLst>
            </p:cNvPr>
            <p:cNvSpPr>
              <a:spLocks noEditPoints="1"/>
            </p:cNvSpPr>
            <p:nvPr>
              <p:custDataLst>
                <p:tags r:id="rId186"/>
              </p:custDataLst>
            </p:nvPr>
          </p:nvSpPr>
          <p:spPr bwMode="gray">
            <a:xfrm>
              <a:off x="376238" y="2366909"/>
              <a:ext cx="8033756" cy="1709972"/>
            </a:xfrm>
            <a:custGeom>
              <a:avLst/>
              <a:gdLst/>
              <a:ahLst/>
              <a:cxnLst>
                <a:cxn ang="0">
                  <a:pos x="407" y="303"/>
                </a:cxn>
                <a:cxn ang="0">
                  <a:pos x="375" y="299"/>
                </a:cxn>
                <a:cxn ang="0">
                  <a:pos x="303" y="375"/>
                </a:cxn>
                <a:cxn ang="0">
                  <a:pos x="232" y="415"/>
                </a:cxn>
                <a:cxn ang="0">
                  <a:pos x="315" y="335"/>
                </a:cxn>
                <a:cxn ang="0">
                  <a:pos x="248" y="315"/>
                </a:cxn>
                <a:cxn ang="0">
                  <a:pos x="216" y="275"/>
                </a:cxn>
                <a:cxn ang="0">
                  <a:pos x="204" y="232"/>
                </a:cxn>
                <a:cxn ang="0">
                  <a:pos x="232" y="184"/>
                </a:cxn>
                <a:cxn ang="0">
                  <a:pos x="160" y="148"/>
                </a:cxn>
                <a:cxn ang="0">
                  <a:pos x="248" y="128"/>
                </a:cxn>
                <a:cxn ang="0">
                  <a:pos x="176" y="80"/>
                </a:cxn>
                <a:cxn ang="0">
                  <a:pos x="276" y="20"/>
                </a:cxn>
                <a:cxn ang="0">
                  <a:pos x="387" y="12"/>
                </a:cxn>
                <a:cxn ang="0">
                  <a:pos x="547" y="40"/>
                </a:cxn>
                <a:cxn ang="0">
                  <a:pos x="639" y="303"/>
                </a:cxn>
                <a:cxn ang="0">
                  <a:pos x="714" y="419"/>
                </a:cxn>
                <a:cxn ang="0">
                  <a:pos x="682" y="359"/>
                </a:cxn>
                <a:cxn ang="0">
                  <a:pos x="651" y="335"/>
                </a:cxn>
                <a:cxn ang="0">
                  <a:pos x="599" y="315"/>
                </a:cxn>
                <a:cxn ang="0">
                  <a:pos x="499" y="283"/>
                </a:cxn>
                <a:cxn ang="0">
                  <a:pos x="459" y="283"/>
                </a:cxn>
                <a:cxn ang="0">
                  <a:pos x="1540" y="794"/>
                </a:cxn>
                <a:cxn ang="0">
                  <a:pos x="1552" y="826"/>
                </a:cxn>
                <a:cxn ang="0">
                  <a:pos x="1476" y="894"/>
                </a:cxn>
                <a:cxn ang="0">
                  <a:pos x="1480" y="1026"/>
                </a:cxn>
                <a:cxn ang="0">
                  <a:pos x="1416" y="946"/>
                </a:cxn>
                <a:cxn ang="0">
                  <a:pos x="1341" y="942"/>
                </a:cxn>
                <a:cxn ang="0">
                  <a:pos x="1261" y="950"/>
                </a:cxn>
                <a:cxn ang="0">
                  <a:pos x="1205" y="1014"/>
                </a:cxn>
                <a:cxn ang="0">
                  <a:pos x="1089" y="910"/>
                </a:cxn>
                <a:cxn ang="0">
                  <a:pos x="906" y="862"/>
                </a:cxn>
                <a:cxn ang="0">
                  <a:pos x="842" y="778"/>
                </a:cxn>
                <a:cxn ang="0">
                  <a:pos x="822" y="615"/>
                </a:cxn>
                <a:cxn ang="0">
                  <a:pos x="838" y="587"/>
                </a:cxn>
                <a:cxn ang="0">
                  <a:pos x="1002" y="547"/>
                </a:cxn>
                <a:cxn ang="0">
                  <a:pos x="1277" y="559"/>
                </a:cxn>
                <a:cxn ang="0">
                  <a:pos x="1448" y="639"/>
                </a:cxn>
                <a:cxn ang="0">
                  <a:pos x="1568" y="635"/>
                </a:cxn>
                <a:cxn ang="0">
                  <a:pos x="1672" y="647"/>
                </a:cxn>
                <a:cxn ang="0">
                  <a:pos x="1640" y="698"/>
                </a:cxn>
                <a:cxn ang="0">
                  <a:pos x="1564" y="758"/>
                </a:cxn>
                <a:cxn ang="0">
                  <a:pos x="1544" y="754"/>
                </a:cxn>
                <a:cxn ang="0">
                  <a:pos x="507" y="295"/>
                </a:cxn>
                <a:cxn ang="0">
                  <a:pos x="1484" y="994"/>
                </a:cxn>
                <a:cxn ang="0">
                  <a:pos x="116" y="200"/>
                </a:cxn>
                <a:cxn ang="0">
                  <a:pos x="471" y="287"/>
                </a:cxn>
                <a:cxn ang="0">
                  <a:pos x="666" y="359"/>
                </a:cxn>
                <a:cxn ang="0">
                  <a:pos x="654" y="343"/>
                </a:cxn>
                <a:cxn ang="0">
                  <a:pos x="383" y="343"/>
                </a:cxn>
                <a:cxn ang="0">
                  <a:pos x="375" y="343"/>
                </a:cxn>
                <a:cxn ang="0">
                  <a:pos x="678" y="371"/>
                </a:cxn>
                <a:cxn ang="0">
                  <a:pos x="359" y="375"/>
                </a:cxn>
                <a:cxn ang="0">
                  <a:pos x="682" y="399"/>
                </a:cxn>
                <a:cxn ang="0">
                  <a:pos x="666" y="391"/>
                </a:cxn>
                <a:cxn ang="0">
                  <a:pos x="706" y="407"/>
                </a:cxn>
                <a:cxn ang="0">
                  <a:pos x="710" y="411"/>
                </a:cxn>
                <a:cxn ang="0">
                  <a:pos x="156" y="451"/>
                </a:cxn>
                <a:cxn ang="0">
                  <a:pos x="88" y="475"/>
                </a:cxn>
                <a:cxn ang="0">
                  <a:pos x="32" y="483"/>
                </a:cxn>
                <a:cxn ang="0">
                  <a:pos x="1628" y="710"/>
                </a:cxn>
                <a:cxn ang="0">
                  <a:pos x="1261" y="958"/>
                </a:cxn>
                <a:cxn ang="0">
                  <a:pos x="335" y="1122"/>
                </a:cxn>
              </a:cxnLst>
              <a:rect l="0" t="0" r="r" b="b"/>
              <a:pathLst>
                <a:path w="5417" h="1153">
                  <a:moveTo>
                    <a:pt x="447" y="283"/>
                  </a:moveTo>
                  <a:lnTo>
                    <a:pt x="447" y="279"/>
                  </a:lnTo>
                  <a:lnTo>
                    <a:pt x="451" y="279"/>
                  </a:lnTo>
                  <a:lnTo>
                    <a:pt x="455" y="279"/>
                  </a:lnTo>
                  <a:lnTo>
                    <a:pt x="459" y="279"/>
                  </a:lnTo>
                  <a:lnTo>
                    <a:pt x="459" y="283"/>
                  </a:lnTo>
                  <a:lnTo>
                    <a:pt x="455" y="283"/>
                  </a:lnTo>
                  <a:lnTo>
                    <a:pt x="451" y="287"/>
                  </a:lnTo>
                  <a:lnTo>
                    <a:pt x="455" y="287"/>
                  </a:lnTo>
                  <a:lnTo>
                    <a:pt x="455" y="291"/>
                  </a:lnTo>
                  <a:lnTo>
                    <a:pt x="451" y="291"/>
                  </a:lnTo>
                  <a:lnTo>
                    <a:pt x="451" y="287"/>
                  </a:lnTo>
                  <a:lnTo>
                    <a:pt x="451" y="291"/>
                  </a:lnTo>
                  <a:lnTo>
                    <a:pt x="451" y="295"/>
                  </a:lnTo>
                  <a:lnTo>
                    <a:pt x="447" y="295"/>
                  </a:lnTo>
                  <a:lnTo>
                    <a:pt x="443" y="295"/>
                  </a:lnTo>
                  <a:lnTo>
                    <a:pt x="439" y="295"/>
                  </a:lnTo>
                  <a:lnTo>
                    <a:pt x="439" y="291"/>
                  </a:lnTo>
                  <a:lnTo>
                    <a:pt x="439" y="295"/>
                  </a:lnTo>
                  <a:lnTo>
                    <a:pt x="435" y="295"/>
                  </a:lnTo>
                  <a:lnTo>
                    <a:pt x="435" y="291"/>
                  </a:lnTo>
                  <a:lnTo>
                    <a:pt x="435" y="295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5" y="299"/>
                  </a:lnTo>
                  <a:lnTo>
                    <a:pt x="431" y="299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1" y="303"/>
                  </a:lnTo>
                  <a:lnTo>
                    <a:pt x="431" y="299"/>
                  </a:lnTo>
                  <a:lnTo>
                    <a:pt x="427" y="299"/>
                  </a:lnTo>
                  <a:lnTo>
                    <a:pt x="427" y="303"/>
                  </a:lnTo>
                  <a:lnTo>
                    <a:pt x="423" y="307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23" y="303"/>
                  </a:lnTo>
                  <a:lnTo>
                    <a:pt x="423" y="299"/>
                  </a:lnTo>
                  <a:lnTo>
                    <a:pt x="423" y="303"/>
                  </a:lnTo>
                  <a:lnTo>
                    <a:pt x="419" y="303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15" y="303"/>
                  </a:lnTo>
                  <a:lnTo>
                    <a:pt x="419" y="307"/>
                  </a:lnTo>
                  <a:lnTo>
                    <a:pt x="415" y="307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03" y="311"/>
                  </a:lnTo>
                  <a:lnTo>
                    <a:pt x="403" y="315"/>
                  </a:lnTo>
                  <a:lnTo>
                    <a:pt x="399" y="315"/>
                  </a:lnTo>
                  <a:lnTo>
                    <a:pt x="399" y="311"/>
                  </a:lnTo>
                  <a:lnTo>
                    <a:pt x="395" y="311"/>
                  </a:lnTo>
                  <a:lnTo>
                    <a:pt x="399" y="307"/>
                  </a:lnTo>
                  <a:lnTo>
                    <a:pt x="403" y="307"/>
                  </a:lnTo>
                  <a:lnTo>
                    <a:pt x="403" y="303"/>
                  </a:lnTo>
                  <a:lnTo>
                    <a:pt x="407" y="303"/>
                  </a:lnTo>
                  <a:lnTo>
                    <a:pt x="411" y="299"/>
                  </a:lnTo>
                  <a:lnTo>
                    <a:pt x="407" y="299"/>
                  </a:lnTo>
                  <a:lnTo>
                    <a:pt x="403" y="303"/>
                  </a:lnTo>
                  <a:lnTo>
                    <a:pt x="399" y="299"/>
                  </a:lnTo>
                  <a:lnTo>
                    <a:pt x="399" y="291"/>
                  </a:lnTo>
                  <a:lnTo>
                    <a:pt x="403" y="291"/>
                  </a:lnTo>
                  <a:lnTo>
                    <a:pt x="403" y="287"/>
                  </a:lnTo>
                  <a:lnTo>
                    <a:pt x="407" y="283"/>
                  </a:lnTo>
                  <a:lnTo>
                    <a:pt x="407" y="279"/>
                  </a:lnTo>
                  <a:lnTo>
                    <a:pt x="407" y="275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5"/>
                  </a:lnTo>
                  <a:lnTo>
                    <a:pt x="415" y="271"/>
                  </a:lnTo>
                  <a:lnTo>
                    <a:pt x="419" y="267"/>
                  </a:lnTo>
                  <a:lnTo>
                    <a:pt x="423" y="267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27" y="267"/>
                  </a:lnTo>
                  <a:lnTo>
                    <a:pt x="431" y="267"/>
                  </a:lnTo>
                  <a:lnTo>
                    <a:pt x="431" y="271"/>
                  </a:lnTo>
                  <a:lnTo>
                    <a:pt x="435" y="271"/>
                  </a:lnTo>
                  <a:lnTo>
                    <a:pt x="439" y="271"/>
                  </a:lnTo>
                  <a:lnTo>
                    <a:pt x="435" y="271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7" y="263"/>
                  </a:lnTo>
                  <a:lnTo>
                    <a:pt x="427" y="259"/>
                  </a:lnTo>
                  <a:lnTo>
                    <a:pt x="431" y="259"/>
                  </a:lnTo>
                  <a:lnTo>
                    <a:pt x="435" y="259"/>
                  </a:lnTo>
                  <a:lnTo>
                    <a:pt x="439" y="255"/>
                  </a:lnTo>
                  <a:lnTo>
                    <a:pt x="435" y="255"/>
                  </a:lnTo>
                  <a:lnTo>
                    <a:pt x="431" y="255"/>
                  </a:lnTo>
                  <a:lnTo>
                    <a:pt x="431" y="259"/>
                  </a:lnTo>
                  <a:lnTo>
                    <a:pt x="427" y="259"/>
                  </a:lnTo>
                  <a:lnTo>
                    <a:pt x="427" y="263"/>
                  </a:lnTo>
                  <a:lnTo>
                    <a:pt x="423" y="263"/>
                  </a:lnTo>
                  <a:lnTo>
                    <a:pt x="419" y="263"/>
                  </a:lnTo>
                  <a:lnTo>
                    <a:pt x="415" y="263"/>
                  </a:lnTo>
                  <a:lnTo>
                    <a:pt x="411" y="263"/>
                  </a:lnTo>
                  <a:lnTo>
                    <a:pt x="407" y="267"/>
                  </a:lnTo>
                  <a:lnTo>
                    <a:pt x="403" y="267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395" y="275"/>
                  </a:lnTo>
                  <a:lnTo>
                    <a:pt x="395" y="279"/>
                  </a:lnTo>
                  <a:lnTo>
                    <a:pt x="391" y="279"/>
                  </a:lnTo>
                  <a:lnTo>
                    <a:pt x="391" y="283"/>
                  </a:lnTo>
                  <a:lnTo>
                    <a:pt x="391" y="287"/>
                  </a:lnTo>
                  <a:lnTo>
                    <a:pt x="387" y="287"/>
                  </a:lnTo>
                  <a:lnTo>
                    <a:pt x="383" y="287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3" y="295"/>
                  </a:lnTo>
                  <a:lnTo>
                    <a:pt x="379" y="295"/>
                  </a:lnTo>
                  <a:lnTo>
                    <a:pt x="375" y="299"/>
                  </a:lnTo>
                  <a:lnTo>
                    <a:pt x="379" y="295"/>
                  </a:lnTo>
                  <a:lnTo>
                    <a:pt x="379" y="299"/>
                  </a:lnTo>
                  <a:lnTo>
                    <a:pt x="379" y="303"/>
                  </a:lnTo>
                  <a:lnTo>
                    <a:pt x="375" y="303"/>
                  </a:lnTo>
                  <a:lnTo>
                    <a:pt x="375" y="299"/>
                  </a:lnTo>
                  <a:lnTo>
                    <a:pt x="375" y="303"/>
                  </a:lnTo>
                  <a:lnTo>
                    <a:pt x="371" y="303"/>
                  </a:lnTo>
                  <a:lnTo>
                    <a:pt x="367" y="303"/>
                  </a:lnTo>
                  <a:lnTo>
                    <a:pt x="371" y="307"/>
                  </a:lnTo>
                  <a:lnTo>
                    <a:pt x="367" y="307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63" y="311"/>
                  </a:lnTo>
                  <a:lnTo>
                    <a:pt x="363" y="315"/>
                  </a:lnTo>
                  <a:lnTo>
                    <a:pt x="367" y="315"/>
                  </a:lnTo>
                  <a:lnTo>
                    <a:pt x="371" y="315"/>
                  </a:lnTo>
                  <a:lnTo>
                    <a:pt x="371" y="319"/>
                  </a:lnTo>
                  <a:lnTo>
                    <a:pt x="375" y="319"/>
                  </a:lnTo>
                  <a:lnTo>
                    <a:pt x="375" y="323"/>
                  </a:lnTo>
                  <a:lnTo>
                    <a:pt x="371" y="327"/>
                  </a:lnTo>
                  <a:lnTo>
                    <a:pt x="367" y="327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59" y="335"/>
                  </a:lnTo>
                  <a:lnTo>
                    <a:pt x="363" y="335"/>
                  </a:lnTo>
                  <a:lnTo>
                    <a:pt x="363" y="339"/>
                  </a:lnTo>
                  <a:lnTo>
                    <a:pt x="359" y="339"/>
                  </a:lnTo>
                  <a:lnTo>
                    <a:pt x="355" y="339"/>
                  </a:lnTo>
                  <a:lnTo>
                    <a:pt x="355" y="343"/>
                  </a:lnTo>
                  <a:lnTo>
                    <a:pt x="351" y="339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51"/>
                  </a:lnTo>
                  <a:lnTo>
                    <a:pt x="335" y="351"/>
                  </a:lnTo>
                  <a:lnTo>
                    <a:pt x="335" y="355"/>
                  </a:lnTo>
                  <a:lnTo>
                    <a:pt x="331" y="355"/>
                  </a:lnTo>
                  <a:lnTo>
                    <a:pt x="327" y="359"/>
                  </a:lnTo>
                  <a:lnTo>
                    <a:pt x="331" y="359"/>
                  </a:lnTo>
                  <a:lnTo>
                    <a:pt x="331" y="363"/>
                  </a:lnTo>
                  <a:lnTo>
                    <a:pt x="327" y="363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11" y="371"/>
                  </a:lnTo>
                  <a:lnTo>
                    <a:pt x="311" y="375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307" y="375"/>
                  </a:lnTo>
                  <a:lnTo>
                    <a:pt x="307" y="379"/>
                  </a:lnTo>
                  <a:lnTo>
                    <a:pt x="303" y="379"/>
                  </a:lnTo>
                  <a:lnTo>
                    <a:pt x="303" y="375"/>
                  </a:lnTo>
                  <a:lnTo>
                    <a:pt x="303" y="379"/>
                  </a:lnTo>
                  <a:lnTo>
                    <a:pt x="299" y="379"/>
                  </a:lnTo>
                  <a:lnTo>
                    <a:pt x="296" y="379"/>
                  </a:lnTo>
                  <a:lnTo>
                    <a:pt x="296" y="383"/>
                  </a:lnTo>
                  <a:lnTo>
                    <a:pt x="299" y="379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7"/>
                  </a:lnTo>
                  <a:lnTo>
                    <a:pt x="299" y="383"/>
                  </a:lnTo>
                  <a:lnTo>
                    <a:pt x="299" y="387"/>
                  </a:lnTo>
                  <a:lnTo>
                    <a:pt x="296" y="387"/>
                  </a:lnTo>
                  <a:lnTo>
                    <a:pt x="299" y="383"/>
                  </a:lnTo>
                  <a:lnTo>
                    <a:pt x="296" y="383"/>
                  </a:lnTo>
                  <a:lnTo>
                    <a:pt x="296" y="387"/>
                  </a:lnTo>
                  <a:lnTo>
                    <a:pt x="296" y="391"/>
                  </a:lnTo>
                  <a:lnTo>
                    <a:pt x="296" y="387"/>
                  </a:lnTo>
                  <a:lnTo>
                    <a:pt x="292" y="387"/>
                  </a:lnTo>
                  <a:lnTo>
                    <a:pt x="292" y="391"/>
                  </a:lnTo>
                  <a:lnTo>
                    <a:pt x="288" y="391"/>
                  </a:lnTo>
                  <a:lnTo>
                    <a:pt x="284" y="391"/>
                  </a:lnTo>
                  <a:lnTo>
                    <a:pt x="284" y="395"/>
                  </a:lnTo>
                  <a:lnTo>
                    <a:pt x="280" y="395"/>
                  </a:lnTo>
                  <a:lnTo>
                    <a:pt x="280" y="399"/>
                  </a:lnTo>
                  <a:lnTo>
                    <a:pt x="280" y="395"/>
                  </a:lnTo>
                  <a:lnTo>
                    <a:pt x="280" y="391"/>
                  </a:lnTo>
                  <a:lnTo>
                    <a:pt x="276" y="391"/>
                  </a:lnTo>
                  <a:lnTo>
                    <a:pt x="276" y="395"/>
                  </a:lnTo>
                  <a:lnTo>
                    <a:pt x="272" y="395"/>
                  </a:lnTo>
                  <a:lnTo>
                    <a:pt x="272" y="399"/>
                  </a:lnTo>
                  <a:lnTo>
                    <a:pt x="268" y="399"/>
                  </a:lnTo>
                  <a:lnTo>
                    <a:pt x="264" y="399"/>
                  </a:lnTo>
                  <a:lnTo>
                    <a:pt x="264" y="403"/>
                  </a:lnTo>
                  <a:lnTo>
                    <a:pt x="264" y="399"/>
                  </a:lnTo>
                  <a:lnTo>
                    <a:pt x="260" y="399"/>
                  </a:lnTo>
                  <a:lnTo>
                    <a:pt x="260" y="403"/>
                  </a:lnTo>
                  <a:lnTo>
                    <a:pt x="256" y="403"/>
                  </a:lnTo>
                  <a:lnTo>
                    <a:pt x="252" y="403"/>
                  </a:lnTo>
                  <a:lnTo>
                    <a:pt x="252" y="399"/>
                  </a:lnTo>
                  <a:lnTo>
                    <a:pt x="256" y="399"/>
                  </a:lnTo>
                  <a:lnTo>
                    <a:pt x="252" y="399"/>
                  </a:lnTo>
                  <a:lnTo>
                    <a:pt x="248" y="399"/>
                  </a:lnTo>
                  <a:lnTo>
                    <a:pt x="248" y="403"/>
                  </a:lnTo>
                  <a:lnTo>
                    <a:pt x="248" y="407"/>
                  </a:lnTo>
                  <a:lnTo>
                    <a:pt x="244" y="407"/>
                  </a:lnTo>
                  <a:lnTo>
                    <a:pt x="244" y="411"/>
                  </a:lnTo>
                  <a:lnTo>
                    <a:pt x="244" y="407"/>
                  </a:lnTo>
                  <a:lnTo>
                    <a:pt x="240" y="411"/>
                  </a:lnTo>
                  <a:lnTo>
                    <a:pt x="236" y="411"/>
                  </a:lnTo>
                  <a:lnTo>
                    <a:pt x="236" y="407"/>
                  </a:lnTo>
                  <a:lnTo>
                    <a:pt x="236" y="411"/>
                  </a:lnTo>
                  <a:lnTo>
                    <a:pt x="232" y="415"/>
                  </a:lnTo>
                  <a:lnTo>
                    <a:pt x="232" y="411"/>
                  </a:lnTo>
                  <a:lnTo>
                    <a:pt x="228" y="411"/>
                  </a:lnTo>
                  <a:lnTo>
                    <a:pt x="228" y="407"/>
                  </a:lnTo>
                  <a:lnTo>
                    <a:pt x="228" y="411"/>
                  </a:lnTo>
                  <a:lnTo>
                    <a:pt x="228" y="415"/>
                  </a:lnTo>
                  <a:lnTo>
                    <a:pt x="224" y="415"/>
                  </a:lnTo>
                  <a:lnTo>
                    <a:pt x="224" y="411"/>
                  </a:lnTo>
                  <a:lnTo>
                    <a:pt x="224" y="407"/>
                  </a:lnTo>
                  <a:lnTo>
                    <a:pt x="228" y="407"/>
                  </a:lnTo>
                  <a:lnTo>
                    <a:pt x="232" y="407"/>
                  </a:lnTo>
                  <a:lnTo>
                    <a:pt x="232" y="403"/>
                  </a:lnTo>
                  <a:lnTo>
                    <a:pt x="236" y="403"/>
                  </a:lnTo>
                  <a:lnTo>
                    <a:pt x="236" y="399"/>
                  </a:lnTo>
                  <a:lnTo>
                    <a:pt x="240" y="399"/>
                  </a:lnTo>
                  <a:lnTo>
                    <a:pt x="240" y="395"/>
                  </a:lnTo>
                  <a:lnTo>
                    <a:pt x="244" y="395"/>
                  </a:lnTo>
                  <a:lnTo>
                    <a:pt x="248" y="391"/>
                  </a:lnTo>
                  <a:lnTo>
                    <a:pt x="256" y="391"/>
                  </a:lnTo>
                  <a:lnTo>
                    <a:pt x="260" y="391"/>
                  </a:lnTo>
                  <a:lnTo>
                    <a:pt x="264" y="395"/>
                  </a:lnTo>
                  <a:lnTo>
                    <a:pt x="264" y="391"/>
                  </a:lnTo>
                  <a:lnTo>
                    <a:pt x="268" y="391"/>
                  </a:lnTo>
                  <a:lnTo>
                    <a:pt x="268" y="395"/>
                  </a:lnTo>
                  <a:lnTo>
                    <a:pt x="272" y="395"/>
                  </a:lnTo>
                  <a:lnTo>
                    <a:pt x="272" y="391"/>
                  </a:lnTo>
                  <a:lnTo>
                    <a:pt x="268" y="391"/>
                  </a:lnTo>
                  <a:lnTo>
                    <a:pt x="268" y="387"/>
                  </a:lnTo>
                  <a:lnTo>
                    <a:pt x="268" y="383"/>
                  </a:lnTo>
                  <a:lnTo>
                    <a:pt x="272" y="383"/>
                  </a:lnTo>
                  <a:lnTo>
                    <a:pt x="272" y="379"/>
                  </a:lnTo>
                  <a:lnTo>
                    <a:pt x="276" y="379"/>
                  </a:lnTo>
                  <a:lnTo>
                    <a:pt x="276" y="375"/>
                  </a:lnTo>
                  <a:lnTo>
                    <a:pt x="280" y="375"/>
                  </a:lnTo>
                  <a:lnTo>
                    <a:pt x="284" y="375"/>
                  </a:lnTo>
                  <a:lnTo>
                    <a:pt x="288" y="371"/>
                  </a:lnTo>
                  <a:lnTo>
                    <a:pt x="292" y="371"/>
                  </a:lnTo>
                  <a:lnTo>
                    <a:pt x="296" y="371"/>
                  </a:lnTo>
                  <a:lnTo>
                    <a:pt x="296" y="367"/>
                  </a:lnTo>
                  <a:lnTo>
                    <a:pt x="296" y="363"/>
                  </a:lnTo>
                  <a:lnTo>
                    <a:pt x="299" y="359"/>
                  </a:lnTo>
                  <a:lnTo>
                    <a:pt x="303" y="355"/>
                  </a:lnTo>
                  <a:lnTo>
                    <a:pt x="307" y="355"/>
                  </a:lnTo>
                  <a:lnTo>
                    <a:pt x="307" y="351"/>
                  </a:lnTo>
                  <a:lnTo>
                    <a:pt x="311" y="351"/>
                  </a:lnTo>
                  <a:lnTo>
                    <a:pt x="311" y="355"/>
                  </a:lnTo>
                  <a:lnTo>
                    <a:pt x="315" y="355"/>
                  </a:lnTo>
                  <a:lnTo>
                    <a:pt x="315" y="351"/>
                  </a:lnTo>
                  <a:lnTo>
                    <a:pt x="311" y="355"/>
                  </a:lnTo>
                  <a:lnTo>
                    <a:pt x="311" y="351"/>
                  </a:lnTo>
                  <a:lnTo>
                    <a:pt x="311" y="347"/>
                  </a:lnTo>
                  <a:lnTo>
                    <a:pt x="311" y="343"/>
                  </a:lnTo>
                  <a:lnTo>
                    <a:pt x="311" y="339"/>
                  </a:lnTo>
                  <a:lnTo>
                    <a:pt x="315" y="335"/>
                  </a:lnTo>
                  <a:lnTo>
                    <a:pt x="319" y="335"/>
                  </a:lnTo>
                  <a:lnTo>
                    <a:pt x="319" y="339"/>
                  </a:lnTo>
                  <a:lnTo>
                    <a:pt x="319" y="335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1"/>
                  </a:lnTo>
                  <a:lnTo>
                    <a:pt x="315" y="327"/>
                  </a:lnTo>
                  <a:lnTo>
                    <a:pt x="319" y="323"/>
                  </a:lnTo>
                  <a:lnTo>
                    <a:pt x="319" y="319"/>
                  </a:lnTo>
                  <a:lnTo>
                    <a:pt x="323" y="319"/>
                  </a:lnTo>
                  <a:lnTo>
                    <a:pt x="323" y="315"/>
                  </a:lnTo>
                  <a:lnTo>
                    <a:pt x="319" y="319"/>
                  </a:lnTo>
                  <a:lnTo>
                    <a:pt x="315" y="319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23"/>
                  </a:lnTo>
                  <a:lnTo>
                    <a:pt x="303" y="327"/>
                  </a:lnTo>
                  <a:lnTo>
                    <a:pt x="299" y="327"/>
                  </a:lnTo>
                  <a:lnTo>
                    <a:pt x="299" y="323"/>
                  </a:lnTo>
                  <a:lnTo>
                    <a:pt x="296" y="323"/>
                  </a:lnTo>
                  <a:lnTo>
                    <a:pt x="296" y="319"/>
                  </a:lnTo>
                  <a:lnTo>
                    <a:pt x="299" y="319"/>
                  </a:lnTo>
                  <a:lnTo>
                    <a:pt x="299" y="315"/>
                  </a:lnTo>
                  <a:lnTo>
                    <a:pt x="303" y="315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6" y="311"/>
                  </a:lnTo>
                  <a:lnTo>
                    <a:pt x="296" y="315"/>
                  </a:lnTo>
                  <a:lnTo>
                    <a:pt x="299" y="315"/>
                  </a:lnTo>
                  <a:lnTo>
                    <a:pt x="296" y="319"/>
                  </a:lnTo>
                  <a:lnTo>
                    <a:pt x="292" y="319"/>
                  </a:lnTo>
                  <a:lnTo>
                    <a:pt x="292" y="323"/>
                  </a:lnTo>
                  <a:lnTo>
                    <a:pt x="296" y="331"/>
                  </a:lnTo>
                  <a:lnTo>
                    <a:pt x="292" y="331"/>
                  </a:lnTo>
                  <a:lnTo>
                    <a:pt x="288" y="331"/>
                  </a:lnTo>
                  <a:lnTo>
                    <a:pt x="288" y="327"/>
                  </a:lnTo>
                  <a:lnTo>
                    <a:pt x="284" y="323"/>
                  </a:lnTo>
                  <a:lnTo>
                    <a:pt x="280" y="319"/>
                  </a:lnTo>
                  <a:lnTo>
                    <a:pt x="280" y="323"/>
                  </a:lnTo>
                  <a:lnTo>
                    <a:pt x="276" y="323"/>
                  </a:lnTo>
                  <a:lnTo>
                    <a:pt x="276" y="319"/>
                  </a:lnTo>
                  <a:lnTo>
                    <a:pt x="272" y="319"/>
                  </a:lnTo>
                  <a:lnTo>
                    <a:pt x="272" y="315"/>
                  </a:lnTo>
                  <a:lnTo>
                    <a:pt x="268" y="315"/>
                  </a:lnTo>
                  <a:lnTo>
                    <a:pt x="264" y="319"/>
                  </a:lnTo>
                  <a:lnTo>
                    <a:pt x="260" y="319"/>
                  </a:lnTo>
                  <a:lnTo>
                    <a:pt x="260" y="323"/>
                  </a:lnTo>
                  <a:lnTo>
                    <a:pt x="256" y="323"/>
                  </a:lnTo>
                  <a:lnTo>
                    <a:pt x="256" y="327"/>
                  </a:lnTo>
                  <a:lnTo>
                    <a:pt x="252" y="327"/>
                  </a:lnTo>
                  <a:lnTo>
                    <a:pt x="248" y="327"/>
                  </a:lnTo>
                  <a:lnTo>
                    <a:pt x="244" y="327"/>
                  </a:lnTo>
                  <a:lnTo>
                    <a:pt x="244" y="323"/>
                  </a:lnTo>
                  <a:lnTo>
                    <a:pt x="244" y="327"/>
                  </a:lnTo>
                  <a:lnTo>
                    <a:pt x="248" y="327"/>
                  </a:lnTo>
                  <a:lnTo>
                    <a:pt x="248" y="323"/>
                  </a:lnTo>
                  <a:lnTo>
                    <a:pt x="252" y="323"/>
                  </a:lnTo>
                  <a:lnTo>
                    <a:pt x="248" y="323"/>
                  </a:lnTo>
                  <a:lnTo>
                    <a:pt x="248" y="319"/>
                  </a:lnTo>
                  <a:lnTo>
                    <a:pt x="248" y="315"/>
                  </a:lnTo>
                  <a:lnTo>
                    <a:pt x="252" y="315"/>
                  </a:lnTo>
                  <a:lnTo>
                    <a:pt x="248" y="315"/>
                  </a:lnTo>
                  <a:lnTo>
                    <a:pt x="244" y="315"/>
                  </a:lnTo>
                  <a:lnTo>
                    <a:pt x="244" y="311"/>
                  </a:lnTo>
                  <a:lnTo>
                    <a:pt x="244" y="307"/>
                  </a:lnTo>
                  <a:lnTo>
                    <a:pt x="248" y="307"/>
                  </a:lnTo>
                  <a:lnTo>
                    <a:pt x="248" y="303"/>
                  </a:lnTo>
                  <a:lnTo>
                    <a:pt x="248" y="299"/>
                  </a:lnTo>
                  <a:lnTo>
                    <a:pt x="244" y="299"/>
                  </a:lnTo>
                  <a:lnTo>
                    <a:pt x="244" y="295"/>
                  </a:lnTo>
                  <a:lnTo>
                    <a:pt x="240" y="291"/>
                  </a:lnTo>
                  <a:lnTo>
                    <a:pt x="244" y="287"/>
                  </a:lnTo>
                  <a:lnTo>
                    <a:pt x="240" y="287"/>
                  </a:lnTo>
                  <a:lnTo>
                    <a:pt x="240" y="291"/>
                  </a:lnTo>
                  <a:lnTo>
                    <a:pt x="240" y="287"/>
                  </a:lnTo>
                  <a:lnTo>
                    <a:pt x="240" y="283"/>
                  </a:lnTo>
                  <a:lnTo>
                    <a:pt x="240" y="279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8" y="275"/>
                  </a:lnTo>
                  <a:lnTo>
                    <a:pt x="244" y="275"/>
                  </a:lnTo>
                  <a:lnTo>
                    <a:pt x="240" y="279"/>
                  </a:lnTo>
                  <a:lnTo>
                    <a:pt x="240" y="283"/>
                  </a:lnTo>
                  <a:lnTo>
                    <a:pt x="236" y="283"/>
                  </a:lnTo>
                  <a:lnTo>
                    <a:pt x="236" y="287"/>
                  </a:lnTo>
                  <a:lnTo>
                    <a:pt x="240" y="287"/>
                  </a:lnTo>
                  <a:lnTo>
                    <a:pt x="236" y="291"/>
                  </a:lnTo>
                  <a:lnTo>
                    <a:pt x="236" y="295"/>
                  </a:lnTo>
                  <a:lnTo>
                    <a:pt x="232" y="295"/>
                  </a:lnTo>
                  <a:lnTo>
                    <a:pt x="228" y="295"/>
                  </a:lnTo>
                  <a:lnTo>
                    <a:pt x="224" y="299"/>
                  </a:lnTo>
                  <a:lnTo>
                    <a:pt x="220" y="299"/>
                  </a:lnTo>
                  <a:lnTo>
                    <a:pt x="216" y="299"/>
                  </a:lnTo>
                  <a:lnTo>
                    <a:pt x="212" y="299"/>
                  </a:lnTo>
                  <a:lnTo>
                    <a:pt x="212" y="295"/>
                  </a:lnTo>
                  <a:lnTo>
                    <a:pt x="212" y="291"/>
                  </a:lnTo>
                  <a:lnTo>
                    <a:pt x="208" y="291"/>
                  </a:lnTo>
                  <a:lnTo>
                    <a:pt x="208" y="287"/>
                  </a:lnTo>
                  <a:lnTo>
                    <a:pt x="204" y="287"/>
                  </a:lnTo>
                  <a:lnTo>
                    <a:pt x="200" y="283"/>
                  </a:lnTo>
                  <a:lnTo>
                    <a:pt x="196" y="283"/>
                  </a:lnTo>
                  <a:lnTo>
                    <a:pt x="200" y="283"/>
                  </a:lnTo>
                  <a:lnTo>
                    <a:pt x="200" y="279"/>
                  </a:lnTo>
                  <a:lnTo>
                    <a:pt x="196" y="279"/>
                  </a:lnTo>
                  <a:lnTo>
                    <a:pt x="192" y="279"/>
                  </a:lnTo>
                  <a:lnTo>
                    <a:pt x="196" y="279"/>
                  </a:lnTo>
                  <a:lnTo>
                    <a:pt x="200" y="275"/>
                  </a:lnTo>
                  <a:lnTo>
                    <a:pt x="200" y="271"/>
                  </a:lnTo>
                  <a:lnTo>
                    <a:pt x="204" y="271"/>
                  </a:lnTo>
                  <a:lnTo>
                    <a:pt x="208" y="275"/>
                  </a:lnTo>
                  <a:lnTo>
                    <a:pt x="212" y="275"/>
                  </a:lnTo>
                  <a:lnTo>
                    <a:pt x="208" y="275"/>
                  </a:lnTo>
                  <a:lnTo>
                    <a:pt x="208" y="279"/>
                  </a:lnTo>
                  <a:lnTo>
                    <a:pt x="212" y="275"/>
                  </a:lnTo>
                  <a:lnTo>
                    <a:pt x="216" y="275"/>
                  </a:lnTo>
                  <a:lnTo>
                    <a:pt x="216" y="279"/>
                  </a:lnTo>
                  <a:lnTo>
                    <a:pt x="220" y="279"/>
                  </a:lnTo>
                  <a:lnTo>
                    <a:pt x="224" y="275"/>
                  </a:lnTo>
                  <a:lnTo>
                    <a:pt x="220" y="275"/>
                  </a:lnTo>
                  <a:lnTo>
                    <a:pt x="220" y="271"/>
                  </a:lnTo>
                  <a:lnTo>
                    <a:pt x="216" y="271"/>
                  </a:lnTo>
                  <a:lnTo>
                    <a:pt x="220" y="271"/>
                  </a:lnTo>
                  <a:lnTo>
                    <a:pt x="220" y="267"/>
                  </a:lnTo>
                  <a:lnTo>
                    <a:pt x="216" y="271"/>
                  </a:lnTo>
                  <a:lnTo>
                    <a:pt x="212" y="271"/>
                  </a:lnTo>
                  <a:lnTo>
                    <a:pt x="208" y="271"/>
                  </a:lnTo>
                  <a:lnTo>
                    <a:pt x="204" y="271"/>
                  </a:lnTo>
                  <a:lnTo>
                    <a:pt x="200" y="271"/>
                  </a:lnTo>
                  <a:lnTo>
                    <a:pt x="196" y="271"/>
                  </a:lnTo>
                  <a:lnTo>
                    <a:pt x="196" y="267"/>
                  </a:lnTo>
                  <a:lnTo>
                    <a:pt x="200" y="267"/>
                  </a:lnTo>
                  <a:lnTo>
                    <a:pt x="204" y="267"/>
                  </a:lnTo>
                  <a:lnTo>
                    <a:pt x="200" y="267"/>
                  </a:lnTo>
                  <a:lnTo>
                    <a:pt x="196" y="267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6" y="259"/>
                  </a:lnTo>
                  <a:lnTo>
                    <a:pt x="200" y="259"/>
                  </a:lnTo>
                  <a:lnTo>
                    <a:pt x="200" y="255"/>
                  </a:lnTo>
                  <a:lnTo>
                    <a:pt x="204" y="255"/>
                  </a:lnTo>
                  <a:lnTo>
                    <a:pt x="204" y="251"/>
                  </a:lnTo>
                  <a:lnTo>
                    <a:pt x="204" y="255"/>
                  </a:lnTo>
                  <a:lnTo>
                    <a:pt x="200" y="255"/>
                  </a:lnTo>
                  <a:lnTo>
                    <a:pt x="200" y="259"/>
                  </a:lnTo>
                  <a:lnTo>
                    <a:pt x="196" y="259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2" y="267"/>
                  </a:lnTo>
                  <a:lnTo>
                    <a:pt x="188" y="263"/>
                  </a:lnTo>
                  <a:lnTo>
                    <a:pt x="192" y="263"/>
                  </a:lnTo>
                  <a:lnTo>
                    <a:pt x="188" y="259"/>
                  </a:lnTo>
                  <a:lnTo>
                    <a:pt x="184" y="259"/>
                  </a:lnTo>
                  <a:lnTo>
                    <a:pt x="188" y="259"/>
                  </a:lnTo>
                  <a:lnTo>
                    <a:pt x="188" y="255"/>
                  </a:lnTo>
                  <a:lnTo>
                    <a:pt x="184" y="255"/>
                  </a:lnTo>
                  <a:lnTo>
                    <a:pt x="180" y="255"/>
                  </a:lnTo>
                  <a:lnTo>
                    <a:pt x="180" y="251"/>
                  </a:lnTo>
                  <a:lnTo>
                    <a:pt x="184" y="251"/>
                  </a:lnTo>
                  <a:lnTo>
                    <a:pt x="188" y="251"/>
                  </a:lnTo>
                  <a:lnTo>
                    <a:pt x="184" y="251"/>
                  </a:lnTo>
                  <a:lnTo>
                    <a:pt x="184" y="248"/>
                  </a:lnTo>
                  <a:lnTo>
                    <a:pt x="188" y="248"/>
                  </a:lnTo>
                  <a:lnTo>
                    <a:pt x="188" y="244"/>
                  </a:lnTo>
                  <a:lnTo>
                    <a:pt x="188" y="240"/>
                  </a:lnTo>
                  <a:lnTo>
                    <a:pt x="192" y="240"/>
                  </a:lnTo>
                  <a:lnTo>
                    <a:pt x="192" y="236"/>
                  </a:lnTo>
                  <a:lnTo>
                    <a:pt x="196" y="236"/>
                  </a:lnTo>
                  <a:lnTo>
                    <a:pt x="196" y="232"/>
                  </a:lnTo>
                  <a:lnTo>
                    <a:pt x="200" y="232"/>
                  </a:lnTo>
                  <a:lnTo>
                    <a:pt x="204" y="232"/>
                  </a:lnTo>
                  <a:lnTo>
                    <a:pt x="204" y="236"/>
                  </a:lnTo>
                  <a:lnTo>
                    <a:pt x="204" y="232"/>
                  </a:lnTo>
                  <a:lnTo>
                    <a:pt x="200" y="232"/>
                  </a:lnTo>
                  <a:lnTo>
                    <a:pt x="204" y="228"/>
                  </a:lnTo>
                  <a:lnTo>
                    <a:pt x="208" y="224"/>
                  </a:lnTo>
                  <a:lnTo>
                    <a:pt x="204" y="228"/>
                  </a:lnTo>
                  <a:lnTo>
                    <a:pt x="200" y="224"/>
                  </a:lnTo>
                  <a:lnTo>
                    <a:pt x="204" y="220"/>
                  </a:lnTo>
                  <a:lnTo>
                    <a:pt x="208" y="220"/>
                  </a:lnTo>
                  <a:lnTo>
                    <a:pt x="208" y="216"/>
                  </a:lnTo>
                  <a:lnTo>
                    <a:pt x="204" y="216"/>
                  </a:lnTo>
                  <a:lnTo>
                    <a:pt x="208" y="212"/>
                  </a:lnTo>
                  <a:lnTo>
                    <a:pt x="212" y="212"/>
                  </a:lnTo>
                  <a:lnTo>
                    <a:pt x="216" y="212"/>
                  </a:lnTo>
                  <a:lnTo>
                    <a:pt x="220" y="212"/>
                  </a:lnTo>
                  <a:lnTo>
                    <a:pt x="220" y="216"/>
                  </a:lnTo>
                  <a:lnTo>
                    <a:pt x="224" y="216"/>
                  </a:lnTo>
                  <a:lnTo>
                    <a:pt x="224" y="220"/>
                  </a:lnTo>
                  <a:lnTo>
                    <a:pt x="228" y="220"/>
                  </a:lnTo>
                  <a:lnTo>
                    <a:pt x="228" y="216"/>
                  </a:lnTo>
                  <a:lnTo>
                    <a:pt x="232" y="216"/>
                  </a:lnTo>
                  <a:lnTo>
                    <a:pt x="236" y="212"/>
                  </a:lnTo>
                  <a:lnTo>
                    <a:pt x="240" y="208"/>
                  </a:lnTo>
                  <a:lnTo>
                    <a:pt x="240" y="204"/>
                  </a:lnTo>
                  <a:lnTo>
                    <a:pt x="244" y="208"/>
                  </a:lnTo>
                  <a:lnTo>
                    <a:pt x="248" y="208"/>
                  </a:lnTo>
                  <a:lnTo>
                    <a:pt x="252" y="208"/>
                  </a:lnTo>
                  <a:lnTo>
                    <a:pt x="256" y="208"/>
                  </a:lnTo>
                  <a:lnTo>
                    <a:pt x="264" y="200"/>
                  </a:lnTo>
                  <a:lnTo>
                    <a:pt x="264" y="196"/>
                  </a:lnTo>
                  <a:lnTo>
                    <a:pt x="260" y="192"/>
                  </a:lnTo>
                  <a:lnTo>
                    <a:pt x="260" y="188"/>
                  </a:lnTo>
                  <a:lnTo>
                    <a:pt x="256" y="184"/>
                  </a:lnTo>
                  <a:lnTo>
                    <a:pt x="252" y="184"/>
                  </a:lnTo>
                  <a:lnTo>
                    <a:pt x="252" y="180"/>
                  </a:lnTo>
                  <a:lnTo>
                    <a:pt x="256" y="180"/>
                  </a:lnTo>
                  <a:lnTo>
                    <a:pt x="260" y="180"/>
                  </a:lnTo>
                  <a:lnTo>
                    <a:pt x="264" y="176"/>
                  </a:lnTo>
                  <a:lnTo>
                    <a:pt x="264" y="172"/>
                  </a:lnTo>
                  <a:lnTo>
                    <a:pt x="260" y="172"/>
                  </a:lnTo>
                  <a:lnTo>
                    <a:pt x="256" y="172"/>
                  </a:lnTo>
                  <a:lnTo>
                    <a:pt x="260" y="172"/>
                  </a:lnTo>
                  <a:lnTo>
                    <a:pt x="260" y="168"/>
                  </a:lnTo>
                  <a:lnTo>
                    <a:pt x="256" y="168"/>
                  </a:lnTo>
                  <a:lnTo>
                    <a:pt x="256" y="172"/>
                  </a:lnTo>
                  <a:lnTo>
                    <a:pt x="252" y="176"/>
                  </a:lnTo>
                  <a:lnTo>
                    <a:pt x="252" y="172"/>
                  </a:lnTo>
                  <a:lnTo>
                    <a:pt x="248" y="172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0" y="176"/>
                  </a:lnTo>
                  <a:lnTo>
                    <a:pt x="240" y="180"/>
                  </a:lnTo>
                  <a:lnTo>
                    <a:pt x="236" y="180"/>
                  </a:lnTo>
                  <a:lnTo>
                    <a:pt x="236" y="184"/>
                  </a:lnTo>
                  <a:lnTo>
                    <a:pt x="232" y="184"/>
                  </a:lnTo>
                  <a:lnTo>
                    <a:pt x="232" y="180"/>
                  </a:lnTo>
                  <a:lnTo>
                    <a:pt x="228" y="176"/>
                  </a:lnTo>
                  <a:lnTo>
                    <a:pt x="224" y="176"/>
                  </a:lnTo>
                  <a:lnTo>
                    <a:pt x="224" y="180"/>
                  </a:lnTo>
                  <a:lnTo>
                    <a:pt x="228" y="180"/>
                  </a:lnTo>
                  <a:lnTo>
                    <a:pt x="228" y="184"/>
                  </a:lnTo>
                  <a:lnTo>
                    <a:pt x="224" y="184"/>
                  </a:lnTo>
                  <a:lnTo>
                    <a:pt x="224" y="180"/>
                  </a:lnTo>
                  <a:lnTo>
                    <a:pt x="220" y="180"/>
                  </a:lnTo>
                  <a:lnTo>
                    <a:pt x="216" y="180"/>
                  </a:lnTo>
                  <a:lnTo>
                    <a:pt x="212" y="180"/>
                  </a:lnTo>
                  <a:lnTo>
                    <a:pt x="208" y="180"/>
                  </a:lnTo>
                  <a:lnTo>
                    <a:pt x="204" y="180"/>
                  </a:lnTo>
                  <a:lnTo>
                    <a:pt x="200" y="180"/>
                  </a:lnTo>
                  <a:lnTo>
                    <a:pt x="200" y="184"/>
                  </a:lnTo>
                  <a:lnTo>
                    <a:pt x="204" y="184"/>
                  </a:lnTo>
                  <a:lnTo>
                    <a:pt x="204" y="180"/>
                  </a:lnTo>
                  <a:lnTo>
                    <a:pt x="204" y="184"/>
                  </a:lnTo>
                  <a:lnTo>
                    <a:pt x="200" y="184"/>
                  </a:lnTo>
                  <a:lnTo>
                    <a:pt x="196" y="184"/>
                  </a:lnTo>
                  <a:lnTo>
                    <a:pt x="196" y="180"/>
                  </a:lnTo>
                  <a:lnTo>
                    <a:pt x="192" y="180"/>
                  </a:lnTo>
                  <a:lnTo>
                    <a:pt x="188" y="180"/>
                  </a:lnTo>
                  <a:lnTo>
                    <a:pt x="184" y="180"/>
                  </a:lnTo>
                  <a:lnTo>
                    <a:pt x="180" y="180"/>
                  </a:lnTo>
                  <a:lnTo>
                    <a:pt x="180" y="176"/>
                  </a:lnTo>
                  <a:lnTo>
                    <a:pt x="176" y="176"/>
                  </a:lnTo>
                  <a:lnTo>
                    <a:pt x="176" y="172"/>
                  </a:lnTo>
                  <a:lnTo>
                    <a:pt x="180" y="172"/>
                  </a:lnTo>
                  <a:lnTo>
                    <a:pt x="176" y="172"/>
                  </a:lnTo>
                  <a:lnTo>
                    <a:pt x="176" y="168"/>
                  </a:lnTo>
                  <a:lnTo>
                    <a:pt x="172" y="168"/>
                  </a:lnTo>
                  <a:lnTo>
                    <a:pt x="172" y="164"/>
                  </a:lnTo>
                  <a:lnTo>
                    <a:pt x="168" y="164"/>
                  </a:lnTo>
                  <a:lnTo>
                    <a:pt x="172" y="164"/>
                  </a:lnTo>
                  <a:lnTo>
                    <a:pt x="172" y="160"/>
                  </a:lnTo>
                  <a:lnTo>
                    <a:pt x="172" y="164"/>
                  </a:lnTo>
                  <a:lnTo>
                    <a:pt x="176" y="164"/>
                  </a:lnTo>
                  <a:lnTo>
                    <a:pt x="180" y="160"/>
                  </a:lnTo>
                  <a:lnTo>
                    <a:pt x="180" y="164"/>
                  </a:lnTo>
                  <a:lnTo>
                    <a:pt x="184" y="164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2" y="160"/>
                  </a:lnTo>
                  <a:lnTo>
                    <a:pt x="168" y="160"/>
                  </a:lnTo>
                  <a:lnTo>
                    <a:pt x="164" y="156"/>
                  </a:lnTo>
                  <a:lnTo>
                    <a:pt x="160" y="156"/>
                  </a:lnTo>
                  <a:lnTo>
                    <a:pt x="156" y="156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6" y="148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6" y="152"/>
                  </a:lnTo>
                  <a:lnTo>
                    <a:pt x="160" y="148"/>
                  </a:lnTo>
                  <a:lnTo>
                    <a:pt x="164" y="148"/>
                  </a:lnTo>
                  <a:lnTo>
                    <a:pt x="164" y="144"/>
                  </a:lnTo>
                  <a:lnTo>
                    <a:pt x="168" y="148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72" y="140"/>
                  </a:lnTo>
                  <a:lnTo>
                    <a:pt x="176" y="140"/>
                  </a:lnTo>
                  <a:lnTo>
                    <a:pt x="180" y="136"/>
                  </a:lnTo>
                  <a:lnTo>
                    <a:pt x="184" y="140"/>
                  </a:lnTo>
                  <a:lnTo>
                    <a:pt x="188" y="140"/>
                  </a:lnTo>
                  <a:lnTo>
                    <a:pt x="192" y="140"/>
                  </a:lnTo>
                  <a:lnTo>
                    <a:pt x="188" y="136"/>
                  </a:lnTo>
                  <a:lnTo>
                    <a:pt x="184" y="136"/>
                  </a:lnTo>
                  <a:lnTo>
                    <a:pt x="188" y="136"/>
                  </a:lnTo>
                  <a:lnTo>
                    <a:pt x="188" y="132"/>
                  </a:lnTo>
                  <a:lnTo>
                    <a:pt x="192" y="132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4" y="128"/>
                  </a:lnTo>
                  <a:lnTo>
                    <a:pt x="208" y="128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32"/>
                  </a:lnTo>
                  <a:lnTo>
                    <a:pt x="216" y="136"/>
                  </a:lnTo>
                  <a:lnTo>
                    <a:pt x="212" y="136"/>
                  </a:lnTo>
                  <a:lnTo>
                    <a:pt x="216" y="136"/>
                  </a:lnTo>
                  <a:lnTo>
                    <a:pt x="216" y="140"/>
                  </a:lnTo>
                  <a:lnTo>
                    <a:pt x="220" y="140"/>
                  </a:lnTo>
                  <a:lnTo>
                    <a:pt x="224" y="140"/>
                  </a:lnTo>
                  <a:lnTo>
                    <a:pt x="228" y="140"/>
                  </a:lnTo>
                  <a:lnTo>
                    <a:pt x="232" y="140"/>
                  </a:lnTo>
                  <a:lnTo>
                    <a:pt x="236" y="140"/>
                  </a:lnTo>
                  <a:lnTo>
                    <a:pt x="240" y="140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0"/>
                  </a:lnTo>
                  <a:lnTo>
                    <a:pt x="252" y="140"/>
                  </a:lnTo>
                  <a:lnTo>
                    <a:pt x="252" y="136"/>
                  </a:lnTo>
                  <a:lnTo>
                    <a:pt x="256" y="136"/>
                  </a:lnTo>
                  <a:lnTo>
                    <a:pt x="260" y="136"/>
                  </a:lnTo>
                  <a:lnTo>
                    <a:pt x="260" y="140"/>
                  </a:lnTo>
                  <a:lnTo>
                    <a:pt x="256" y="140"/>
                  </a:lnTo>
                  <a:lnTo>
                    <a:pt x="260" y="140"/>
                  </a:lnTo>
                  <a:lnTo>
                    <a:pt x="260" y="136"/>
                  </a:lnTo>
                  <a:lnTo>
                    <a:pt x="260" y="132"/>
                  </a:lnTo>
                  <a:lnTo>
                    <a:pt x="256" y="132"/>
                  </a:lnTo>
                  <a:lnTo>
                    <a:pt x="252" y="132"/>
                  </a:lnTo>
                  <a:lnTo>
                    <a:pt x="248" y="132"/>
                  </a:lnTo>
                  <a:lnTo>
                    <a:pt x="248" y="136"/>
                  </a:lnTo>
                  <a:lnTo>
                    <a:pt x="244" y="132"/>
                  </a:lnTo>
                  <a:lnTo>
                    <a:pt x="248" y="132"/>
                  </a:lnTo>
                  <a:lnTo>
                    <a:pt x="248" y="128"/>
                  </a:lnTo>
                  <a:lnTo>
                    <a:pt x="244" y="124"/>
                  </a:lnTo>
                  <a:lnTo>
                    <a:pt x="240" y="124"/>
                  </a:lnTo>
                  <a:lnTo>
                    <a:pt x="236" y="124"/>
                  </a:lnTo>
                  <a:lnTo>
                    <a:pt x="236" y="120"/>
                  </a:lnTo>
                  <a:lnTo>
                    <a:pt x="240" y="116"/>
                  </a:lnTo>
                  <a:lnTo>
                    <a:pt x="244" y="120"/>
                  </a:lnTo>
                  <a:lnTo>
                    <a:pt x="244" y="124"/>
                  </a:lnTo>
                  <a:lnTo>
                    <a:pt x="248" y="128"/>
                  </a:lnTo>
                  <a:lnTo>
                    <a:pt x="252" y="132"/>
                  </a:lnTo>
                  <a:lnTo>
                    <a:pt x="256" y="128"/>
                  </a:lnTo>
                  <a:lnTo>
                    <a:pt x="260" y="128"/>
                  </a:lnTo>
                  <a:lnTo>
                    <a:pt x="260" y="132"/>
                  </a:lnTo>
                  <a:lnTo>
                    <a:pt x="264" y="132"/>
                  </a:lnTo>
                  <a:lnTo>
                    <a:pt x="268" y="132"/>
                  </a:lnTo>
                  <a:lnTo>
                    <a:pt x="272" y="132"/>
                  </a:lnTo>
                  <a:lnTo>
                    <a:pt x="272" y="128"/>
                  </a:lnTo>
                  <a:lnTo>
                    <a:pt x="272" y="124"/>
                  </a:lnTo>
                  <a:lnTo>
                    <a:pt x="268" y="128"/>
                  </a:lnTo>
                  <a:lnTo>
                    <a:pt x="264" y="128"/>
                  </a:lnTo>
                  <a:lnTo>
                    <a:pt x="264" y="124"/>
                  </a:lnTo>
                  <a:lnTo>
                    <a:pt x="260" y="124"/>
                  </a:lnTo>
                  <a:lnTo>
                    <a:pt x="256" y="124"/>
                  </a:lnTo>
                  <a:lnTo>
                    <a:pt x="256" y="128"/>
                  </a:lnTo>
                  <a:lnTo>
                    <a:pt x="252" y="128"/>
                  </a:lnTo>
                  <a:lnTo>
                    <a:pt x="248" y="128"/>
                  </a:lnTo>
                  <a:lnTo>
                    <a:pt x="248" y="124"/>
                  </a:lnTo>
                  <a:lnTo>
                    <a:pt x="248" y="120"/>
                  </a:lnTo>
                  <a:lnTo>
                    <a:pt x="248" y="116"/>
                  </a:lnTo>
                  <a:lnTo>
                    <a:pt x="252" y="116"/>
                  </a:lnTo>
                  <a:lnTo>
                    <a:pt x="248" y="116"/>
                  </a:lnTo>
                  <a:lnTo>
                    <a:pt x="240" y="116"/>
                  </a:lnTo>
                  <a:lnTo>
                    <a:pt x="236" y="116"/>
                  </a:lnTo>
                  <a:lnTo>
                    <a:pt x="240" y="116"/>
                  </a:lnTo>
                  <a:lnTo>
                    <a:pt x="240" y="112"/>
                  </a:lnTo>
                  <a:lnTo>
                    <a:pt x="236" y="116"/>
                  </a:lnTo>
                  <a:lnTo>
                    <a:pt x="232" y="116"/>
                  </a:lnTo>
                  <a:lnTo>
                    <a:pt x="228" y="116"/>
                  </a:lnTo>
                  <a:lnTo>
                    <a:pt x="224" y="116"/>
                  </a:lnTo>
                  <a:lnTo>
                    <a:pt x="220" y="112"/>
                  </a:lnTo>
                  <a:lnTo>
                    <a:pt x="216" y="112"/>
                  </a:lnTo>
                  <a:lnTo>
                    <a:pt x="220" y="112"/>
                  </a:lnTo>
                  <a:lnTo>
                    <a:pt x="216" y="108"/>
                  </a:lnTo>
                  <a:lnTo>
                    <a:pt x="216" y="104"/>
                  </a:lnTo>
                  <a:lnTo>
                    <a:pt x="216" y="100"/>
                  </a:lnTo>
                  <a:lnTo>
                    <a:pt x="212" y="100"/>
                  </a:lnTo>
                  <a:lnTo>
                    <a:pt x="208" y="100"/>
                  </a:lnTo>
                  <a:lnTo>
                    <a:pt x="208" y="96"/>
                  </a:lnTo>
                  <a:lnTo>
                    <a:pt x="204" y="96"/>
                  </a:lnTo>
                  <a:lnTo>
                    <a:pt x="196" y="92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84"/>
                  </a:lnTo>
                  <a:lnTo>
                    <a:pt x="180" y="84"/>
                  </a:lnTo>
                  <a:lnTo>
                    <a:pt x="180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8" y="68"/>
                  </a:lnTo>
                  <a:lnTo>
                    <a:pt x="192" y="68"/>
                  </a:lnTo>
                  <a:lnTo>
                    <a:pt x="196" y="68"/>
                  </a:lnTo>
                  <a:lnTo>
                    <a:pt x="200" y="64"/>
                  </a:lnTo>
                  <a:lnTo>
                    <a:pt x="204" y="64"/>
                  </a:lnTo>
                  <a:lnTo>
                    <a:pt x="208" y="64"/>
                  </a:lnTo>
                  <a:lnTo>
                    <a:pt x="212" y="64"/>
                  </a:lnTo>
                  <a:lnTo>
                    <a:pt x="216" y="64"/>
                  </a:lnTo>
                  <a:lnTo>
                    <a:pt x="220" y="60"/>
                  </a:lnTo>
                  <a:lnTo>
                    <a:pt x="224" y="60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8" y="48"/>
                  </a:lnTo>
                  <a:lnTo>
                    <a:pt x="228" y="44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6" y="36"/>
                  </a:lnTo>
                  <a:lnTo>
                    <a:pt x="240" y="32"/>
                  </a:lnTo>
                  <a:lnTo>
                    <a:pt x="244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52" y="28"/>
                  </a:lnTo>
                  <a:lnTo>
                    <a:pt x="256" y="28"/>
                  </a:lnTo>
                  <a:lnTo>
                    <a:pt x="260" y="28"/>
                  </a:lnTo>
                  <a:lnTo>
                    <a:pt x="264" y="28"/>
                  </a:lnTo>
                  <a:lnTo>
                    <a:pt x="264" y="24"/>
                  </a:lnTo>
                  <a:lnTo>
                    <a:pt x="268" y="24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4" y="24"/>
                  </a:lnTo>
                  <a:lnTo>
                    <a:pt x="284" y="20"/>
                  </a:lnTo>
                  <a:lnTo>
                    <a:pt x="280" y="20"/>
                  </a:lnTo>
                  <a:lnTo>
                    <a:pt x="280" y="24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16"/>
                  </a:lnTo>
                  <a:lnTo>
                    <a:pt x="280" y="16"/>
                  </a:lnTo>
                  <a:lnTo>
                    <a:pt x="280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4" y="16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12"/>
                  </a:lnTo>
                  <a:lnTo>
                    <a:pt x="292" y="16"/>
                  </a:lnTo>
                  <a:lnTo>
                    <a:pt x="296" y="16"/>
                  </a:lnTo>
                  <a:lnTo>
                    <a:pt x="296" y="12"/>
                  </a:lnTo>
                  <a:lnTo>
                    <a:pt x="299" y="12"/>
                  </a:lnTo>
                  <a:lnTo>
                    <a:pt x="303" y="12"/>
                  </a:lnTo>
                  <a:lnTo>
                    <a:pt x="307" y="12"/>
                  </a:lnTo>
                  <a:lnTo>
                    <a:pt x="311" y="8"/>
                  </a:lnTo>
                  <a:lnTo>
                    <a:pt x="315" y="8"/>
                  </a:lnTo>
                  <a:lnTo>
                    <a:pt x="315" y="4"/>
                  </a:lnTo>
                  <a:lnTo>
                    <a:pt x="319" y="4"/>
                  </a:lnTo>
                  <a:lnTo>
                    <a:pt x="323" y="0"/>
                  </a:lnTo>
                  <a:lnTo>
                    <a:pt x="327" y="0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35" y="4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39" y="8"/>
                  </a:lnTo>
                  <a:lnTo>
                    <a:pt x="335" y="8"/>
                  </a:lnTo>
                  <a:lnTo>
                    <a:pt x="331" y="12"/>
                  </a:lnTo>
                  <a:lnTo>
                    <a:pt x="335" y="12"/>
                  </a:lnTo>
                  <a:lnTo>
                    <a:pt x="335" y="16"/>
                  </a:lnTo>
                  <a:lnTo>
                    <a:pt x="335" y="12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47" y="8"/>
                  </a:lnTo>
                  <a:lnTo>
                    <a:pt x="351" y="8"/>
                  </a:lnTo>
                  <a:lnTo>
                    <a:pt x="351" y="4"/>
                  </a:lnTo>
                  <a:lnTo>
                    <a:pt x="355" y="8"/>
                  </a:lnTo>
                  <a:lnTo>
                    <a:pt x="355" y="12"/>
                  </a:lnTo>
                  <a:lnTo>
                    <a:pt x="359" y="12"/>
                  </a:lnTo>
                  <a:lnTo>
                    <a:pt x="363" y="12"/>
                  </a:lnTo>
                  <a:lnTo>
                    <a:pt x="363" y="16"/>
                  </a:lnTo>
                  <a:lnTo>
                    <a:pt x="367" y="12"/>
                  </a:lnTo>
                  <a:lnTo>
                    <a:pt x="371" y="12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87" y="12"/>
                  </a:lnTo>
                  <a:lnTo>
                    <a:pt x="391" y="12"/>
                  </a:lnTo>
                  <a:lnTo>
                    <a:pt x="391" y="16"/>
                  </a:lnTo>
                  <a:lnTo>
                    <a:pt x="387" y="16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1" y="20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9" y="20"/>
                  </a:lnTo>
                  <a:lnTo>
                    <a:pt x="399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407" y="24"/>
                  </a:lnTo>
                  <a:lnTo>
                    <a:pt x="411" y="24"/>
                  </a:lnTo>
                  <a:lnTo>
                    <a:pt x="415" y="24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19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5" y="20"/>
                  </a:lnTo>
                  <a:lnTo>
                    <a:pt x="435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32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5" y="32"/>
                  </a:lnTo>
                  <a:lnTo>
                    <a:pt x="479" y="32"/>
                  </a:lnTo>
                  <a:lnTo>
                    <a:pt x="483" y="32"/>
                  </a:lnTo>
                  <a:lnTo>
                    <a:pt x="487" y="32"/>
                  </a:lnTo>
                  <a:lnTo>
                    <a:pt x="491" y="32"/>
                  </a:lnTo>
                  <a:lnTo>
                    <a:pt x="495" y="36"/>
                  </a:lnTo>
                  <a:lnTo>
                    <a:pt x="499" y="36"/>
                  </a:lnTo>
                  <a:lnTo>
                    <a:pt x="503" y="36"/>
                  </a:lnTo>
                  <a:lnTo>
                    <a:pt x="507" y="36"/>
                  </a:lnTo>
                  <a:lnTo>
                    <a:pt x="511" y="36"/>
                  </a:lnTo>
                  <a:lnTo>
                    <a:pt x="515" y="36"/>
                  </a:lnTo>
                  <a:lnTo>
                    <a:pt x="515" y="32"/>
                  </a:lnTo>
                  <a:lnTo>
                    <a:pt x="523" y="32"/>
                  </a:lnTo>
                  <a:lnTo>
                    <a:pt x="527" y="32"/>
                  </a:lnTo>
                  <a:lnTo>
                    <a:pt x="531" y="32"/>
                  </a:lnTo>
                  <a:lnTo>
                    <a:pt x="535" y="32"/>
                  </a:lnTo>
                  <a:lnTo>
                    <a:pt x="539" y="36"/>
                  </a:lnTo>
                  <a:lnTo>
                    <a:pt x="543" y="36"/>
                  </a:lnTo>
                  <a:lnTo>
                    <a:pt x="543" y="40"/>
                  </a:lnTo>
                  <a:lnTo>
                    <a:pt x="547" y="40"/>
                  </a:lnTo>
                  <a:lnTo>
                    <a:pt x="551" y="40"/>
                  </a:lnTo>
                  <a:lnTo>
                    <a:pt x="551" y="44"/>
                  </a:lnTo>
                  <a:lnTo>
                    <a:pt x="555" y="44"/>
                  </a:lnTo>
                  <a:lnTo>
                    <a:pt x="559" y="44"/>
                  </a:lnTo>
                  <a:lnTo>
                    <a:pt x="563" y="44"/>
                  </a:lnTo>
                  <a:lnTo>
                    <a:pt x="563" y="48"/>
                  </a:lnTo>
                  <a:lnTo>
                    <a:pt x="563" y="52"/>
                  </a:lnTo>
                  <a:lnTo>
                    <a:pt x="563" y="64"/>
                  </a:lnTo>
                  <a:lnTo>
                    <a:pt x="563" y="76"/>
                  </a:lnTo>
                  <a:lnTo>
                    <a:pt x="563" y="84"/>
                  </a:lnTo>
                  <a:lnTo>
                    <a:pt x="563" y="88"/>
                  </a:lnTo>
                  <a:lnTo>
                    <a:pt x="563" y="92"/>
                  </a:lnTo>
                  <a:lnTo>
                    <a:pt x="563" y="96"/>
                  </a:lnTo>
                  <a:lnTo>
                    <a:pt x="563" y="104"/>
                  </a:lnTo>
                  <a:lnTo>
                    <a:pt x="563" y="108"/>
                  </a:lnTo>
                  <a:lnTo>
                    <a:pt x="563" y="116"/>
                  </a:lnTo>
                  <a:lnTo>
                    <a:pt x="563" y="120"/>
                  </a:lnTo>
                  <a:lnTo>
                    <a:pt x="563" y="124"/>
                  </a:lnTo>
                  <a:lnTo>
                    <a:pt x="563" y="128"/>
                  </a:lnTo>
                  <a:lnTo>
                    <a:pt x="563" y="140"/>
                  </a:lnTo>
                  <a:lnTo>
                    <a:pt x="563" y="152"/>
                  </a:lnTo>
                  <a:lnTo>
                    <a:pt x="563" y="164"/>
                  </a:lnTo>
                  <a:lnTo>
                    <a:pt x="563" y="188"/>
                  </a:lnTo>
                  <a:lnTo>
                    <a:pt x="563" y="196"/>
                  </a:lnTo>
                  <a:lnTo>
                    <a:pt x="563" y="200"/>
                  </a:lnTo>
                  <a:lnTo>
                    <a:pt x="563" y="216"/>
                  </a:lnTo>
                  <a:lnTo>
                    <a:pt x="563" y="228"/>
                  </a:lnTo>
                  <a:lnTo>
                    <a:pt x="563" y="271"/>
                  </a:lnTo>
                  <a:lnTo>
                    <a:pt x="563" y="283"/>
                  </a:lnTo>
                  <a:lnTo>
                    <a:pt x="563" y="287"/>
                  </a:lnTo>
                  <a:lnTo>
                    <a:pt x="571" y="287"/>
                  </a:lnTo>
                  <a:lnTo>
                    <a:pt x="579" y="287"/>
                  </a:lnTo>
                  <a:lnTo>
                    <a:pt x="583" y="287"/>
                  </a:lnTo>
                  <a:lnTo>
                    <a:pt x="583" y="283"/>
                  </a:lnTo>
                  <a:lnTo>
                    <a:pt x="587" y="283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1" y="291"/>
                  </a:lnTo>
                  <a:lnTo>
                    <a:pt x="595" y="295"/>
                  </a:lnTo>
                  <a:lnTo>
                    <a:pt x="599" y="295"/>
                  </a:lnTo>
                  <a:lnTo>
                    <a:pt x="599" y="299"/>
                  </a:lnTo>
                  <a:lnTo>
                    <a:pt x="603" y="303"/>
                  </a:lnTo>
                  <a:lnTo>
                    <a:pt x="607" y="303"/>
                  </a:lnTo>
                  <a:lnTo>
                    <a:pt x="611" y="307"/>
                  </a:lnTo>
                  <a:lnTo>
                    <a:pt x="615" y="311"/>
                  </a:lnTo>
                  <a:lnTo>
                    <a:pt x="615" y="315"/>
                  </a:lnTo>
                  <a:lnTo>
                    <a:pt x="615" y="319"/>
                  </a:lnTo>
                  <a:lnTo>
                    <a:pt x="619" y="319"/>
                  </a:lnTo>
                  <a:lnTo>
                    <a:pt x="619" y="315"/>
                  </a:lnTo>
                  <a:lnTo>
                    <a:pt x="623" y="315"/>
                  </a:lnTo>
                  <a:lnTo>
                    <a:pt x="627" y="315"/>
                  </a:lnTo>
                  <a:lnTo>
                    <a:pt x="631" y="315"/>
                  </a:lnTo>
                  <a:lnTo>
                    <a:pt x="631" y="311"/>
                  </a:lnTo>
                  <a:lnTo>
                    <a:pt x="631" y="307"/>
                  </a:lnTo>
                  <a:lnTo>
                    <a:pt x="635" y="307"/>
                  </a:lnTo>
                  <a:lnTo>
                    <a:pt x="635" y="303"/>
                  </a:lnTo>
                  <a:lnTo>
                    <a:pt x="639" y="303"/>
                  </a:lnTo>
                  <a:lnTo>
                    <a:pt x="639" y="299"/>
                  </a:lnTo>
                  <a:lnTo>
                    <a:pt x="643" y="299"/>
                  </a:lnTo>
                  <a:lnTo>
                    <a:pt x="647" y="299"/>
                  </a:lnTo>
                  <a:lnTo>
                    <a:pt x="651" y="303"/>
                  </a:lnTo>
                  <a:lnTo>
                    <a:pt x="654" y="303"/>
                  </a:lnTo>
                  <a:lnTo>
                    <a:pt x="654" y="307"/>
                  </a:lnTo>
                  <a:lnTo>
                    <a:pt x="651" y="307"/>
                  </a:lnTo>
                  <a:lnTo>
                    <a:pt x="654" y="311"/>
                  </a:lnTo>
                  <a:lnTo>
                    <a:pt x="658" y="311"/>
                  </a:lnTo>
                  <a:lnTo>
                    <a:pt x="658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70" y="323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8" y="331"/>
                  </a:lnTo>
                  <a:lnTo>
                    <a:pt x="678" y="335"/>
                  </a:lnTo>
                  <a:lnTo>
                    <a:pt x="682" y="335"/>
                  </a:lnTo>
                  <a:lnTo>
                    <a:pt x="682" y="339"/>
                  </a:lnTo>
                  <a:lnTo>
                    <a:pt x="682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0" y="355"/>
                  </a:lnTo>
                  <a:lnTo>
                    <a:pt x="694" y="355"/>
                  </a:lnTo>
                  <a:lnTo>
                    <a:pt x="694" y="359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71"/>
                  </a:lnTo>
                  <a:lnTo>
                    <a:pt x="702" y="375"/>
                  </a:lnTo>
                  <a:lnTo>
                    <a:pt x="706" y="375"/>
                  </a:lnTo>
                  <a:lnTo>
                    <a:pt x="710" y="375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lnTo>
                    <a:pt x="718" y="383"/>
                  </a:lnTo>
                  <a:lnTo>
                    <a:pt x="722" y="383"/>
                  </a:lnTo>
                  <a:lnTo>
                    <a:pt x="722" y="387"/>
                  </a:lnTo>
                  <a:lnTo>
                    <a:pt x="726" y="387"/>
                  </a:lnTo>
                  <a:lnTo>
                    <a:pt x="730" y="387"/>
                  </a:lnTo>
                  <a:lnTo>
                    <a:pt x="730" y="391"/>
                  </a:lnTo>
                  <a:lnTo>
                    <a:pt x="726" y="391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26" y="403"/>
                  </a:lnTo>
                  <a:lnTo>
                    <a:pt x="730" y="407"/>
                  </a:lnTo>
                  <a:lnTo>
                    <a:pt x="726" y="407"/>
                  </a:lnTo>
                  <a:lnTo>
                    <a:pt x="726" y="411"/>
                  </a:lnTo>
                  <a:lnTo>
                    <a:pt x="722" y="415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4" y="415"/>
                  </a:lnTo>
                  <a:lnTo>
                    <a:pt x="714" y="411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22" y="403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11"/>
                  </a:lnTo>
                  <a:lnTo>
                    <a:pt x="718" y="407"/>
                  </a:lnTo>
                  <a:lnTo>
                    <a:pt x="714" y="411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399"/>
                  </a:lnTo>
                  <a:lnTo>
                    <a:pt x="714" y="395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10" y="387"/>
                  </a:lnTo>
                  <a:lnTo>
                    <a:pt x="714" y="387"/>
                  </a:lnTo>
                  <a:lnTo>
                    <a:pt x="710" y="387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6" y="387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702" y="391"/>
                  </a:lnTo>
                  <a:lnTo>
                    <a:pt x="702" y="395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698" y="391"/>
                  </a:lnTo>
                  <a:lnTo>
                    <a:pt x="698" y="387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79"/>
                  </a:lnTo>
                  <a:lnTo>
                    <a:pt x="694" y="375"/>
                  </a:lnTo>
                  <a:lnTo>
                    <a:pt x="690" y="375"/>
                  </a:lnTo>
                  <a:lnTo>
                    <a:pt x="690" y="371"/>
                  </a:lnTo>
                  <a:lnTo>
                    <a:pt x="694" y="371"/>
                  </a:lnTo>
                  <a:lnTo>
                    <a:pt x="690" y="371"/>
                  </a:lnTo>
                  <a:lnTo>
                    <a:pt x="686" y="371"/>
                  </a:lnTo>
                  <a:lnTo>
                    <a:pt x="686" y="367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8" y="359"/>
                  </a:lnTo>
                  <a:lnTo>
                    <a:pt x="682" y="359"/>
                  </a:lnTo>
                  <a:lnTo>
                    <a:pt x="682" y="355"/>
                  </a:lnTo>
                  <a:lnTo>
                    <a:pt x="682" y="359"/>
                  </a:lnTo>
                  <a:lnTo>
                    <a:pt x="678" y="359"/>
                  </a:lnTo>
                  <a:lnTo>
                    <a:pt x="678" y="355"/>
                  </a:lnTo>
                  <a:lnTo>
                    <a:pt x="674" y="355"/>
                  </a:lnTo>
                  <a:lnTo>
                    <a:pt x="678" y="351"/>
                  </a:lnTo>
                  <a:lnTo>
                    <a:pt x="674" y="351"/>
                  </a:lnTo>
                  <a:lnTo>
                    <a:pt x="674" y="347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8" y="347"/>
                  </a:lnTo>
                  <a:lnTo>
                    <a:pt x="674" y="347"/>
                  </a:lnTo>
                  <a:lnTo>
                    <a:pt x="674" y="343"/>
                  </a:lnTo>
                  <a:lnTo>
                    <a:pt x="678" y="343"/>
                  </a:lnTo>
                  <a:lnTo>
                    <a:pt x="682" y="343"/>
                  </a:lnTo>
                  <a:lnTo>
                    <a:pt x="678" y="343"/>
                  </a:lnTo>
                  <a:lnTo>
                    <a:pt x="674" y="343"/>
                  </a:lnTo>
                  <a:lnTo>
                    <a:pt x="674" y="347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39"/>
                  </a:lnTo>
                  <a:lnTo>
                    <a:pt x="666" y="335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66" y="335"/>
                  </a:lnTo>
                  <a:lnTo>
                    <a:pt x="662" y="335"/>
                  </a:lnTo>
                  <a:lnTo>
                    <a:pt x="662" y="331"/>
                  </a:lnTo>
                  <a:lnTo>
                    <a:pt x="658" y="331"/>
                  </a:lnTo>
                  <a:lnTo>
                    <a:pt x="654" y="327"/>
                  </a:lnTo>
                  <a:lnTo>
                    <a:pt x="654" y="323"/>
                  </a:lnTo>
                  <a:lnTo>
                    <a:pt x="651" y="323"/>
                  </a:lnTo>
                  <a:lnTo>
                    <a:pt x="651" y="319"/>
                  </a:lnTo>
                  <a:lnTo>
                    <a:pt x="651" y="315"/>
                  </a:lnTo>
                  <a:lnTo>
                    <a:pt x="651" y="311"/>
                  </a:lnTo>
                  <a:lnTo>
                    <a:pt x="647" y="311"/>
                  </a:lnTo>
                  <a:lnTo>
                    <a:pt x="647" y="307"/>
                  </a:lnTo>
                  <a:lnTo>
                    <a:pt x="647" y="311"/>
                  </a:lnTo>
                  <a:lnTo>
                    <a:pt x="651" y="315"/>
                  </a:lnTo>
                  <a:lnTo>
                    <a:pt x="647" y="315"/>
                  </a:lnTo>
                  <a:lnTo>
                    <a:pt x="647" y="311"/>
                  </a:lnTo>
                  <a:lnTo>
                    <a:pt x="647" y="315"/>
                  </a:lnTo>
                  <a:lnTo>
                    <a:pt x="647" y="319"/>
                  </a:lnTo>
                  <a:lnTo>
                    <a:pt x="651" y="319"/>
                  </a:lnTo>
                  <a:lnTo>
                    <a:pt x="651" y="323"/>
                  </a:lnTo>
                  <a:lnTo>
                    <a:pt x="651" y="327"/>
                  </a:lnTo>
                  <a:lnTo>
                    <a:pt x="651" y="331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1" y="335"/>
                  </a:lnTo>
                  <a:lnTo>
                    <a:pt x="647" y="335"/>
                  </a:lnTo>
                  <a:lnTo>
                    <a:pt x="647" y="331"/>
                  </a:lnTo>
                  <a:lnTo>
                    <a:pt x="643" y="331"/>
                  </a:lnTo>
                  <a:lnTo>
                    <a:pt x="639" y="331"/>
                  </a:lnTo>
                  <a:lnTo>
                    <a:pt x="643" y="327"/>
                  </a:lnTo>
                  <a:lnTo>
                    <a:pt x="639" y="327"/>
                  </a:lnTo>
                  <a:lnTo>
                    <a:pt x="639" y="323"/>
                  </a:lnTo>
                  <a:lnTo>
                    <a:pt x="639" y="319"/>
                  </a:lnTo>
                  <a:lnTo>
                    <a:pt x="643" y="319"/>
                  </a:lnTo>
                  <a:lnTo>
                    <a:pt x="639" y="319"/>
                  </a:lnTo>
                  <a:lnTo>
                    <a:pt x="639" y="315"/>
                  </a:lnTo>
                  <a:lnTo>
                    <a:pt x="635" y="315"/>
                  </a:lnTo>
                  <a:lnTo>
                    <a:pt x="635" y="319"/>
                  </a:lnTo>
                  <a:lnTo>
                    <a:pt x="639" y="319"/>
                  </a:lnTo>
                  <a:lnTo>
                    <a:pt x="639" y="323"/>
                  </a:lnTo>
                  <a:lnTo>
                    <a:pt x="635" y="323"/>
                  </a:lnTo>
                  <a:lnTo>
                    <a:pt x="631" y="323"/>
                  </a:lnTo>
                  <a:lnTo>
                    <a:pt x="631" y="319"/>
                  </a:lnTo>
                  <a:lnTo>
                    <a:pt x="627" y="319"/>
                  </a:lnTo>
                  <a:lnTo>
                    <a:pt x="623" y="315"/>
                  </a:lnTo>
                  <a:lnTo>
                    <a:pt x="623" y="319"/>
                  </a:lnTo>
                  <a:lnTo>
                    <a:pt x="623" y="323"/>
                  </a:lnTo>
                  <a:lnTo>
                    <a:pt x="623" y="319"/>
                  </a:lnTo>
                  <a:lnTo>
                    <a:pt x="627" y="319"/>
                  </a:lnTo>
                  <a:lnTo>
                    <a:pt x="631" y="319"/>
                  </a:lnTo>
                  <a:lnTo>
                    <a:pt x="631" y="323"/>
                  </a:lnTo>
                  <a:lnTo>
                    <a:pt x="627" y="323"/>
                  </a:lnTo>
                  <a:lnTo>
                    <a:pt x="631" y="323"/>
                  </a:lnTo>
                  <a:lnTo>
                    <a:pt x="635" y="323"/>
                  </a:lnTo>
                  <a:lnTo>
                    <a:pt x="631" y="327"/>
                  </a:lnTo>
                  <a:lnTo>
                    <a:pt x="635" y="327"/>
                  </a:lnTo>
                  <a:lnTo>
                    <a:pt x="639" y="327"/>
                  </a:lnTo>
                  <a:lnTo>
                    <a:pt x="639" y="331"/>
                  </a:lnTo>
                  <a:lnTo>
                    <a:pt x="635" y="335"/>
                  </a:lnTo>
                  <a:lnTo>
                    <a:pt x="635" y="331"/>
                  </a:lnTo>
                  <a:lnTo>
                    <a:pt x="631" y="331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35" y="335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27" y="335"/>
                  </a:lnTo>
                  <a:lnTo>
                    <a:pt x="631" y="335"/>
                  </a:lnTo>
                  <a:lnTo>
                    <a:pt x="627" y="335"/>
                  </a:lnTo>
                  <a:lnTo>
                    <a:pt x="627" y="331"/>
                  </a:lnTo>
                  <a:lnTo>
                    <a:pt x="623" y="331"/>
                  </a:lnTo>
                  <a:lnTo>
                    <a:pt x="619" y="331"/>
                  </a:lnTo>
                  <a:lnTo>
                    <a:pt x="619" y="327"/>
                  </a:lnTo>
                  <a:lnTo>
                    <a:pt x="615" y="327"/>
                  </a:lnTo>
                  <a:lnTo>
                    <a:pt x="615" y="323"/>
                  </a:lnTo>
                  <a:lnTo>
                    <a:pt x="615" y="327"/>
                  </a:lnTo>
                  <a:lnTo>
                    <a:pt x="611" y="323"/>
                  </a:lnTo>
                  <a:lnTo>
                    <a:pt x="611" y="319"/>
                  </a:lnTo>
                  <a:lnTo>
                    <a:pt x="607" y="319"/>
                  </a:lnTo>
                  <a:lnTo>
                    <a:pt x="607" y="315"/>
                  </a:lnTo>
                  <a:lnTo>
                    <a:pt x="603" y="315"/>
                  </a:lnTo>
                  <a:lnTo>
                    <a:pt x="599" y="315"/>
                  </a:lnTo>
                  <a:lnTo>
                    <a:pt x="603" y="311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5" y="311"/>
                  </a:lnTo>
                  <a:lnTo>
                    <a:pt x="591" y="311"/>
                  </a:lnTo>
                  <a:lnTo>
                    <a:pt x="591" y="307"/>
                  </a:lnTo>
                  <a:lnTo>
                    <a:pt x="587" y="307"/>
                  </a:lnTo>
                  <a:lnTo>
                    <a:pt x="583" y="307"/>
                  </a:lnTo>
                  <a:lnTo>
                    <a:pt x="583" y="303"/>
                  </a:lnTo>
                  <a:lnTo>
                    <a:pt x="587" y="299"/>
                  </a:lnTo>
                  <a:lnTo>
                    <a:pt x="583" y="299"/>
                  </a:lnTo>
                  <a:lnTo>
                    <a:pt x="583" y="295"/>
                  </a:lnTo>
                  <a:lnTo>
                    <a:pt x="587" y="295"/>
                  </a:lnTo>
                  <a:lnTo>
                    <a:pt x="587" y="299"/>
                  </a:lnTo>
                  <a:lnTo>
                    <a:pt x="587" y="303"/>
                  </a:lnTo>
                  <a:lnTo>
                    <a:pt x="591" y="303"/>
                  </a:lnTo>
                  <a:lnTo>
                    <a:pt x="591" y="299"/>
                  </a:lnTo>
                  <a:lnTo>
                    <a:pt x="587" y="299"/>
                  </a:lnTo>
                  <a:lnTo>
                    <a:pt x="591" y="295"/>
                  </a:lnTo>
                  <a:lnTo>
                    <a:pt x="595" y="299"/>
                  </a:lnTo>
                  <a:lnTo>
                    <a:pt x="595" y="295"/>
                  </a:lnTo>
                  <a:lnTo>
                    <a:pt x="591" y="295"/>
                  </a:lnTo>
                  <a:lnTo>
                    <a:pt x="587" y="295"/>
                  </a:lnTo>
                  <a:lnTo>
                    <a:pt x="587" y="291"/>
                  </a:lnTo>
                  <a:lnTo>
                    <a:pt x="583" y="291"/>
                  </a:lnTo>
                  <a:lnTo>
                    <a:pt x="583" y="295"/>
                  </a:lnTo>
                  <a:lnTo>
                    <a:pt x="579" y="299"/>
                  </a:lnTo>
                  <a:lnTo>
                    <a:pt x="575" y="299"/>
                  </a:lnTo>
                  <a:lnTo>
                    <a:pt x="571" y="299"/>
                  </a:lnTo>
                  <a:lnTo>
                    <a:pt x="567" y="299"/>
                  </a:lnTo>
                  <a:lnTo>
                    <a:pt x="563" y="299"/>
                  </a:lnTo>
                  <a:lnTo>
                    <a:pt x="559" y="295"/>
                  </a:lnTo>
                  <a:lnTo>
                    <a:pt x="555" y="295"/>
                  </a:lnTo>
                  <a:lnTo>
                    <a:pt x="559" y="295"/>
                  </a:lnTo>
                  <a:lnTo>
                    <a:pt x="559" y="291"/>
                  </a:lnTo>
                  <a:lnTo>
                    <a:pt x="555" y="291"/>
                  </a:lnTo>
                  <a:lnTo>
                    <a:pt x="555" y="295"/>
                  </a:lnTo>
                  <a:lnTo>
                    <a:pt x="551" y="295"/>
                  </a:lnTo>
                  <a:lnTo>
                    <a:pt x="551" y="291"/>
                  </a:lnTo>
                  <a:lnTo>
                    <a:pt x="547" y="291"/>
                  </a:lnTo>
                  <a:lnTo>
                    <a:pt x="539" y="291"/>
                  </a:lnTo>
                  <a:lnTo>
                    <a:pt x="535" y="291"/>
                  </a:lnTo>
                  <a:lnTo>
                    <a:pt x="531" y="291"/>
                  </a:lnTo>
                  <a:lnTo>
                    <a:pt x="527" y="291"/>
                  </a:lnTo>
                  <a:lnTo>
                    <a:pt x="523" y="291"/>
                  </a:lnTo>
                  <a:lnTo>
                    <a:pt x="519" y="291"/>
                  </a:lnTo>
                  <a:lnTo>
                    <a:pt x="515" y="291"/>
                  </a:lnTo>
                  <a:lnTo>
                    <a:pt x="515" y="287"/>
                  </a:lnTo>
                  <a:lnTo>
                    <a:pt x="511" y="287"/>
                  </a:lnTo>
                  <a:lnTo>
                    <a:pt x="507" y="287"/>
                  </a:lnTo>
                  <a:lnTo>
                    <a:pt x="503" y="287"/>
                  </a:lnTo>
                  <a:lnTo>
                    <a:pt x="503" y="283"/>
                  </a:lnTo>
                  <a:lnTo>
                    <a:pt x="503" y="279"/>
                  </a:lnTo>
                  <a:lnTo>
                    <a:pt x="507" y="279"/>
                  </a:lnTo>
                  <a:lnTo>
                    <a:pt x="507" y="275"/>
                  </a:lnTo>
                  <a:lnTo>
                    <a:pt x="503" y="279"/>
                  </a:lnTo>
                  <a:lnTo>
                    <a:pt x="499" y="283"/>
                  </a:lnTo>
                  <a:lnTo>
                    <a:pt x="495" y="283"/>
                  </a:lnTo>
                  <a:lnTo>
                    <a:pt x="491" y="283"/>
                  </a:lnTo>
                  <a:lnTo>
                    <a:pt x="487" y="279"/>
                  </a:lnTo>
                  <a:lnTo>
                    <a:pt x="491" y="279"/>
                  </a:lnTo>
                  <a:lnTo>
                    <a:pt x="491" y="275"/>
                  </a:lnTo>
                  <a:lnTo>
                    <a:pt x="491" y="279"/>
                  </a:lnTo>
                  <a:lnTo>
                    <a:pt x="487" y="279"/>
                  </a:lnTo>
                  <a:lnTo>
                    <a:pt x="487" y="275"/>
                  </a:lnTo>
                  <a:lnTo>
                    <a:pt x="487" y="279"/>
                  </a:lnTo>
                  <a:lnTo>
                    <a:pt x="483" y="279"/>
                  </a:lnTo>
                  <a:lnTo>
                    <a:pt x="483" y="275"/>
                  </a:lnTo>
                  <a:lnTo>
                    <a:pt x="487" y="275"/>
                  </a:lnTo>
                  <a:lnTo>
                    <a:pt x="483" y="275"/>
                  </a:lnTo>
                  <a:lnTo>
                    <a:pt x="479" y="275"/>
                  </a:lnTo>
                  <a:lnTo>
                    <a:pt x="475" y="275"/>
                  </a:lnTo>
                  <a:lnTo>
                    <a:pt x="479" y="275"/>
                  </a:lnTo>
                  <a:lnTo>
                    <a:pt x="483" y="271"/>
                  </a:lnTo>
                  <a:lnTo>
                    <a:pt x="479" y="271"/>
                  </a:lnTo>
                  <a:lnTo>
                    <a:pt x="475" y="271"/>
                  </a:lnTo>
                  <a:lnTo>
                    <a:pt x="479" y="267"/>
                  </a:lnTo>
                  <a:lnTo>
                    <a:pt x="483" y="267"/>
                  </a:lnTo>
                  <a:lnTo>
                    <a:pt x="483" y="263"/>
                  </a:lnTo>
                  <a:lnTo>
                    <a:pt x="479" y="263"/>
                  </a:lnTo>
                  <a:lnTo>
                    <a:pt x="479" y="267"/>
                  </a:lnTo>
                  <a:lnTo>
                    <a:pt x="475" y="267"/>
                  </a:lnTo>
                  <a:lnTo>
                    <a:pt x="471" y="271"/>
                  </a:lnTo>
                  <a:lnTo>
                    <a:pt x="471" y="267"/>
                  </a:lnTo>
                  <a:lnTo>
                    <a:pt x="467" y="267"/>
                  </a:lnTo>
                  <a:lnTo>
                    <a:pt x="467" y="271"/>
                  </a:lnTo>
                  <a:lnTo>
                    <a:pt x="463" y="271"/>
                  </a:lnTo>
                  <a:lnTo>
                    <a:pt x="463" y="267"/>
                  </a:lnTo>
                  <a:lnTo>
                    <a:pt x="463" y="263"/>
                  </a:lnTo>
                  <a:lnTo>
                    <a:pt x="463" y="271"/>
                  </a:lnTo>
                  <a:lnTo>
                    <a:pt x="459" y="271"/>
                  </a:lnTo>
                  <a:lnTo>
                    <a:pt x="455" y="271"/>
                  </a:lnTo>
                  <a:lnTo>
                    <a:pt x="459" y="267"/>
                  </a:lnTo>
                  <a:lnTo>
                    <a:pt x="459" y="263"/>
                  </a:lnTo>
                  <a:lnTo>
                    <a:pt x="459" y="267"/>
                  </a:lnTo>
                  <a:lnTo>
                    <a:pt x="455" y="267"/>
                  </a:lnTo>
                  <a:lnTo>
                    <a:pt x="451" y="267"/>
                  </a:lnTo>
                  <a:lnTo>
                    <a:pt x="455" y="267"/>
                  </a:lnTo>
                  <a:lnTo>
                    <a:pt x="451" y="271"/>
                  </a:lnTo>
                  <a:lnTo>
                    <a:pt x="447" y="271"/>
                  </a:lnTo>
                  <a:lnTo>
                    <a:pt x="447" y="275"/>
                  </a:lnTo>
                  <a:lnTo>
                    <a:pt x="447" y="271"/>
                  </a:lnTo>
                  <a:lnTo>
                    <a:pt x="451" y="275"/>
                  </a:lnTo>
                  <a:lnTo>
                    <a:pt x="447" y="275"/>
                  </a:lnTo>
                  <a:lnTo>
                    <a:pt x="451" y="275"/>
                  </a:lnTo>
                  <a:lnTo>
                    <a:pt x="455" y="279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close/>
                  <a:moveTo>
                    <a:pt x="463" y="283"/>
                  </a:moveTo>
                  <a:lnTo>
                    <a:pt x="459" y="283"/>
                  </a:lnTo>
                  <a:lnTo>
                    <a:pt x="463" y="283"/>
                  </a:lnTo>
                  <a:lnTo>
                    <a:pt x="459" y="287"/>
                  </a:lnTo>
                  <a:lnTo>
                    <a:pt x="459" y="283"/>
                  </a:lnTo>
                  <a:lnTo>
                    <a:pt x="463" y="279"/>
                  </a:lnTo>
                  <a:lnTo>
                    <a:pt x="463" y="283"/>
                  </a:lnTo>
                  <a:close/>
                  <a:moveTo>
                    <a:pt x="240" y="411"/>
                  </a:moveTo>
                  <a:lnTo>
                    <a:pt x="240" y="415"/>
                  </a:lnTo>
                  <a:lnTo>
                    <a:pt x="240" y="411"/>
                  </a:lnTo>
                  <a:close/>
                  <a:moveTo>
                    <a:pt x="1540" y="754"/>
                  </a:moveTo>
                  <a:lnTo>
                    <a:pt x="1540" y="758"/>
                  </a:lnTo>
                  <a:lnTo>
                    <a:pt x="1540" y="754"/>
                  </a:lnTo>
                  <a:lnTo>
                    <a:pt x="1536" y="754"/>
                  </a:lnTo>
                  <a:lnTo>
                    <a:pt x="1540" y="758"/>
                  </a:lnTo>
                  <a:lnTo>
                    <a:pt x="1540" y="762"/>
                  </a:lnTo>
                  <a:lnTo>
                    <a:pt x="1540" y="766"/>
                  </a:lnTo>
                  <a:lnTo>
                    <a:pt x="1540" y="770"/>
                  </a:lnTo>
                  <a:lnTo>
                    <a:pt x="1540" y="774"/>
                  </a:lnTo>
                  <a:lnTo>
                    <a:pt x="1536" y="774"/>
                  </a:lnTo>
                  <a:lnTo>
                    <a:pt x="1536" y="770"/>
                  </a:lnTo>
                  <a:lnTo>
                    <a:pt x="1536" y="766"/>
                  </a:lnTo>
                  <a:lnTo>
                    <a:pt x="1536" y="770"/>
                  </a:lnTo>
                  <a:lnTo>
                    <a:pt x="1536" y="774"/>
                  </a:lnTo>
                  <a:lnTo>
                    <a:pt x="1540" y="774"/>
                  </a:lnTo>
                  <a:lnTo>
                    <a:pt x="1540" y="778"/>
                  </a:lnTo>
                  <a:lnTo>
                    <a:pt x="1540" y="782"/>
                  </a:lnTo>
                  <a:lnTo>
                    <a:pt x="1540" y="778"/>
                  </a:lnTo>
                  <a:lnTo>
                    <a:pt x="1536" y="778"/>
                  </a:lnTo>
                  <a:lnTo>
                    <a:pt x="1532" y="774"/>
                  </a:lnTo>
                  <a:lnTo>
                    <a:pt x="1528" y="774"/>
                  </a:lnTo>
                  <a:lnTo>
                    <a:pt x="1528" y="770"/>
                  </a:lnTo>
                  <a:lnTo>
                    <a:pt x="1528" y="766"/>
                  </a:lnTo>
                  <a:lnTo>
                    <a:pt x="1532" y="766"/>
                  </a:lnTo>
                  <a:lnTo>
                    <a:pt x="1532" y="762"/>
                  </a:lnTo>
                  <a:lnTo>
                    <a:pt x="1532" y="766"/>
                  </a:lnTo>
                  <a:lnTo>
                    <a:pt x="1528" y="766"/>
                  </a:lnTo>
                  <a:lnTo>
                    <a:pt x="1528" y="770"/>
                  </a:lnTo>
                  <a:lnTo>
                    <a:pt x="1528" y="774"/>
                  </a:lnTo>
                  <a:lnTo>
                    <a:pt x="1532" y="774"/>
                  </a:lnTo>
                  <a:lnTo>
                    <a:pt x="1532" y="778"/>
                  </a:lnTo>
                  <a:lnTo>
                    <a:pt x="1536" y="778"/>
                  </a:lnTo>
                  <a:lnTo>
                    <a:pt x="1540" y="782"/>
                  </a:lnTo>
                  <a:lnTo>
                    <a:pt x="1544" y="782"/>
                  </a:lnTo>
                  <a:lnTo>
                    <a:pt x="1544" y="786"/>
                  </a:lnTo>
                  <a:lnTo>
                    <a:pt x="1540" y="790"/>
                  </a:lnTo>
                  <a:lnTo>
                    <a:pt x="1540" y="786"/>
                  </a:lnTo>
                  <a:lnTo>
                    <a:pt x="1536" y="786"/>
                  </a:lnTo>
                  <a:lnTo>
                    <a:pt x="1532" y="782"/>
                  </a:lnTo>
                  <a:lnTo>
                    <a:pt x="1532" y="778"/>
                  </a:lnTo>
                  <a:lnTo>
                    <a:pt x="1528" y="778"/>
                  </a:lnTo>
                  <a:lnTo>
                    <a:pt x="1532" y="778"/>
                  </a:lnTo>
                  <a:lnTo>
                    <a:pt x="1532" y="782"/>
                  </a:lnTo>
                  <a:lnTo>
                    <a:pt x="1536" y="786"/>
                  </a:lnTo>
                  <a:lnTo>
                    <a:pt x="1540" y="790"/>
                  </a:lnTo>
                  <a:lnTo>
                    <a:pt x="1544" y="790"/>
                  </a:lnTo>
                  <a:lnTo>
                    <a:pt x="1544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0" y="794"/>
                  </a:lnTo>
                  <a:lnTo>
                    <a:pt x="1536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4" y="798"/>
                  </a:lnTo>
                  <a:lnTo>
                    <a:pt x="1540" y="802"/>
                  </a:lnTo>
                  <a:lnTo>
                    <a:pt x="1536" y="798"/>
                  </a:lnTo>
                  <a:lnTo>
                    <a:pt x="1532" y="798"/>
                  </a:lnTo>
                  <a:lnTo>
                    <a:pt x="1532" y="794"/>
                  </a:lnTo>
                  <a:lnTo>
                    <a:pt x="1528" y="794"/>
                  </a:lnTo>
                  <a:lnTo>
                    <a:pt x="1532" y="794"/>
                  </a:lnTo>
                  <a:lnTo>
                    <a:pt x="1532" y="798"/>
                  </a:lnTo>
                  <a:lnTo>
                    <a:pt x="1536" y="798"/>
                  </a:lnTo>
                  <a:lnTo>
                    <a:pt x="1536" y="802"/>
                  </a:lnTo>
                  <a:lnTo>
                    <a:pt x="1540" y="802"/>
                  </a:lnTo>
                  <a:lnTo>
                    <a:pt x="1540" y="806"/>
                  </a:lnTo>
                  <a:lnTo>
                    <a:pt x="1540" y="802"/>
                  </a:lnTo>
                  <a:lnTo>
                    <a:pt x="1544" y="802"/>
                  </a:lnTo>
                  <a:lnTo>
                    <a:pt x="1548" y="802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52" y="818"/>
                  </a:lnTo>
                  <a:lnTo>
                    <a:pt x="1552" y="822"/>
                  </a:lnTo>
                  <a:lnTo>
                    <a:pt x="1552" y="826"/>
                  </a:lnTo>
                  <a:lnTo>
                    <a:pt x="1552" y="822"/>
                  </a:lnTo>
                  <a:lnTo>
                    <a:pt x="1552" y="818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0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4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8" y="822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4" y="818"/>
                  </a:lnTo>
                  <a:lnTo>
                    <a:pt x="1544" y="814"/>
                  </a:lnTo>
                  <a:lnTo>
                    <a:pt x="1544" y="818"/>
                  </a:lnTo>
                  <a:lnTo>
                    <a:pt x="1540" y="818"/>
                  </a:lnTo>
                  <a:lnTo>
                    <a:pt x="1540" y="822"/>
                  </a:lnTo>
                  <a:lnTo>
                    <a:pt x="1536" y="822"/>
                  </a:lnTo>
                  <a:lnTo>
                    <a:pt x="1536" y="818"/>
                  </a:lnTo>
                  <a:lnTo>
                    <a:pt x="1536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8" y="822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8" y="826"/>
                  </a:lnTo>
                  <a:lnTo>
                    <a:pt x="1548" y="822"/>
                  </a:lnTo>
                  <a:lnTo>
                    <a:pt x="1552" y="826"/>
                  </a:lnTo>
                  <a:lnTo>
                    <a:pt x="1552" y="830"/>
                  </a:lnTo>
                  <a:lnTo>
                    <a:pt x="1548" y="830"/>
                  </a:lnTo>
                  <a:lnTo>
                    <a:pt x="1548" y="834"/>
                  </a:lnTo>
                  <a:lnTo>
                    <a:pt x="1544" y="834"/>
                  </a:lnTo>
                  <a:lnTo>
                    <a:pt x="1540" y="834"/>
                  </a:lnTo>
                  <a:lnTo>
                    <a:pt x="1536" y="834"/>
                  </a:lnTo>
                  <a:lnTo>
                    <a:pt x="1536" y="830"/>
                  </a:lnTo>
                  <a:lnTo>
                    <a:pt x="1540" y="830"/>
                  </a:lnTo>
                  <a:lnTo>
                    <a:pt x="1536" y="830"/>
                  </a:lnTo>
                  <a:lnTo>
                    <a:pt x="1536" y="834"/>
                  </a:lnTo>
                  <a:lnTo>
                    <a:pt x="1532" y="834"/>
                  </a:lnTo>
                  <a:lnTo>
                    <a:pt x="1532" y="830"/>
                  </a:lnTo>
                  <a:lnTo>
                    <a:pt x="1532" y="834"/>
                  </a:lnTo>
                  <a:lnTo>
                    <a:pt x="1540" y="834"/>
                  </a:lnTo>
                  <a:lnTo>
                    <a:pt x="1540" y="838"/>
                  </a:lnTo>
                  <a:lnTo>
                    <a:pt x="1536" y="838"/>
                  </a:lnTo>
                  <a:lnTo>
                    <a:pt x="1536" y="842"/>
                  </a:lnTo>
                  <a:lnTo>
                    <a:pt x="1532" y="842"/>
                  </a:lnTo>
                  <a:lnTo>
                    <a:pt x="1532" y="838"/>
                  </a:lnTo>
                  <a:lnTo>
                    <a:pt x="1532" y="842"/>
                  </a:lnTo>
                  <a:lnTo>
                    <a:pt x="1536" y="842"/>
                  </a:lnTo>
                  <a:lnTo>
                    <a:pt x="1540" y="842"/>
                  </a:lnTo>
                  <a:lnTo>
                    <a:pt x="1544" y="842"/>
                  </a:lnTo>
                  <a:lnTo>
                    <a:pt x="1540" y="842"/>
                  </a:lnTo>
                  <a:lnTo>
                    <a:pt x="1540" y="846"/>
                  </a:lnTo>
                  <a:lnTo>
                    <a:pt x="1536" y="846"/>
                  </a:lnTo>
                  <a:lnTo>
                    <a:pt x="1528" y="850"/>
                  </a:lnTo>
                  <a:lnTo>
                    <a:pt x="1524" y="850"/>
                  </a:lnTo>
                  <a:lnTo>
                    <a:pt x="1528" y="850"/>
                  </a:lnTo>
                  <a:lnTo>
                    <a:pt x="1524" y="846"/>
                  </a:lnTo>
                  <a:lnTo>
                    <a:pt x="1524" y="850"/>
                  </a:lnTo>
                  <a:lnTo>
                    <a:pt x="1524" y="854"/>
                  </a:lnTo>
                  <a:lnTo>
                    <a:pt x="1520" y="854"/>
                  </a:lnTo>
                  <a:lnTo>
                    <a:pt x="1520" y="858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66"/>
                  </a:lnTo>
                  <a:lnTo>
                    <a:pt x="1516" y="862"/>
                  </a:lnTo>
                  <a:lnTo>
                    <a:pt x="1512" y="862"/>
                  </a:lnTo>
                  <a:lnTo>
                    <a:pt x="1508" y="866"/>
                  </a:lnTo>
                  <a:lnTo>
                    <a:pt x="1504" y="866"/>
                  </a:lnTo>
                  <a:lnTo>
                    <a:pt x="1504" y="870"/>
                  </a:lnTo>
                  <a:lnTo>
                    <a:pt x="1500" y="870"/>
                  </a:lnTo>
                  <a:lnTo>
                    <a:pt x="1500" y="874"/>
                  </a:lnTo>
                  <a:lnTo>
                    <a:pt x="1496" y="878"/>
                  </a:lnTo>
                  <a:lnTo>
                    <a:pt x="1496" y="874"/>
                  </a:lnTo>
                  <a:lnTo>
                    <a:pt x="1496" y="878"/>
                  </a:lnTo>
                  <a:lnTo>
                    <a:pt x="1496" y="882"/>
                  </a:lnTo>
                  <a:lnTo>
                    <a:pt x="1492" y="882"/>
                  </a:lnTo>
                  <a:lnTo>
                    <a:pt x="1488" y="886"/>
                  </a:lnTo>
                  <a:lnTo>
                    <a:pt x="1488" y="890"/>
                  </a:lnTo>
                  <a:lnTo>
                    <a:pt x="1484" y="890"/>
                  </a:lnTo>
                  <a:lnTo>
                    <a:pt x="1480" y="894"/>
                  </a:lnTo>
                  <a:lnTo>
                    <a:pt x="1476" y="890"/>
                  </a:lnTo>
                  <a:lnTo>
                    <a:pt x="1476" y="894"/>
                  </a:lnTo>
                  <a:lnTo>
                    <a:pt x="1480" y="894"/>
                  </a:lnTo>
                  <a:lnTo>
                    <a:pt x="1476" y="898"/>
                  </a:lnTo>
                  <a:lnTo>
                    <a:pt x="1476" y="894"/>
                  </a:lnTo>
                  <a:lnTo>
                    <a:pt x="1472" y="894"/>
                  </a:lnTo>
                  <a:lnTo>
                    <a:pt x="1472" y="890"/>
                  </a:lnTo>
                  <a:lnTo>
                    <a:pt x="1472" y="894"/>
                  </a:lnTo>
                  <a:lnTo>
                    <a:pt x="1476" y="898"/>
                  </a:lnTo>
                  <a:lnTo>
                    <a:pt x="1472" y="898"/>
                  </a:lnTo>
                  <a:lnTo>
                    <a:pt x="1472" y="902"/>
                  </a:lnTo>
                  <a:lnTo>
                    <a:pt x="1472" y="906"/>
                  </a:lnTo>
                  <a:lnTo>
                    <a:pt x="1468" y="906"/>
                  </a:lnTo>
                  <a:lnTo>
                    <a:pt x="1468" y="910"/>
                  </a:lnTo>
                  <a:lnTo>
                    <a:pt x="1464" y="910"/>
                  </a:lnTo>
                  <a:lnTo>
                    <a:pt x="1468" y="914"/>
                  </a:lnTo>
                  <a:lnTo>
                    <a:pt x="1468" y="910"/>
                  </a:lnTo>
                  <a:lnTo>
                    <a:pt x="1468" y="914"/>
                  </a:lnTo>
                  <a:lnTo>
                    <a:pt x="1468" y="918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26"/>
                  </a:lnTo>
                  <a:lnTo>
                    <a:pt x="1464" y="930"/>
                  </a:lnTo>
                  <a:lnTo>
                    <a:pt x="1464" y="934"/>
                  </a:lnTo>
                  <a:lnTo>
                    <a:pt x="1464" y="938"/>
                  </a:lnTo>
                  <a:lnTo>
                    <a:pt x="1464" y="942"/>
                  </a:lnTo>
                  <a:lnTo>
                    <a:pt x="1468" y="942"/>
                  </a:lnTo>
                  <a:lnTo>
                    <a:pt x="1468" y="946"/>
                  </a:lnTo>
                  <a:lnTo>
                    <a:pt x="1468" y="950"/>
                  </a:lnTo>
                  <a:lnTo>
                    <a:pt x="1472" y="958"/>
                  </a:lnTo>
                  <a:lnTo>
                    <a:pt x="1472" y="962"/>
                  </a:lnTo>
                  <a:lnTo>
                    <a:pt x="1476" y="966"/>
                  </a:lnTo>
                  <a:lnTo>
                    <a:pt x="1476" y="970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76" y="982"/>
                  </a:lnTo>
                  <a:lnTo>
                    <a:pt x="1476" y="978"/>
                  </a:lnTo>
                  <a:lnTo>
                    <a:pt x="1476" y="974"/>
                  </a:lnTo>
                  <a:lnTo>
                    <a:pt x="1476" y="970"/>
                  </a:lnTo>
                  <a:lnTo>
                    <a:pt x="1472" y="970"/>
                  </a:lnTo>
                  <a:lnTo>
                    <a:pt x="1472" y="966"/>
                  </a:lnTo>
                  <a:lnTo>
                    <a:pt x="1476" y="966"/>
                  </a:lnTo>
                  <a:lnTo>
                    <a:pt x="1472" y="966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80" y="986"/>
                  </a:lnTo>
                  <a:lnTo>
                    <a:pt x="1480" y="990"/>
                  </a:lnTo>
                  <a:lnTo>
                    <a:pt x="1484" y="998"/>
                  </a:lnTo>
                  <a:lnTo>
                    <a:pt x="1484" y="1002"/>
                  </a:lnTo>
                  <a:lnTo>
                    <a:pt x="1484" y="1006"/>
                  </a:lnTo>
                  <a:lnTo>
                    <a:pt x="1484" y="1010"/>
                  </a:lnTo>
                  <a:lnTo>
                    <a:pt x="1484" y="1014"/>
                  </a:lnTo>
                  <a:lnTo>
                    <a:pt x="1484" y="1022"/>
                  </a:lnTo>
                  <a:lnTo>
                    <a:pt x="1484" y="1026"/>
                  </a:lnTo>
                  <a:lnTo>
                    <a:pt x="1480" y="1026"/>
                  </a:lnTo>
                  <a:lnTo>
                    <a:pt x="1480" y="1030"/>
                  </a:lnTo>
                  <a:lnTo>
                    <a:pt x="1480" y="1034"/>
                  </a:lnTo>
                  <a:lnTo>
                    <a:pt x="1476" y="1034"/>
                  </a:lnTo>
                  <a:lnTo>
                    <a:pt x="1472" y="1034"/>
                  </a:lnTo>
                  <a:lnTo>
                    <a:pt x="1468" y="1038"/>
                  </a:lnTo>
                  <a:lnTo>
                    <a:pt x="1468" y="1034"/>
                  </a:lnTo>
                  <a:lnTo>
                    <a:pt x="1472" y="1034"/>
                  </a:lnTo>
                  <a:lnTo>
                    <a:pt x="1468" y="1034"/>
                  </a:lnTo>
                  <a:lnTo>
                    <a:pt x="1468" y="1030"/>
                  </a:lnTo>
                  <a:lnTo>
                    <a:pt x="1464" y="1022"/>
                  </a:lnTo>
                  <a:lnTo>
                    <a:pt x="1460" y="1022"/>
                  </a:lnTo>
                  <a:lnTo>
                    <a:pt x="1460" y="1018"/>
                  </a:lnTo>
                  <a:lnTo>
                    <a:pt x="1456" y="1014"/>
                  </a:lnTo>
                  <a:lnTo>
                    <a:pt x="1456" y="1010"/>
                  </a:lnTo>
                  <a:lnTo>
                    <a:pt x="1460" y="1006"/>
                  </a:lnTo>
                  <a:lnTo>
                    <a:pt x="1456" y="1006"/>
                  </a:lnTo>
                  <a:lnTo>
                    <a:pt x="1456" y="1010"/>
                  </a:lnTo>
                  <a:lnTo>
                    <a:pt x="1456" y="1006"/>
                  </a:lnTo>
                  <a:lnTo>
                    <a:pt x="1456" y="1002"/>
                  </a:lnTo>
                  <a:lnTo>
                    <a:pt x="1452" y="1002"/>
                  </a:lnTo>
                  <a:lnTo>
                    <a:pt x="1452" y="1006"/>
                  </a:lnTo>
                  <a:lnTo>
                    <a:pt x="1452" y="1002"/>
                  </a:lnTo>
                  <a:lnTo>
                    <a:pt x="1448" y="1002"/>
                  </a:lnTo>
                  <a:lnTo>
                    <a:pt x="1448" y="998"/>
                  </a:lnTo>
                  <a:lnTo>
                    <a:pt x="1448" y="994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86"/>
                  </a:lnTo>
                  <a:lnTo>
                    <a:pt x="1448" y="982"/>
                  </a:lnTo>
                  <a:lnTo>
                    <a:pt x="1444" y="978"/>
                  </a:lnTo>
                  <a:lnTo>
                    <a:pt x="1444" y="982"/>
                  </a:lnTo>
                  <a:lnTo>
                    <a:pt x="1448" y="982"/>
                  </a:lnTo>
                  <a:lnTo>
                    <a:pt x="1444" y="986"/>
                  </a:lnTo>
                  <a:lnTo>
                    <a:pt x="1444" y="982"/>
                  </a:lnTo>
                  <a:lnTo>
                    <a:pt x="1444" y="978"/>
                  </a:lnTo>
                  <a:lnTo>
                    <a:pt x="1444" y="974"/>
                  </a:lnTo>
                  <a:lnTo>
                    <a:pt x="1444" y="970"/>
                  </a:lnTo>
                  <a:lnTo>
                    <a:pt x="1444" y="966"/>
                  </a:lnTo>
                  <a:lnTo>
                    <a:pt x="1444" y="962"/>
                  </a:lnTo>
                  <a:lnTo>
                    <a:pt x="1444" y="958"/>
                  </a:lnTo>
                  <a:lnTo>
                    <a:pt x="1440" y="958"/>
                  </a:lnTo>
                  <a:lnTo>
                    <a:pt x="1440" y="954"/>
                  </a:lnTo>
                  <a:lnTo>
                    <a:pt x="1436" y="954"/>
                  </a:lnTo>
                  <a:lnTo>
                    <a:pt x="1436" y="950"/>
                  </a:lnTo>
                  <a:lnTo>
                    <a:pt x="1432" y="950"/>
                  </a:lnTo>
                  <a:lnTo>
                    <a:pt x="1432" y="946"/>
                  </a:lnTo>
                  <a:lnTo>
                    <a:pt x="1432" y="942"/>
                  </a:lnTo>
                  <a:lnTo>
                    <a:pt x="1428" y="942"/>
                  </a:lnTo>
                  <a:lnTo>
                    <a:pt x="1424" y="942"/>
                  </a:lnTo>
                  <a:lnTo>
                    <a:pt x="1424" y="938"/>
                  </a:lnTo>
                  <a:lnTo>
                    <a:pt x="1420" y="938"/>
                  </a:lnTo>
                  <a:lnTo>
                    <a:pt x="1416" y="942"/>
                  </a:lnTo>
                  <a:lnTo>
                    <a:pt x="1420" y="942"/>
                  </a:lnTo>
                  <a:lnTo>
                    <a:pt x="1416" y="942"/>
                  </a:lnTo>
                  <a:lnTo>
                    <a:pt x="1416" y="946"/>
                  </a:lnTo>
                  <a:lnTo>
                    <a:pt x="1412" y="946"/>
                  </a:lnTo>
                  <a:lnTo>
                    <a:pt x="1408" y="946"/>
                  </a:lnTo>
                  <a:lnTo>
                    <a:pt x="1404" y="946"/>
                  </a:lnTo>
                  <a:lnTo>
                    <a:pt x="1404" y="942"/>
                  </a:lnTo>
                  <a:lnTo>
                    <a:pt x="1400" y="942"/>
                  </a:lnTo>
                  <a:lnTo>
                    <a:pt x="1400" y="938"/>
                  </a:lnTo>
                  <a:lnTo>
                    <a:pt x="1400" y="942"/>
                  </a:lnTo>
                  <a:lnTo>
                    <a:pt x="1404" y="942"/>
                  </a:lnTo>
                  <a:lnTo>
                    <a:pt x="1400" y="938"/>
                  </a:lnTo>
                  <a:lnTo>
                    <a:pt x="1400" y="934"/>
                  </a:lnTo>
                  <a:lnTo>
                    <a:pt x="1396" y="934"/>
                  </a:lnTo>
                  <a:lnTo>
                    <a:pt x="1396" y="938"/>
                  </a:lnTo>
                  <a:lnTo>
                    <a:pt x="1400" y="938"/>
                  </a:lnTo>
                  <a:lnTo>
                    <a:pt x="1396" y="938"/>
                  </a:lnTo>
                  <a:lnTo>
                    <a:pt x="1396" y="934"/>
                  </a:lnTo>
                  <a:lnTo>
                    <a:pt x="1392" y="934"/>
                  </a:lnTo>
                  <a:lnTo>
                    <a:pt x="1388" y="934"/>
                  </a:lnTo>
                  <a:lnTo>
                    <a:pt x="1392" y="934"/>
                  </a:lnTo>
                  <a:lnTo>
                    <a:pt x="1392" y="930"/>
                  </a:lnTo>
                  <a:lnTo>
                    <a:pt x="1388" y="930"/>
                  </a:lnTo>
                  <a:lnTo>
                    <a:pt x="1388" y="934"/>
                  </a:ln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0" y="930"/>
                  </a:lnTo>
                  <a:lnTo>
                    <a:pt x="1376" y="930"/>
                  </a:lnTo>
                  <a:lnTo>
                    <a:pt x="1376" y="934"/>
                  </a:lnTo>
                  <a:lnTo>
                    <a:pt x="1372" y="934"/>
                  </a:lnTo>
                  <a:lnTo>
                    <a:pt x="1376" y="934"/>
                  </a:lnTo>
                  <a:lnTo>
                    <a:pt x="1372" y="930"/>
                  </a:lnTo>
                  <a:lnTo>
                    <a:pt x="1372" y="934"/>
                  </a:lnTo>
                  <a:lnTo>
                    <a:pt x="1368" y="938"/>
                  </a:lnTo>
                  <a:lnTo>
                    <a:pt x="1364" y="938"/>
                  </a:lnTo>
                  <a:lnTo>
                    <a:pt x="1368" y="938"/>
                  </a:lnTo>
                  <a:lnTo>
                    <a:pt x="1368" y="934"/>
                  </a:lnTo>
                  <a:lnTo>
                    <a:pt x="1364" y="934"/>
                  </a:lnTo>
                  <a:lnTo>
                    <a:pt x="1364" y="930"/>
                  </a:lnTo>
                  <a:lnTo>
                    <a:pt x="1364" y="926"/>
                  </a:lnTo>
                  <a:lnTo>
                    <a:pt x="1364" y="930"/>
                  </a:lnTo>
                  <a:lnTo>
                    <a:pt x="1364" y="934"/>
                  </a:lnTo>
                  <a:lnTo>
                    <a:pt x="1360" y="934"/>
                  </a:lnTo>
                  <a:lnTo>
                    <a:pt x="1357" y="934"/>
                  </a:lnTo>
                  <a:lnTo>
                    <a:pt x="1353" y="934"/>
                  </a:lnTo>
                  <a:lnTo>
                    <a:pt x="1349" y="934"/>
                  </a:lnTo>
                  <a:lnTo>
                    <a:pt x="1345" y="934"/>
                  </a:lnTo>
                  <a:lnTo>
                    <a:pt x="1345" y="938"/>
                  </a:lnTo>
                  <a:lnTo>
                    <a:pt x="1341" y="938"/>
                  </a:lnTo>
                  <a:lnTo>
                    <a:pt x="1337" y="938"/>
                  </a:lnTo>
                  <a:lnTo>
                    <a:pt x="1337" y="934"/>
                  </a:lnTo>
                  <a:lnTo>
                    <a:pt x="1333" y="934"/>
                  </a:lnTo>
                  <a:lnTo>
                    <a:pt x="1329" y="938"/>
                  </a:lnTo>
                  <a:lnTo>
                    <a:pt x="1329" y="942"/>
                  </a:lnTo>
                  <a:lnTo>
                    <a:pt x="1333" y="942"/>
                  </a:lnTo>
                  <a:lnTo>
                    <a:pt x="1337" y="938"/>
                  </a:lnTo>
                  <a:lnTo>
                    <a:pt x="1341" y="938"/>
                  </a:lnTo>
                  <a:lnTo>
                    <a:pt x="1341" y="942"/>
                  </a:lnTo>
                  <a:lnTo>
                    <a:pt x="1337" y="942"/>
                  </a:lnTo>
                  <a:lnTo>
                    <a:pt x="1341" y="942"/>
                  </a:lnTo>
                  <a:lnTo>
                    <a:pt x="1341" y="938"/>
                  </a:lnTo>
                  <a:lnTo>
                    <a:pt x="1345" y="942"/>
                  </a:lnTo>
                  <a:lnTo>
                    <a:pt x="1345" y="946"/>
                  </a:lnTo>
                  <a:lnTo>
                    <a:pt x="1341" y="946"/>
                  </a:lnTo>
                  <a:lnTo>
                    <a:pt x="1337" y="950"/>
                  </a:lnTo>
                  <a:lnTo>
                    <a:pt x="1341" y="950"/>
                  </a:lnTo>
                  <a:lnTo>
                    <a:pt x="1341" y="954"/>
                  </a:lnTo>
                  <a:lnTo>
                    <a:pt x="1345" y="954"/>
                  </a:lnTo>
                  <a:lnTo>
                    <a:pt x="1349" y="954"/>
                  </a:lnTo>
                  <a:lnTo>
                    <a:pt x="1349" y="958"/>
                  </a:lnTo>
                  <a:lnTo>
                    <a:pt x="1349" y="962"/>
                  </a:lnTo>
                  <a:lnTo>
                    <a:pt x="1345" y="958"/>
                  </a:lnTo>
                  <a:lnTo>
                    <a:pt x="1345" y="962"/>
                  </a:lnTo>
                  <a:lnTo>
                    <a:pt x="1345" y="958"/>
                  </a:lnTo>
                  <a:lnTo>
                    <a:pt x="1341" y="958"/>
                  </a:lnTo>
                  <a:lnTo>
                    <a:pt x="1341" y="954"/>
                  </a:lnTo>
                  <a:lnTo>
                    <a:pt x="1337" y="954"/>
                  </a:lnTo>
                  <a:lnTo>
                    <a:pt x="1337" y="950"/>
                  </a:lnTo>
                  <a:lnTo>
                    <a:pt x="1333" y="950"/>
                  </a:lnTo>
                  <a:lnTo>
                    <a:pt x="1333" y="954"/>
                  </a:lnTo>
                  <a:lnTo>
                    <a:pt x="1333" y="958"/>
                  </a:lnTo>
                  <a:lnTo>
                    <a:pt x="1329" y="958"/>
                  </a:lnTo>
                  <a:lnTo>
                    <a:pt x="1329" y="954"/>
                  </a:lnTo>
                  <a:lnTo>
                    <a:pt x="1325" y="954"/>
                  </a:lnTo>
                  <a:lnTo>
                    <a:pt x="1325" y="958"/>
                  </a:lnTo>
                  <a:lnTo>
                    <a:pt x="1321" y="958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3" y="954"/>
                  </a:lnTo>
                  <a:lnTo>
                    <a:pt x="1317" y="954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7" y="950"/>
                  </a:lnTo>
                  <a:lnTo>
                    <a:pt x="1313" y="950"/>
                  </a:lnTo>
                  <a:lnTo>
                    <a:pt x="1309" y="946"/>
                  </a:lnTo>
                  <a:lnTo>
                    <a:pt x="1305" y="946"/>
                  </a:lnTo>
                  <a:lnTo>
                    <a:pt x="1301" y="946"/>
                  </a:lnTo>
                  <a:lnTo>
                    <a:pt x="1301" y="950"/>
                  </a:lnTo>
                  <a:lnTo>
                    <a:pt x="1297" y="950"/>
                  </a:lnTo>
                  <a:lnTo>
                    <a:pt x="1293" y="950"/>
                  </a:lnTo>
                  <a:lnTo>
                    <a:pt x="1289" y="946"/>
                  </a:lnTo>
                  <a:lnTo>
                    <a:pt x="1285" y="946"/>
                  </a:lnTo>
                  <a:lnTo>
                    <a:pt x="1281" y="946"/>
                  </a:lnTo>
                  <a:lnTo>
                    <a:pt x="1277" y="946"/>
                  </a:lnTo>
                  <a:lnTo>
                    <a:pt x="1277" y="942"/>
                  </a:lnTo>
                  <a:lnTo>
                    <a:pt x="1273" y="946"/>
                  </a:lnTo>
                  <a:lnTo>
                    <a:pt x="1277" y="946"/>
                  </a:lnTo>
                  <a:lnTo>
                    <a:pt x="1273" y="946"/>
                  </a:lnTo>
                  <a:lnTo>
                    <a:pt x="1273" y="950"/>
                  </a:lnTo>
                  <a:lnTo>
                    <a:pt x="1269" y="950"/>
                  </a:lnTo>
                  <a:lnTo>
                    <a:pt x="1265" y="950"/>
                  </a:lnTo>
                  <a:lnTo>
                    <a:pt x="1265" y="954"/>
                  </a:lnTo>
                  <a:lnTo>
                    <a:pt x="1261" y="954"/>
                  </a:lnTo>
                  <a:lnTo>
                    <a:pt x="1265" y="950"/>
                  </a:lnTo>
                  <a:lnTo>
                    <a:pt x="1261" y="950"/>
                  </a:lnTo>
                  <a:lnTo>
                    <a:pt x="1265" y="950"/>
                  </a:lnTo>
                  <a:lnTo>
                    <a:pt x="1265" y="946"/>
                  </a:lnTo>
                  <a:lnTo>
                    <a:pt x="1261" y="946"/>
                  </a:lnTo>
                  <a:lnTo>
                    <a:pt x="1257" y="946"/>
                  </a:lnTo>
                  <a:lnTo>
                    <a:pt x="1257" y="950"/>
                  </a:lnTo>
                  <a:lnTo>
                    <a:pt x="1261" y="954"/>
                  </a:lnTo>
                  <a:lnTo>
                    <a:pt x="1257" y="958"/>
                  </a:lnTo>
                  <a:lnTo>
                    <a:pt x="1253" y="962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1" y="970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1" y="970"/>
                  </a:lnTo>
                  <a:lnTo>
                    <a:pt x="1241" y="966"/>
                  </a:lnTo>
                  <a:lnTo>
                    <a:pt x="1237" y="966"/>
                  </a:lnTo>
                  <a:lnTo>
                    <a:pt x="1237" y="970"/>
                  </a:lnTo>
                  <a:lnTo>
                    <a:pt x="1237" y="966"/>
                  </a:lnTo>
                  <a:lnTo>
                    <a:pt x="1233" y="966"/>
                  </a:lnTo>
                  <a:lnTo>
                    <a:pt x="1233" y="970"/>
                  </a:lnTo>
                  <a:lnTo>
                    <a:pt x="1237" y="970"/>
                  </a:lnTo>
                  <a:lnTo>
                    <a:pt x="1233" y="974"/>
                  </a:lnTo>
                  <a:lnTo>
                    <a:pt x="1233" y="970"/>
                  </a:lnTo>
                  <a:lnTo>
                    <a:pt x="1229" y="974"/>
                  </a:lnTo>
                  <a:lnTo>
                    <a:pt x="1233" y="974"/>
                  </a:lnTo>
                  <a:lnTo>
                    <a:pt x="1229" y="978"/>
                  </a:lnTo>
                  <a:lnTo>
                    <a:pt x="1225" y="978"/>
                  </a:lnTo>
                  <a:lnTo>
                    <a:pt x="1229" y="978"/>
                  </a:lnTo>
                  <a:lnTo>
                    <a:pt x="1225" y="982"/>
                  </a:lnTo>
                  <a:lnTo>
                    <a:pt x="1221" y="982"/>
                  </a:lnTo>
                  <a:lnTo>
                    <a:pt x="1221" y="986"/>
                  </a:lnTo>
                  <a:lnTo>
                    <a:pt x="1225" y="986"/>
                  </a:lnTo>
                  <a:lnTo>
                    <a:pt x="1221" y="994"/>
                  </a:lnTo>
                  <a:lnTo>
                    <a:pt x="1217" y="994"/>
                  </a:lnTo>
                  <a:lnTo>
                    <a:pt x="1217" y="990"/>
                  </a:lnTo>
                  <a:lnTo>
                    <a:pt x="1217" y="994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1" y="1002"/>
                  </a:lnTo>
                  <a:lnTo>
                    <a:pt x="1221" y="1006"/>
                  </a:lnTo>
                  <a:lnTo>
                    <a:pt x="1221" y="1010"/>
                  </a:lnTo>
                  <a:lnTo>
                    <a:pt x="1221" y="1014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22"/>
                  </a:lnTo>
                  <a:lnTo>
                    <a:pt x="1221" y="1022"/>
                  </a:lnTo>
                  <a:lnTo>
                    <a:pt x="1221" y="1018"/>
                  </a:lnTo>
                  <a:lnTo>
                    <a:pt x="1217" y="1018"/>
                  </a:lnTo>
                  <a:lnTo>
                    <a:pt x="1213" y="1018"/>
                  </a:lnTo>
                  <a:lnTo>
                    <a:pt x="1209" y="1018"/>
                  </a:lnTo>
                  <a:lnTo>
                    <a:pt x="1209" y="1014"/>
                  </a:lnTo>
                  <a:lnTo>
                    <a:pt x="1205" y="1014"/>
                  </a:lnTo>
                  <a:lnTo>
                    <a:pt x="1201" y="1014"/>
                  </a:lnTo>
                  <a:lnTo>
                    <a:pt x="1201" y="1010"/>
                  </a:lnTo>
                  <a:lnTo>
                    <a:pt x="1197" y="1010"/>
                  </a:lnTo>
                  <a:lnTo>
                    <a:pt x="1197" y="1006"/>
                  </a:lnTo>
                  <a:lnTo>
                    <a:pt x="1193" y="1002"/>
                  </a:lnTo>
                  <a:lnTo>
                    <a:pt x="1193" y="998"/>
                  </a:lnTo>
                  <a:lnTo>
                    <a:pt x="1193" y="994"/>
                  </a:lnTo>
                  <a:lnTo>
                    <a:pt x="1193" y="990"/>
                  </a:lnTo>
                  <a:lnTo>
                    <a:pt x="1189" y="990"/>
                  </a:lnTo>
                  <a:lnTo>
                    <a:pt x="1189" y="986"/>
                  </a:lnTo>
                  <a:lnTo>
                    <a:pt x="1185" y="986"/>
                  </a:lnTo>
                  <a:lnTo>
                    <a:pt x="1185" y="982"/>
                  </a:lnTo>
                  <a:lnTo>
                    <a:pt x="1181" y="978"/>
                  </a:lnTo>
                  <a:lnTo>
                    <a:pt x="1181" y="974"/>
                  </a:lnTo>
                  <a:lnTo>
                    <a:pt x="1177" y="974"/>
                  </a:lnTo>
                  <a:lnTo>
                    <a:pt x="1177" y="970"/>
                  </a:lnTo>
                  <a:lnTo>
                    <a:pt x="1177" y="966"/>
                  </a:lnTo>
                  <a:lnTo>
                    <a:pt x="1173" y="962"/>
                  </a:lnTo>
                  <a:lnTo>
                    <a:pt x="1173" y="958"/>
                  </a:lnTo>
                  <a:lnTo>
                    <a:pt x="1169" y="954"/>
                  </a:lnTo>
                  <a:lnTo>
                    <a:pt x="1169" y="950"/>
                  </a:lnTo>
                  <a:lnTo>
                    <a:pt x="1165" y="950"/>
                  </a:lnTo>
                  <a:lnTo>
                    <a:pt x="1161" y="950"/>
                  </a:lnTo>
                  <a:lnTo>
                    <a:pt x="1161" y="946"/>
                  </a:lnTo>
                  <a:lnTo>
                    <a:pt x="1157" y="946"/>
                  </a:lnTo>
                  <a:lnTo>
                    <a:pt x="1153" y="946"/>
                  </a:lnTo>
                  <a:lnTo>
                    <a:pt x="1149" y="946"/>
                  </a:lnTo>
                  <a:lnTo>
                    <a:pt x="1149" y="942"/>
                  </a:lnTo>
                  <a:lnTo>
                    <a:pt x="1149" y="946"/>
                  </a:lnTo>
                  <a:lnTo>
                    <a:pt x="1145" y="946"/>
                  </a:lnTo>
                  <a:lnTo>
                    <a:pt x="1141" y="946"/>
                  </a:lnTo>
                  <a:lnTo>
                    <a:pt x="1141" y="950"/>
                  </a:lnTo>
                  <a:lnTo>
                    <a:pt x="1141" y="954"/>
                  </a:lnTo>
                  <a:lnTo>
                    <a:pt x="1141" y="958"/>
                  </a:lnTo>
                  <a:lnTo>
                    <a:pt x="1137" y="958"/>
                  </a:lnTo>
                  <a:lnTo>
                    <a:pt x="1137" y="962"/>
                  </a:lnTo>
                  <a:lnTo>
                    <a:pt x="1133" y="962"/>
                  </a:lnTo>
                  <a:lnTo>
                    <a:pt x="1129" y="958"/>
                  </a:lnTo>
                  <a:lnTo>
                    <a:pt x="1125" y="958"/>
                  </a:lnTo>
                  <a:lnTo>
                    <a:pt x="1125" y="954"/>
                  </a:lnTo>
                  <a:lnTo>
                    <a:pt x="1121" y="954"/>
                  </a:lnTo>
                  <a:lnTo>
                    <a:pt x="1121" y="950"/>
                  </a:lnTo>
                  <a:lnTo>
                    <a:pt x="1117" y="950"/>
                  </a:lnTo>
                  <a:lnTo>
                    <a:pt x="1113" y="946"/>
                  </a:lnTo>
                  <a:lnTo>
                    <a:pt x="1113" y="942"/>
                  </a:lnTo>
                  <a:lnTo>
                    <a:pt x="1113" y="938"/>
                  </a:lnTo>
                  <a:lnTo>
                    <a:pt x="1109" y="934"/>
                  </a:lnTo>
                  <a:lnTo>
                    <a:pt x="1109" y="930"/>
                  </a:lnTo>
                  <a:lnTo>
                    <a:pt x="1105" y="926"/>
                  </a:lnTo>
                  <a:lnTo>
                    <a:pt x="1101" y="926"/>
                  </a:lnTo>
                  <a:lnTo>
                    <a:pt x="1101" y="922"/>
                  </a:lnTo>
                  <a:lnTo>
                    <a:pt x="1097" y="922"/>
                  </a:lnTo>
                  <a:lnTo>
                    <a:pt x="1097" y="918"/>
                  </a:lnTo>
                  <a:lnTo>
                    <a:pt x="1093" y="918"/>
                  </a:lnTo>
                  <a:lnTo>
                    <a:pt x="1093" y="914"/>
                  </a:lnTo>
                  <a:lnTo>
                    <a:pt x="1089" y="914"/>
                  </a:lnTo>
                  <a:lnTo>
                    <a:pt x="1089" y="910"/>
                  </a:lnTo>
                  <a:lnTo>
                    <a:pt x="1085" y="910"/>
                  </a:lnTo>
                  <a:lnTo>
                    <a:pt x="1085" y="906"/>
                  </a:lnTo>
                  <a:lnTo>
                    <a:pt x="1081" y="906"/>
                  </a:lnTo>
                  <a:lnTo>
                    <a:pt x="1077" y="906"/>
                  </a:lnTo>
                  <a:lnTo>
                    <a:pt x="1073" y="906"/>
                  </a:lnTo>
                  <a:lnTo>
                    <a:pt x="1069" y="906"/>
                  </a:lnTo>
                  <a:lnTo>
                    <a:pt x="1065" y="906"/>
                  </a:lnTo>
                  <a:lnTo>
                    <a:pt x="1057" y="906"/>
                  </a:lnTo>
                  <a:lnTo>
                    <a:pt x="1057" y="910"/>
                  </a:lnTo>
                  <a:lnTo>
                    <a:pt x="1057" y="914"/>
                  </a:lnTo>
                  <a:lnTo>
                    <a:pt x="1049" y="914"/>
                  </a:lnTo>
                  <a:lnTo>
                    <a:pt x="1045" y="914"/>
                  </a:lnTo>
                  <a:lnTo>
                    <a:pt x="1037" y="914"/>
                  </a:lnTo>
                  <a:lnTo>
                    <a:pt x="1033" y="914"/>
                  </a:lnTo>
                  <a:lnTo>
                    <a:pt x="1029" y="914"/>
                  </a:lnTo>
                  <a:lnTo>
                    <a:pt x="1025" y="914"/>
                  </a:lnTo>
                  <a:lnTo>
                    <a:pt x="1017" y="914"/>
                  </a:lnTo>
                  <a:lnTo>
                    <a:pt x="1009" y="914"/>
                  </a:lnTo>
                  <a:lnTo>
                    <a:pt x="1002" y="910"/>
                  </a:lnTo>
                  <a:lnTo>
                    <a:pt x="998" y="906"/>
                  </a:lnTo>
                  <a:lnTo>
                    <a:pt x="994" y="906"/>
                  </a:lnTo>
                  <a:lnTo>
                    <a:pt x="990" y="902"/>
                  </a:lnTo>
                  <a:lnTo>
                    <a:pt x="986" y="902"/>
                  </a:lnTo>
                  <a:lnTo>
                    <a:pt x="982" y="902"/>
                  </a:lnTo>
                  <a:lnTo>
                    <a:pt x="978" y="898"/>
                  </a:lnTo>
                  <a:lnTo>
                    <a:pt x="974" y="898"/>
                  </a:lnTo>
                  <a:lnTo>
                    <a:pt x="970" y="898"/>
                  </a:lnTo>
                  <a:lnTo>
                    <a:pt x="966" y="894"/>
                  </a:lnTo>
                  <a:lnTo>
                    <a:pt x="962" y="894"/>
                  </a:lnTo>
                  <a:lnTo>
                    <a:pt x="958" y="890"/>
                  </a:lnTo>
                  <a:lnTo>
                    <a:pt x="962" y="890"/>
                  </a:lnTo>
                  <a:lnTo>
                    <a:pt x="962" y="886"/>
                  </a:lnTo>
                  <a:lnTo>
                    <a:pt x="958" y="886"/>
                  </a:lnTo>
                  <a:lnTo>
                    <a:pt x="954" y="890"/>
                  </a:lnTo>
                  <a:lnTo>
                    <a:pt x="950" y="890"/>
                  </a:lnTo>
                  <a:lnTo>
                    <a:pt x="946" y="890"/>
                  </a:lnTo>
                  <a:lnTo>
                    <a:pt x="942" y="890"/>
                  </a:lnTo>
                  <a:lnTo>
                    <a:pt x="938" y="890"/>
                  </a:lnTo>
                  <a:lnTo>
                    <a:pt x="934" y="890"/>
                  </a:lnTo>
                  <a:lnTo>
                    <a:pt x="930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82"/>
                  </a:lnTo>
                  <a:lnTo>
                    <a:pt x="922" y="878"/>
                  </a:lnTo>
                  <a:lnTo>
                    <a:pt x="918" y="878"/>
                  </a:lnTo>
                  <a:lnTo>
                    <a:pt x="918" y="874"/>
                  </a:lnTo>
                  <a:lnTo>
                    <a:pt x="914" y="874"/>
                  </a:lnTo>
                  <a:lnTo>
                    <a:pt x="914" y="870"/>
                  </a:lnTo>
                  <a:lnTo>
                    <a:pt x="910" y="870"/>
                  </a:lnTo>
                  <a:lnTo>
                    <a:pt x="910" y="866"/>
                  </a:lnTo>
                  <a:lnTo>
                    <a:pt x="906" y="866"/>
                  </a:lnTo>
                  <a:lnTo>
                    <a:pt x="906" y="862"/>
                  </a:lnTo>
                  <a:lnTo>
                    <a:pt x="902" y="862"/>
                  </a:lnTo>
                  <a:lnTo>
                    <a:pt x="898" y="862"/>
                  </a:lnTo>
                  <a:lnTo>
                    <a:pt x="894" y="862"/>
                  </a:lnTo>
                  <a:lnTo>
                    <a:pt x="894" y="858"/>
                  </a:lnTo>
                  <a:lnTo>
                    <a:pt x="890" y="858"/>
                  </a:lnTo>
                  <a:lnTo>
                    <a:pt x="890" y="854"/>
                  </a:lnTo>
                  <a:lnTo>
                    <a:pt x="886" y="854"/>
                  </a:lnTo>
                  <a:lnTo>
                    <a:pt x="882" y="854"/>
                  </a:lnTo>
                  <a:lnTo>
                    <a:pt x="878" y="854"/>
                  </a:lnTo>
                  <a:lnTo>
                    <a:pt x="874" y="854"/>
                  </a:lnTo>
                  <a:lnTo>
                    <a:pt x="874" y="850"/>
                  </a:lnTo>
                  <a:lnTo>
                    <a:pt x="870" y="850"/>
                  </a:lnTo>
                  <a:lnTo>
                    <a:pt x="870" y="846"/>
                  </a:lnTo>
                  <a:lnTo>
                    <a:pt x="870" y="842"/>
                  </a:lnTo>
                  <a:lnTo>
                    <a:pt x="870" y="838"/>
                  </a:lnTo>
                  <a:lnTo>
                    <a:pt x="866" y="838"/>
                  </a:lnTo>
                  <a:lnTo>
                    <a:pt x="866" y="834"/>
                  </a:lnTo>
                  <a:lnTo>
                    <a:pt x="866" y="830"/>
                  </a:lnTo>
                  <a:lnTo>
                    <a:pt x="862" y="830"/>
                  </a:lnTo>
                  <a:lnTo>
                    <a:pt x="862" y="826"/>
                  </a:lnTo>
                  <a:lnTo>
                    <a:pt x="858" y="826"/>
                  </a:lnTo>
                  <a:lnTo>
                    <a:pt x="858" y="822"/>
                  </a:lnTo>
                  <a:lnTo>
                    <a:pt x="854" y="818"/>
                  </a:lnTo>
                  <a:lnTo>
                    <a:pt x="854" y="814"/>
                  </a:lnTo>
                  <a:lnTo>
                    <a:pt x="850" y="814"/>
                  </a:lnTo>
                  <a:lnTo>
                    <a:pt x="850" y="810"/>
                  </a:lnTo>
                  <a:lnTo>
                    <a:pt x="854" y="810"/>
                  </a:lnTo>
                  <a:lnTo>
                    <a:pt x="854" y="806"/>
                  </a:lnTo>
                  <a:lnTo>
                    <a:pt x="854" y="802"/>
                  </a:lnTo>
                  <a:lnTo>
                    <a:pt x="850" y="802"/>
                  </a:lnTo>
                  <a:lnTo>
                    <a:pt x="846" y="802"/>
                  </a:lnTo>
                  <a:lnTo>
                    <a:pt x="846" y="798"/>
                  </a:lnTo>
                  <a:lnTo>
                    <a:pt x="846" y="794"/>
                  </a:lnTo>
                  <a:lnTo>
                    <a:pt x="842" y="790"/>
                  </a:lnTo>
                  <a:lnTo>
                    <a:pt x="842" y="786"/>
                  </a:lnTo>
                  <a:lnTo>
                    <a:pt x="846" y="786"/>
                  </a:lnTo>
                  <a:lnTo>
                    <a:pt x="846" y="790"/>
                  </a:lnTo>
                  <a:lnTo>
                    <a:pt x="850" y="794"/>
                  </a:lnTo>
                  <a:lnTo>
                    <a:pt x="850" y="790"/>
                  </a:lnTo>
                  <a:lnTo>
                    <a:pt x="850" y="786"/>
                  </a:lnTo>
                  <a:lnTo>
                    <a:pt x="846" y="786"/>
                  </a:lnTo>
                  <a:lnTo>
                    <a:pt x="846" y="782"/>
                  </a:lnTo>
                  <a:lnTo>
                    <a:pt x="846" y="778"/>
                  </a:lnTo>
                  <a:lnTo>
                    <a:pt x="846" y="782"/>
                  </a:lnTo>
                  <a:lnTo>
                    <a:pt x="850" y="782"/>
                  </a:lnTo>
                  <a:lnTo>
                    <a:pt x="850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8" y="778"/>
                  </a:lnTo>
                  <a:lnTo>
                    <a:pt x="858" y="782"/>
                  </a:lnTo>
                  <a:lnTo>
                    <a:pt x="858" y="778"/>
                  </a:lnTo>
                  <a:lnTo>
                    <a:pt x="854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0" y="778"/>
                  </a:lnTo>
                  <a:lnTo>
                    <a:pt x="846" y="778"/>
                  </a:lnTo>
                  <a:lnTo>
                    <a:pt x="842" y="778"/>
                  </a:lnTo>
                  <a:lnTo>
                    <a:pt x="842" y="782"/>
                  </a:lnTo>
                  <a:lnTo>
                    <a:pt x="842" y="786"/>
                  </a:lnTo>
                  <a:lnTo>
                    <a:pt x="842" y="782"/>
                  </a:lnTo>
                  <a:lnTo>
                    <a:pt x="838" y="782"/>
                  </a:lnTo>
                  <a:lnTo>
                    <a:pt x="838" y="778"/>
                  </a:lnTo>
                  <a:lnTo>
                    <a:pt x="834" y="778"/>
                  </a:lnTo>
                  <a:lnTo>
                    <a:pt x="838" y="778"/>
                  </a:lnTo>
                  <a:lnTo>
                    <a:pt x="834" y="774"/>
                  </a:lnTo>
                  <a:lnTo>
                    <a:pt x="834" y="770"/>
                  </a:lnTo>
                  <a:lnTo>
                    <a:pt x="830" y="770"/>
                  </a:lnTo>
                  <a:lnTo>
                    <a:pt x="830" y="766"/>
                  </a:lnTo>
                  <a:lnTo>
                    <a:pt x="826" y="766"/>
                  </a:lnTo>
                  <a:lnTo>
                    <a:pt x="826" y="762"/>
                  </a:lnTo>
                  <a:lnTo>
                    <a:pt x="826" y="758"/>
                  </a:lnTo>
                  <a:lnTo>
                    <a:pt x="822" y="754"/>
                  </a:lnTo>
                  <a:lnTo>
                    <a:pt x="822" y="750"/>
                  </a:lnTo>
                  <a:lnTo>
                    <a:pt x="822" y="746"/>
                  </a:lnTo>
                  <a:lnTo>
                    <a:pt x="822" y="742"/>
                  </a:lnTo>
                  <a:lnTo>
                    <a:pt x="818" y="738"/>
                  </a:lnTo>
                  <a:lnTo>
                    <a:pt x="814" y="734"/>
                  </a:lnTo>
                  <a:lnTo>
                    <a:pt x="814" y="730"/>
                  </a:lnTo>
                  <a:lnTo>
                    <a:pt x="814" y="726"/>
                  </a:lnTo>
                  <a:lnTo>
                    <a:pt x="818" y="726"/>
                  </a:lnTo>
                  <a:lnTo>
                    <a:pt x="818" y="722"/>
                  </a:lnTo>
                  <a:lnTo>
                    <a:pt x="818" y="718"/>
                  </a:lnTo>
                  <a:lnTo>
                    <a:pt x="818" y="714"/>
                  </a:lnTo>
                  <a:lnTo>
                    <a:pt x="818" y="710"/>
                  </a:lnTo>
                  <a:lnTo>
                    <a:pt x="818" y="706"/>
                  </a:lnTo>
                  <a:lnTo>
                    <a:pt x="818" y="702"/>
                  </a:lnTo>
                  <a:lnTo>
                    <a:pt x="818" y="698"/>
                  </a:lnTo>
                  <a:lnTo>
                    <a:pt x="814" y="698"/>
                  </a:lnTo>
                  <a:lnTo>
                    <a:pt x="814" y="694"/>
                  </a:lnTo>
                  <a:lnTo>
                    <a:pt x="814" y="690"/>
                  </a:lnTo>
                  <a:lnTo>
                    <a:pt x="814" y="687"/>
                  </a:lnTo>
                  <a:lnTo>
                    <a:pt x="814" y="683"/>
                  </a:lnTo>
                  <a:lnTo>
                    <a:pt x="810" y="683"/>
                  </a:lnTo>
                  <a:lnTo>
                    <a:pt x="810" y="679"/>
                  </a:lnTo>
                  <a:lnTo>
                    <a:pt x="814" y="679"/>
                  </a:lnTo>
                  <a:lnTo>
                    <a:pt x="814" y="675"/>
                  </a:lnTo>
                  <a:lnTo>
                    <a:pt x="814" y="671"/>
                  </a:lnTo>
                  <a:lnTo>
                    <a:pt x="818" y="671"/>
                  </a:lnTo>
                  <a:lnTo>
                    <a:pt x="818" y="667"/>
                  </a:lnTo>
                  <a:lnTo>
                    <a:pt x="814" y="671"/>
                  </a:lnTo>
                  <a:lnTo>
                    <a:pt x="814" y="667"/>
                  </a:lnTo>
                  <a:lnTo>
                    <a:pt x="818" y="667"/>
                  </a:lnTo>
                  <a:lnTo>
                    <a:pt x="818" y="663"/>
                  </a:lnTo>
                  <a:lnTo>
                    <a:pt x="818" y="659"/>
                  </a:lnTo>
                  <a:lnTo>
                    <a:pt x="818" y="655"/>
                  </a:lnTo>
                  <a:lnTo>
                    <a:pt x="818" y="647"/>
                  </a:lnTo>
                  <a:lnTo>
                    <a:pt x="818" y="643"/>
                  </a:lnTo>
                  <a:lnTo>
                    <a:pt x="818" y="639"/>
                  </a:lnTo>
                  <a:lnTo>
                    <a:pt x="818" y="635"/>
                  </a:lnTo>
                  <a:lnTo>
                    <a:pt x="822" y="631"/>
                  </a:lnTo>
                  <a:lnTo>
                    <a:pt x="822" y="627"/>
                  </a:lnTo>
                  <a:lnTo>
                    <a:pt x="822" y="623"/>
                  </a:lnTo>
                  <a:lnTo>
                    <a:pt x="822" y="619"/>
                  </a:lnTo>
                  <a:lnTo>
                    <a:pt x="822" y="615"/>
                  </a:lnTo>
                  <a:lnTo>
                    <a:pt x="822" y="611"/>
                  </a:lnTo>
                  <a:lnTo>
                    <a:pt x="826" y="611"/>
                  </a:lnTo>
                  <a:lnTo>
                    <a:pt x="826" y="607"/>
                  </a:lnTo>
                  <a:lnTo>
                    <a:pt x="830" y="611"/>
                  </a:lnTo>
                  <a:lnTo>
                    <a:pt x="834" y="611"/>
                  </a:lnTo>
                  <a:lnTo>
                    <a:pt x="830" y="611"/>
                  </a:lnTo>
                  <a:lnTo>
                    <a:pt x="830" y="607"/>
                  </a:lnTo>
                  <a:lnTo>
                    <a:pt x="826" y="607"/>
                  </a:lnTo>
                  <a:lnTo>
                    <a:pt x="822" y="607"/>
                  </a:lnTo>
                  <a:lnTo>
                    <a:pt x="818" y="607"/>
                  </a:lnTo>
                  <a:lnTo>
                    <a:pt x="818" y="603"/>
                  </a:lnTo>
                  <a:lnTo>
                    <a:pt x="818" y="599"/>
                  </a:lnTo>
                  <a:lnTo>
                    <a:pt x="818" y="603"/>
                  </a:lnTo>
                  <a:lnTo>
                    <a:pt x="822" y="607"/>
                  </a:lnTo>
                  <a:lnTo>
                    <a:pt x="822" y="603"/>
                  </a:lnTo>
                  <a:lnTo>
                    <a:pt x="822" y="599"/>
                  </a:lnTo>
                  <a:lnTo>
                    <a:pt x="818" y="599"/>
                  </a:lnTo>
                  <a:lnTo>
                    <a:pt x="818" y="595"/>
                  </a:lnTo>
                  <a:lnTo>
                    <a:pt x="822" y="595"/>
                  </a:lnTo>
                  <a:lnTo>
                    <a:pt x="822" y="591"/>
                  </a:lnTo>
                  <a:lnTo>
                    <a:pt x="818" y="591"/>
                  </a:lnTo>
                  <a:lnTo>
                    <a:pt x="818" y="595"/>
                  </a:lnTo>
                  <a:lnTo>
                    <a:pt x="818" y="591"/>
                  </a:lnTo>
                  <a:lnTo>
                    <a:pt x="818" y="587"/>
                  </a:lnTo>
                  <a:lnTo>
                    <a:pt x="814" y="583"/>
                  </a:lnTo>
                  <a:lnTo>
                    <a:pt x="814" y="579"/>
                  </a:lnTo>
                  <a:lnTo>
                    <a:pt x="814" y="575"/>
                  </a:lnTo>
                  <a:lnTo>
                    <a:pt x="810" y="571"/>
                  </a:lnTo>
                  <a:lnTo>
                    <a:pt x="810" y="567"/>
                  </a:lnTo>
                  <a:lnTo>
                    <a:pt x="810" y="563"/>
                  </a:lnTo>
                  <a:lnTo>
                    <a:pt x="814" y="563"/>
                  </a:lnTo>
                  <a:lnTo>
                    <a:pt x="818" y="563"/>
                  </a:lnTo>
                  <a:lnTo>
                    <a:pt x="818" y="567"/>
                  </a:lnTo>
                  <a:lnTo>
                    <a:pt x="822" y="567"/>
                  </a:lnTo>
                  <a:lnTo>
                    <a:pt x="826" y="567"/>
                  </a:lnTo>
                  <a:lnTo>
                    <a:pt x="830" y="567"/>
                  </a:lnTo>
                  <a:lnTo>
                    <a:pt x="834" y="567"/>
                  </a:lnTo>
                  <a:lnTo>
                    <a:pt x="838" y="567"/>
                  </a:lnTo>
                  <a:lnTo>
                    <a:pt x="838" y="571"/>
                  </a:lnTo>
                  <a:lnTo>
                    <a:pt x="842" y="571"/>
                  </a:lnTo>
                  <a:lnTo>
                    <a:pt x="838" y="575"/>
                  </a:lnTo>
                  <a:lnTo>
                    <a:pt x="838" y="579"/>
                  </a:lnTo>
                  <a:lnTo>
                    <a:pt x="834" y="579"/>
                  </a:lnTo>
                  <a:lnTo>
                    <a:pt x="834" y="583"/>
                  </a:lnTo>
                  <a:lnTo>
                    <a:pt x="838" y="583"/>
                  </a:lnTo>
                  <a:lnTo>
                    <a:pt x="834" y="583"/>
                  </a:lnTo>
                  <a:lnTo>
                    <a:pt x="834" y="579"/>
                  </a:lnTo>
                  <a:lnTo>
                    <a:pt x="838" y="579"/>
                  </a:lnTo>
                  <a:lnTo>
                    <a:pt x="838" y="575"/>
                  </a:lnTo>
                  <a:lnTo>
                    <a:pt x="842" y="571"/>
                  </a:lnTo>
                  <a:lnTo>
                    <a:pt x="842" y="575"/>
                  </a:lnTo>
                  <a:lnTo>
                    <a:pt x="842" y="579"/>
                  </a:lnTo>
                  <a:lnTo>
                    <a:pt x="838" y="579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2" y="587"/>
                  </a:lnTo>
                  <a:lnTo>
                    <a:pt x="838" y="587"/>
                  </a:lnTo>
                  <a:lnTo>
                    <a:pt x="842" y="583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4" y="587"/>
                  </a:lnTo>
                  <a:lnTo>
                    <a:pt x="834" y="591"/>
                  </a:lnTo>
                  <a:lnTo>
                    <a:pt x="838" y="591"/>
                  </a:lnTo>
                  <a:lnTo>
                    <a:pt x="838" y="587"/>
                  </a:lnTo>
                  <a:lnTo>
                    <a:pt x="838" y="591"/>
                  </a:lnTo>
                  <a:lnTo>
                    <a:pt x="842" y="587"/>
                  </a:lnTo>
                  <a:lnTo>
                    <a:pt x="846" y="583"/>
                  </a:lnTo>
                  <a:lnTo>
                    <a:pt x="846" y="579"/>
                  </a:lnTo>
                  <a:lnTo>
                    <a:pt x="842" y="579"/>
                  </a:lnTo>
                  <a:lnTo>
                    <a:pt x="846" y="575"/>
                  </a:lnTo>
                  <a:lnTo>
                    <a:pt x="846" y="571"/>
                  </a:lnTo>
                  <a:lnTo>
                    <a:pt x="846" y="567"/>
                  </a:lnTo>
                  <a:lnTo>
                    <a:pt x="842" y="567"/>
                  </a:lnTo>
                  <a:lnTo>
                    <a:pt x="842" y="563"/>
                  </a:lnTo>
                  <a:lnTo>
                    <a:pt x="846" y="563"/>
                  </a:lnTo>
                  <a:lnTo>
                    <a:pt x="842" y="559"/>
                  </a:lnTo>
                  <a:lnTo>
                    <a:pt x="842" y="563"/>
                  </a:lnTo>
                  <a:lnTo>
                    <a:pt x="838" y="559"/>
                  </a:lnTo>
                  <a:lnTo>
                    <a:pt x="842" y="559"/>
                  </a:lnTo>
                  <a:lnTo>
                    <a:pt x="842" y="555"/>
                  </a:lnTo>
                  <a:lnTo>
                    <a:pt x="838" y="551"/>
                  </a:lnTo>
                  <a:lnTo>
                    <a:pt x="838" y="547"/>
                  </a:lnTo>
                  <a:lnTo>
                    <a:pt x="842" y="547"/>
                  </a:lnTo>
                  <a:lnTo>
                    <a:pt x="846" y="547"/>
                  </a:lnTo>
                  <a:lnTo>
                    <a:pt x="850" y="547"/>
                  </a:lnTo>
                  <a:lnTo>
                    <a:pt x="866" y="547"/>
                  </a:lnTo>
                  <a:lnTo>
                    <a:pt x="874" y="547"/>
                  </a:lnTo>
                  <a:lnTo>
                    <a:pt x="878" y="547"/>
                  </a:lnTo>
                  <a:lnTo>
                    <a:pt x="882" y="547"/>
                  </a:lnTo>
                  <a:lnTo>
                    <a:pt x="890" y="547"/>
                  </a:lnTo>
                  <a:lnTo>
                    <a:pt x="894" y="547"/>
                  </a:lnTo>
                  <a:lnTo>
                    <a:pt x="898" y="547"/>
                  </a:lnTo>
                  <a:lnTo>
                    <a:pt x="906" y="547"/>
                  </a:lnTo>
                  <a:lnTo>
                    <a:pt x="910" y="547"/>
                  </a:lnTo>
                  <a:lnTo>
                    <a:pt x="914" y="547"/>
                  </a:lnTo>
                  <a:lnTo>
                    <a:pt x="918" y="547"/>
                  </a:lnTo>
                  <a:lnTo>
                    <a:pt x="922" y="547"/>
                  </a:lnTo>
                  <a:lnTo>
                    <a:pt x="926" y="547"/>
                  </a:lnTo>
                  <a:lnTo>
                    <a:pt x="942" y="547"/>
                  </a:lnTo>
                  <a:lnTo>
                    <a:pt x="946" y="547"/>
                  </a:lnTo>
                  <a:lnTo>
                    <a:pt x="950" y="547"/>
                  </a:lnTo>
                  <a:lnTo>
                    <a:pt x="954" y="547"/>
                  </a:lnTo>
                  <a:lnTo>
                    <a:pt x="958" y="547"/>
                  </a:lnTo>
                  <a:lnTo>
                    <a:pt x="962" y="547"/>
                  </a:lnTo>
                  <a:lnTo>
                    <a:pt x="966" y="547"/>
                  </a:lnTo>
                  <a:lnTo>
                    <a:pt x="970" y="547"/>
                  </a:lnTo>
                  <a:lnTo>
                    <a:pt x="978" y="547"/>
                  </a:lnTo>
                  <a:lnTo>
                    <a:pt x="982" y="547"/>
                  </a:lnTo>
                  <a:lnTo>
                    <a:pt x="986" y="547"/>
                  </a:lnTo>
                  <a:lnTo>
                    <a:pt x="994" y="547"/>
                  </a:lnTo>
                  <a:lnTo>
                    <a:pt x="998" y="547"/>
                  </a:lnTo>
                  <a:lnTo>
                    <a:pt x="1002" y="547"/>
                  </a:lnTo>
                  <a:lnTo>
                    <a:pt x="1005" y="547"/>
                  </a:lnTo>
                  <a:lnTo>
                    <a:pt x="1009" y="547"/>
                  </a:lnTo>
                  <a:lnTo>
                    <a:pt x="1021" y="547"/>
                  </a:lnTo>
                  <a:lnTo>
                    <a:pt x="1025" y="547"/>
                  </a:lnTo>
                  <a:lnTo>
                    <a:pt x="1029" y="547"/>
                  </a:lnTo>
                  <a:lnTo>
                    <a:pt x="1033" y="547"/>
                  </a:lnTo>
                  <a:lnTo>
                    <a:pt x="1037" y="547"/>
                  </a:lnTo>
                  <a:lnTo>
                    <a:pt x="1041" y="547"/>
                  </a:lnTo>
                  <a:lnTo>
                    <a:pt x="1049" y="547"/>
                  </a:lnTo>
                  <a:lnTo>
                    <a:pt x="1053" y="547"/>
                  </a:lnTo>
                  <a:lnTo>
                    <a:pt x="1057" y="547"/>
                  </a:lnTo>
                  <a:lnTo>
                    <a:pt x="1061" y="547"/>
                  </a:lnTo>
                  <a:lnTo>
                    <a:pt x="1065" y="547"/>
                  </a:lnTo>
                  <a:lnTo>
                    <a:pt x="1069" y="547"/>
                  </a:lnTo>
                  <a:lnTo>
                    <a:pt x="1073" y="547"/>
                  </a:lnTo>
                  <a:lnTo>
                    <a:pt x="1081" y="547"/>
                  </a:lnTo>
                  <a:lnTo>
                    <a:pt x="1085" y="547"/>
                  </a:lnTo>
                  <a:lnTo>
                    <a:pt x="1089" y="547"/>
                  </a:lnTo>
                  <a:lnTo>
                    <a:pt x="1093" y="547"/>
                  </a:lnTo>
                  <a:lnTo>
                    <a:pt x="1097" y="547"/>
                  </a:lnTo>
                  <a:lnTo>
                    <a:pt x="1105" y="547"/>
                  </a:lnTo>
                  <a:lnTo>
                    <a:pt x="1109" y="547"/>
                  </a:lnTo>
                  <a:lnTo>
                    <a:pt x="1117" y="547"/>
                  </a:lnTo>
                  <a:lnTo>
                    <a:pt x="1121" y="547"/>
                  </a:lnTo>
                  <a:lnTo>
                    <a:pt x="1125" y="547"/>
                  </a:lnTo>
                  <a:lnTo>
                    <a:pt x="1129" y="547"/>
                  </a:lnTo>
                  <a:lnTo>
                    <a:pt x="1133" y="547"/>
                  </a:lnTo>
                  <a:lnTo>
                    <a:pt x="1137" y="547"/>
                  </a:lnTo>
                  <a:lnTo>
                    <a:pt x="1141" y="547"/>
                  </a:lnTo>
                  <a:lnTo>
                    <a:pt x="1145" y="547"/>
                  </a:lnTo>
                  <a:lnTo>
                    <a:pt x="1149" y="547"/>
                  </a:lnTo>
                  <a:lnTo>
                    <a:pt x="1161" y="547"/>
                  </a:lnTo>
                  <a:lnTo>
                    <a:pt x="1165" y="547"/>
                  </a:lnTo>
                  <a:lnTo>
                    <a:pt x="1177" y="547"/>
                  </a:lnTo>
                  <a:lnTo>
                    <a:pt x="1185" y="547"/>
                  </a:lnTo>
                  <a:lnTo>
                    <a:pt x="1193" y="547"/>
                  </a:lnTo>
                  <a:lnTo>
                    <a:pt x="1201" y="547"/>
                  </a:lnTo>
                  <a:lnTo>
                    <a:pt x="1205" y="547"/>
                  </a:lnTo>
                  <a:lnTo>
                    <a:pt x="1209" y="547"/>
                  </a:lnTo>
                  <a:lnTo>
                    <a:pt x="1213" y="547"/>
                  </a:lnTo>
                  <a:lnTo>
                    <a:pt x="1217" y="547"/>
                  </a:lnTo>
                  <a:lnTo>
                    <a:pt x="1221" y="547"/>
                  </a:lnTo>
                  <a:lnTo>
                    <a:pt x="1225" y="547"/>
                  </a:lnTo>
                  <a:lnTo>
                    <a:pt x="1253" y="547"/>
                  </a:lnTo>
                  <a:lnTo>
                    <a:pt x="1257" y="547"/>
                  </a:lnTo>
                  <a:lnTo>
                    <a:pt x="1257" y="543"/>
                  </a:lnTo>
                  <a:lnTo>
                    <a:pt x="1257" y="539"/>
                  </a:lnTo>
                  <a:lnTo>
                    <a:pt x="1261" y="539"/>
                  </a:lnTo>
                  <a:lnTo>
                    <a:pt x="1261" y="543"/>
                  </a:lnTo>
                  <a:lnTo>
                    <a:pt x="1261" y="547"/>
                  </a:lnTo>
                  <a:lnTo>
                    <a:pt x="1265" y="547"/>
                  </a:lnTo>
                  <a:lnTo>
                    <a:pt x="1265" y="551"/>
                  </a:lnTo>
                  <a:lnTo>
                    <a:pt x="1265" y="555"/>
                  </a:lnTo>
                  <a:lnTo>
                    <a:pt x="1269" y="555"/>
                  </a:lnTo>
                  <a:lnTo>
                    <a:pt x="1273" y="555"/>
                  </a:lnTo>
                  <a:lnTo>
                    <a:pt x="1277" y="555"/>
                  </a:lnTo>
                  <a:lnTo>
                    <a:pt x="1277" y="559"/>
                  </a:lnTo>
                  <a:lnTo>
                    <a:pt x="1281" y="559"/>
                  </a:lnTo>
                  <a:lnTo>
                    <a:pt x="1285" y="555"/>
                  </a:lnTo>
                  <a:lnTo>
                    <a:pt x="1289" y="555"/>
                  </a:lnTo>
                  <a:lnTo>
                    <a:pt x="1293" y="559"/>
                  </a:lnTo>
                  <a:lnTo>
                    <a:pt x="1297" y="559"/>
                  </a:lnTo>
                  <a:lnTo>
                    <a:pt x="1297" y="563"/>
                  </a:lnTo>
                  <a:lnTo>
                    <a:pt x="1301" y="567"/>
                  </a:lnTo>
                  <a:lnTo>
                    <a:pt x="1301" y="563"/>
                  </a:lnTo>
                  <a:lnTo>
                    <a:pt x="1305" y="563"/>
                  </a:lnTo>
                  <a:lnTo>
                    <a:pt x="1305" y="567"/>
                  </a:lnTo>
                  <a:lnTo>
                    <a:pt x="1309" y="567"/>
                  </a:lnTo>
                  <a:lnTo>
                    <a:pt x="1313" y="567"/>
                  </a:lnTo>
                  <a:lnTo>
                    <a:pt x="1313" y="571"/>
                  </a:lnTo>
                  <a:lnTo>
                    <a:pt x="1313" y="567"/>
                  </a:lnTo>
                  <a:lnTo>
                    <a:pt x="1317" y="567"/>
                  </a:lnTo>
                  <a:lnTo>
                    <a:pt x="1321" y="567"/>
                  </a:lnTo>
                  <a:lnTo>
                    <a:pt x="1321" y="563"/>
                  </a:lnTo>
                  <a:lnTo>
                    <a:pt x="1321" y="567"/>
                  </a:lnTo>
                  <a:lnTo>
                    <a:pt x="1325" y="567"/>
                  </a:lnTo>
                  <a:lnTo>
                    <a:pt x="1329" y="567"/>
                  </a:lnTo>
                  <a:lnTo>
                    <a:pt x="1333" y="567"/>
                  </a:lnTo>
                  <a:lnTo>
                    <a:pt x="1333" y="571"/>
                  </a:lnTo>
                  <a:lnTo>
                    <a:pt x="1337" y="571"/>
                  </a:lnTo>
                  <a:lnTo>
                    <a:pt x="1341" y="571"/>
                  </a:lnTo>
                  <a:lnTo>
                    <a:pt x="1345" y="571"/>
                  </a:lnTo>
                  <a:lnTo>
                    <a:pt x="1349" y="567"/>
                  </a:lnTo>
                  <a:lnTo>
                    <a:pt x="1353" y="563"/>
                  </a:lnTo>
                  <a:lnTo>
                    <a:pt x="1357" y="563"/>
                  </a:lnTo>
                  <a:lnTo>
                    <a:pt x="1360" y="563"/>
                  </a:lnTo>
                  <a:lnTo>
                    <a:pt x="1372" y="571"/>
                  </a:lnTo>
                  <a:lnTo>
                    <a:pt x="1376" y="571"/>
                  </a:lnTo>
                  <a:lnTo>
                    <a:pt x="1376" y="575"/>
                  </a:lnTo>
                  <a:lnTo>
                    <a:pt x="1380" y="575"/>
                  </a:lnTo>
                  <a:lnTo>
                    <a:pt x="1384" y="579"/>
                  </a:lnTo>
                  <a:lnTo>
                    <a:pt x="1388" y="579"/>
                  </a:lnTo>
                  <a:lnTo>
                    <a:pt x="1392" y="583"/>
                  </a:lnTo>
                  <a:lnTo>
                    <a:pt x="1396" y="583"/>
                  </a:lnTo>
                  <a:lnTo>
                    <a:pt x="1396" y="587"/>
                  </a:lnTo>
                  <a:lnTo>
                    <a:pt x="1400" y="587"/>
                  </a:lnTo>
                  <a:lnTo>
                    <a:pt x="1404" y="587"/>
                  </a:lnTo>
                  <a:lnTo>
                    <a:pt x="1404" y="591"/>
                  </a:lnTo>
                  <a:lnTo>
                    <a:pt x="1412" y="595"/>
                  </a:lnTo>
                  <a:lnTo>
                    <a:pt x="1412" y="599"/>
                  </a:lnTo>
                  <a:lnTo>
                    <a:pt x="1416" y="603"/>
                  </a:lnTo>
                  <a:lnTo>
                    <a:pt x="1420" y="603"/>
                  </a:lnTo>
                  <a:lnTo>
                    <a:pt x="1424" y="603"/>
                  </a:lnTo>
                  <a:lnTo>
                    <a:pt x="1424" y="607"/>
                  </a:lnTo>
                  <a:lnTo>
                    <a:pt x="1424" y="611"/>
                  </a:lnTo>
                  <a:lnTo>
                    <a:pt x="1428" y="611"/>
                  </a:lnTo>
                  <a:lnTo>
                    <a:pt x="1432" y="611"/>
                  </a:lnTo>
                  <a:lnTo>
                    <a:pt x="1432" y="615"/>
                  </a:lnTo>
                  <a:lnTo>
                    <a:pt x="1432" y="619"/>
                  </a:lnTo>
                  <a:lnTo>
                    <a:pt x="1436" y="619"/>
                  </a:lnTo>
                  <a:lnTo>
                    <a:pt x="1440" y="623"/>
                  </a:lnTo>
                  <a:lnTo>
                    <a:pt x="1444" y="627"/>
                  </a:lnTo>
                  <a:lnTo>
                    <a:pt x="1448" y="627"/>
                  </a:lnTo>
                  <a:lnTo>
                    <a:pt x="1448" y="639"/>
                  </a:lnTo>
                  <a:lnTo>
                    <a:pt x="1452" y="647"/>
                  </a:lnTo>
                  <a:lnTo>
                    <a:pt x="1452" y="659"/>
                  </a:lnTo>
                  <a:lnTo>
                    <a:pt x="1452" y="667"/>
                  </a:lnTo>
                  <a:lnTo>
                    <a:pt x="1452" y="671"/>
                  </a:lnTo>
                  <a:lnTo>
                    <a:pt x="1452" y="675"/>
                  </a:lnTo>
                  <a:lnTo>
                    <a:pt x="1448" y="675"/>
                  </a:lnTo>
                  <a:lnTo>
                    <a:pt x="1448" y="679"/>
                  </a:lnTo>
                  <a:lnTo>
                    <a:pt x="1448" y="683"/>
                  </a:lnTo>
                  <a:lnTo>
                    <a:pt x="1448" y="687"/>
                  </a:lnTo>
                  <a:lnTo>
                    <a:pt x="1444" y="687"/>
                  </a:lnTo>
                  <a:lnTo>
                    <a:pt x="1444" y="690"/>
                  </a:lnTo>
                  <a:lnTo>
                    <a:pt x="1440" y="690"/>
                  </a:lnTo>
                  <a:lnTo>
                    <a:pt x="1440" y="694"/>
                  </a:lnTo>
                  <a:lnTo>
                    <a:pt x="1436" y="698"/>
                  </a:lnTo>
                  <a:lnTo>
                    <a:pt x="1440" y="698"/>
                  </a:lnTo>
                  <a:lnTo>
                    <a:pt x="1440" y="702"/>
                  </a:lnTo>
                  <a:lnTo>
                    <a:pt x="1444" y="706"/>
                  </a:lnTo>
                  <a:lnTo>
                    <a:pt x="1448" y="706"/>
                  </a:lnTo>
                  <a:lnTo>
                    <a:pt x="1452" y="702"/>
                  </a:lnTo>
                  <a:lnTo>
                    <a:pt x="1456" y="698"/>
                  </a:lnTo>
                  <a:lnTo>
                    <a:pt x="1460" y="698"/>
                  </a:lnTo>
                  <a:lnTo>
                    <a:pt x="1464" y="694"/>
                  </a:lnTo>
                  <a:lnTo>
                    <a:pt x="1468" y="694"/>
                  </a:lnTo>
                  <a:lnTo>
                    <a:pt x="1472" y="694"/>
                  </a:lnTo>
                  <a:lnTo>
                    <a:pt x="1476" y="690"/>
                  </a:lnTo>
                  <a:lnTo>
                    <a:pt x="1484" y="690"/>
                  </a:lnTo>
                  <a:lnTo>
                    <a:pt x="1488" y="687"/>
                  </a:lnTo>
                  <a:lnTo>
                    <a:pt x="1492" y="687"/>
                  </a:lnTo>
                  <a:lnTo>
                    <a:pt x="1496" y="683"/>
                  </a:lnTo>
                  <a:lnTo>
                    <a:pt x="1500" y="683"/>
                  </a:lnTo>
                  <a:lnTo>
                    <a:pt x="1500" y="679"/>
                  </a:lnTo>
                  <a:lnTo>
                    <a:pt x="1504" y="679"/>
                  </a:lnTo>
                  <a:lnTo>
                    <a:pt x="1500" y="679"/>
                  </a:lnTo>
                  <a:lnTo>
                    <a:pt x="1500" y="675"/>
                  </a:lnTo>
                  <a:lnTo>
                    <a:pt x="1500" y="671"/>
                  </a:lnTo>
                  <a:lnTo>
                    <a:pt x="1500" y="667"/>
                  </a:lnTo>
                  <a:lnTo>
                    <a:pt x="1504" y="663"/>
                  </a:lnTo>
                  <a:lnTo>
                    <a:pt x="1512" y="663"/>
                  </a:lnTo>
                  <a:lnTo>
                    <a:pt x="1516" y="663"/>
                  </a:lnTo>
                  <a:lnTo>
                    <a:pt x="1520" y="663"/>
                  </a:lnTo>
                  <a:lnTo>
                    <a:pt x="1524" y="663"/>
                  </a:lnTo>
                  <a:lnTo>
                    <a:pt x="1528" y="663"/>
                  </a:lnTo>
                  <a:lnTo>
                    <a:pt x="1532" y="663"/>
                  </a:lnTo>
                  <a:lnTo>
                    <a:pt x="1536" y="663"/>
                  </a:lnTo>
                  <a:lnTo>
                    <a:pt x="1536" y="659"/>
                  </a:lnTo>
                  <a:lnTo>
                    <a:pt x="1540" y="659"/>
                  </a:lnTo>
                  <a:lnTo>
                    <a:pt x="1540" y="655"/>
                  </a:lnTo>
                  <a:lnTo>
                    <a:pt x="1544" y="651"/>
                  </a:lnTo>
                  <a:lnTo>
                    <a:pt x="1548" y="651"/>
                  </a:lnTo>
                  <a:lnTo>
                    <a:pt x="1548" y="647"/>
                  </a:lnTo>
                  <a:lnTo>
                    <a:pt x="1552" y="647"/>
                  </a:lnTo>
                  <a:lnTo>
                    <a:pt x="1552" y="643"/>
                  </a:lnTo>
                  <a:lnTo>
                    <a:pt x="1556" y="639"/>
                  </a:lnTo>
                  <a:lnTo>
                    <a:pt x="1560" y="639"/>
                  </a:lnTo>
                  <a:lnTo>
                    <a:pt x="1560" y="635"/>
                  </a:lnTo>
                  <a:lnTo>
                    <a:pt x="1564" y="635"/>
                  </a:lnTo>
                  <a:lnTo>
                    <a:pt x="1568" y="635"/>
                  </a:lnTo>
                  <a:lnTo>
                    <a:pt x="1572" y="635"/>
                  </a:lnTo>
                  <a:lnTo>
                    <a:pt x="1580" y="635"/>
                  </a:lnTo>
                  <a:lnTo>
                    <a:pt x="1584" y="635"/>
                  </a:lnTo>
                  <a:lnTo>
                    <a:pt x="1588" y="635"/>
                  </a:lnTo>
                  <a:lnTo>
                    <a:pt x="1592" y="635"/>
                  </a:lnTo>
                  <a:lnTo>
                    <a:pt x="1596" y="635"/>
                  </a:lnTo>
                  <a:lnTo>
                    <a:pt x="1600" y="635"/>
                  </a:lnTo>
                  <a:lnTo>
                    <a:pt x="1604" y="635"/>
                  </a:lnTo>
                  <a:lnTo>
                    <a:pt x="1608" y="635"/>
                  </a:lnTo>
                  <a:lnTo>
                    <a:pt x="1612" y="635"/>
                  </a:lnTo>
                  <a:lnTo>
                    <a:pt x="1616" y="635"/>
                  </a:lnTo>
                  <a:lnTo>
                    <a:pt x="1616" y="631"/>
                  </a:lnTo>
                  <a:lnTo>
                    <a:pt x="1616" y="627"/>
                  </a:lnTo>
                  <a:lnTo>
                    <a:pt x="1620" y="627"/>
                  </a:lnTo>
                  <a:lnTo>
                    <a:pt x="1620" y="631"/>
                  </a:lnTo>
                  <a:lnTo>
                    <a:pt x="1620" y="627"/>
                  </a:lnTo>
                  <a:lnTo>
                    <a:pt x="1624" y="631"/>
                  </a:lnTo>
                  <a:lnTo>
                    <a:pt x="1628" y="627"/>
                  </a:lnTo>
                  <a:lnTo>
                    <a:pt x="1628" y="623"/>
                  </a:lnTo>
                  <a:lnTo>
                    <a:pt x="1628" y="619"/>
                  </a:lnTo>
                  <a:lnTo>
                    <a:pt x="1632" y="619"/>
                  </a:lnTo>
                  <a:lnTo>
                    <a:pt x="1632" y="615"/>
                  </a:lnTo>
                  <a:lnTo>
                    <a:pt x="1632" y="611"/>
                  </a:lnTo>
                  <a:lnTo>
                    <a:pt x="1632" y="607"/>
                  </a:lnTo>
                  <a:lnTo>
                    <a:pt x="1636" y="607"/>
                  </a:lnTo>
                  <a:lnTo>
                    <a:pt x="1636" y="603"/>
                  </a:lnTo>
                  <a:lnTo>
                    <a:pt x="1636" y="599"/>
                  </a:lnTo>
                  <a:lnTo>
                    <a:pt x="1640" y="595"/>
                  </a:lnTo>
                  <a:lnTo>
                    <a:pt x="1640" y="591"/>
                  </a:lnTo>
                  <a:lnTo>
                    <a:pt x="1644" y="591"/>
                  </a:lnTo>
                  <a:lnTo>
                    <a:pt x="1648" y="587"/>
                  </a:lnTo>
                  <a:lnTo>
                    <a:pt x="1648" y="583"/>
                  </a:lnTo>
                  <a:lnTo>
                    <a:pt x="1652" y="583"/>
                  </a:lnTo>
                  <a:lnTo>
                    <a:pt x="1652" y="587"/>
                  </a:lnTo>
                  <a:lnTo>
                    <a:pt x="1656" y="587"/>
                  </a:lnTo>
                  <a:lnTo>
                    <a:pt x="1660" y="587"/>
                  </a:lnTo>
                  <a:lnTo>
                    <a:pt x="1664" y="583"/>
                  </a:lnTo>
                  <a:lnTo>
                    <a:pt x="1668" y="587"/>
                  </a:lnTo>
                  <a:lnTo>
                    <a:pt x="1668" y="591"/>
                  </a:lnTo>
                  <a:lnTo>
                    <a:pt x="1672" y="591"/>
                  </a:lnTo>
                  <a:lnTo>
                    <a:pt x="1672" y="595"/>
                  </a:lnTo>
                  <a:lnTo>
                    <a:pt x="1672" y="607"/>
                  </a:lnTo>
                  <a:lnTo>
                    <a:pt x="1672" y="615"/>
                  </a:lnTo>
                  <a:lnTo>
                    <a:pt x="1672" y="619"/>
                  </a:lnTo>
                  <a:lnTo>
                    <a:pt x="1672" y="623"/>
                  </a:lnTo>
                  <a:lnTo>
                    <a:pt x="1676" y="623"/>
                  </a:lnTo>
                  <a:lnTo>
                    <a:pt x="1676" y="627"/>
                  </a:lnTo>
                  <a:lnTo>
                    <a:pt x="1676" y="631"/>
                  </a:lnTo>
                  <a:lnTo>
                    <a:pt x="1680" y="631"/>
                  </a:lnTo>
                  <a:lnTo>
                    <a:pt x="1680" y="635"/>
                  </a:lnTo>
                  <a:lnTo>
                    <a:pt x="1684" y="635"/>
                  </a:lnTo>
                  <a:lnTo>
                    <a:pt x="1680" y="635"/>
                  </a:lnTo>
                  <a:lnTo>
                    <a:pt x="1680" y="639"/>
                  </a:lnTo>
                  <a:lnTo>
                    <a:pt x="1684" y="639"/>
                  </a:lnTo>
                  <a:lnTo>
                    <a:pt x="1680" y="643"/>
                  </a:lnTo>
                  <a:lnTo>
                    <a:pt x="1676" y="643"/>
                  </a:lnTo>
                  <a:lnTo>
                    <a:pt x="1672" y="647"/>
                  </a:lnTo>
                  <a:lnTo>
                    <a:pt x="1672" y="643"/>
                  </a:lnTo>
                  <a:lnTo>
                    <a:pt x="1668" y="647"/>
                  </a:lnTo>
                  <a:lnTo>
                    <a:pt x="1668" y="651"/>
                  </a:lnTo>
                  <a:lnTo>
                    <a:pt x="1668" y="647"/>
                  </a:lnTo>
                  <a:lnTo>
                    <a:pt x="1664" y="647"/>
                  </a:lnTo>
                  <a:lnTo>
                    <a:pt x="1660" y="647"/>
                  </a:lnTo>
                  <a:lnTo>
                    <a:pt x="1660" y="651"/>
                  </a:lnTo>
                  <a:lnTo>
                    <a:pt x="1656" y="651"/>
                  </a:lnTo>
                  <a:lnTo>
                    <a:pt x="1656" y="647"/>
                  </a:lnTo>
                  <a:lnTo>
                    <a:pt x="1656" y="643"/>
                  </a:lnTo>
                  <a:lnTo>
                    <a:pt x="1656" y="647"/>
                  </a:lnTo>
                  <a:lnTo>
                    <a:pt x="1652" y="647"/>
                  </a:lnTo>
                  <a:lnTo>
                    <a:pt x="1652" y="651"/>
                  </a:lnTo>
                  <a:lnTo>
                    <a:pt x="1652" y="655"/>
                  </a:lnTo>
                  <a:lnTo>
                    <a:pt x="1648" y="659"/>
                  </a:lnTo>
                  <a:lnTo>
                    <a:pt x="1648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0" y="659"/>
                  </a:lnTo>
                  <a:lnTo>
                    <a:pt x="1644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40" y="655"/>
                  </a:lnTo>
                  <a:lnTo>
                    <a:pt x="1640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36" y="659"/>
                  </a:lnTo>
                  <a:lnTo>
                    <a:pt x="1636" y="663"/>
                  </a:lnTo>
                  <a:lnTo>
                    <a:pt x="1632" y="663"/>
                  </a:lnTo>
                  <a:lnTo>
                    <a:pt x="1636" y="663"/>
                  </a:lnTo>
                  <a:lnTo>
                    <a:pt x="1636" y="667"/>
                  </a:lnTo>
                  <a:lnTo>
                    <a:pt x="1632" y="667"/>
                  </a:lnTo>
                  <a:lnTo>
                    <a:pt x="1632" y="671"/>
                  </a:lnTo>
                  <a:lnTo>
                    <a:pt x="1628" y="671"/>
                  </a:lnTo>
                  <a:lnTo>
                    <a:pt x="1628" y="675"/>
                  </a:lnTo>
                  <a:lnTo>
                    <a:pt x="1628" y="679"/>
                  </a:lnTo>
                  <a:lnTo>
                    <a:pt x="1624" y="679"/>
                  </a:lnTo>
                  <a:lnTo>
                    <a:pt x="1624" y="683"/>
                  </a:lnTo>
                  <a:lnTo>
                    <a:pt x="1628" y="687"/>
                  </a:lnTo>
                  <a:lnTo>
                    <a:pt x="1628" y="683"/>
                  </a:lnTo>
                  <a:lnTo>
                    <a:pt x="1628" y="687"/>
                  </a:lnTo>
                  <a:lnTo>
                    <a:pt x="1624" y="687"/>
                  </a:lnTo>
                  <a:lnTo>
                    <a:pt x="1620" y="690"/>
                  </a:lnTo>
                  <a:lnTo>
                    <a:pt x="1624" y="694"/>
                  </a:lnTo>
                  <a:lnTo>
                    <a:pt x="1628" y="694"/>
                  </a:lnTo>
                  <a:lnTo>
                    <a:pt x="1628" y="698"/>
                  </a:lnTo>
                  <a:lnTo>
                    <a:pt x="1628" y="702"/>
                  </a:lnTo>
                  <a:lnTo>
                    <a:pt x="1632" y="702"/>
                  </a:lnTo>
                  <a:lnTo>
                    <a:pt x="1632" y="706"/>
                  </a:lnTo>
                  <a:lnTo>
                    <a:pt x="1636" y="702"/>
                  </a:lnTo>
                  <a:lnTo>
                    <a:pt x="1636" y="698"/>
                  </a:lnTo>
                  <a:lnTo>
                    <a:pt x="1632" y="698"/>
                  </a:lnTo>
                  <a:lnTo>
                    <a:pt x="1636" y="698"/>
                  </a:lnTo>
                  <a:lnTo>
                    <a:pt x="1640" y="698"/>
                  </a:lnTo>
                  <a:lnTo>
                    <a:pt x="1640" y="702"/>
                  </a:lnTo>
                  <a:lnTo>
                    <a:pt x="1640" y="706"/>
                  </a:lnTo>
                  <a:lnTo>
                    <a:pt x="1636" y="706"/>
                  </a:lnTo>
                  <a:lnTo>
                    <a:pt x="1632" y="706"/>
                  </a:lnTo>
                  <a:lnTo>
                    <a:pt x="1628" y="706"/>
                  </a:lnTo>
                  <a:lnTo>
                    <a:pt x="1628" y="702"/>
                  </a:lnTo>
                  <a:lnTo>
                    <a:pt x="1624" y="706"/>
                  </a:lnTo>
                  <a:lnTo>
                    <a:pt x="1620" y="710"/>
                  </a:lnTo>
                  <a:lnTo>
                    <a:pt x="1620" y="706"/>
                  </a:lnTo>
                  <a:lnTo>
                    <a:pt x="1620" y="702"/>
                  </a:lnTo>
                  <a:lnTo>
                    <a:pt x="1620" y="706"/>
                  </a:lnTo>
                  <a:lnTo>
                    <a:pt x="1616" y="706"/>
                  </a:lnTo>
                  <a:lnTo>
                    <a:pt x="1616" y="702"/>
                  </a:lnTo>
                  <a:lnTo>
                    <a:pt x="1616" y="706"/>
                  </a:lnTo>
                  <a:lnTo>
                    <a:pt x="1616" y="710"/>
                  </a:lnTo>
                  <a:lnTo>
                    <a:pt x="1612" y="710"/>
                  </a:lnTo>
                  <a:lnTo>
                    <a:pt x="1612" y="714"/>
                  </a:lnTo>
                  <a:lnTo>
                    <a:pt x="1608" y="714"/>
                  </a:lnTo>
                  <a:lnTo>
                    <a:pt x="1608" y="710"/>
                  </a:lnTo>
                  <a:lnTo>
                    <a:pt x="1604" y="714"/>
                  </a:lnTo>
                  <a:lnTo>
                    <a:pt x="1600" y="714"/>
                  </a:lnTo>
                  <a:lnTo>
                    <a:pt x="1596" y="714"/>
                  </a:lnTo>
                  <a:lnTo>
                    <a:pt x="1592" y="714"/>
                  </a:lnTo>
                  <a:lnTo>
                    <a:pt x="1588" y="714"/>
                  </a:lnTo>
                  <a:lnTo>
                    <a:pt x="1588" y="718"/>
                  </a:lnTo>
                  <a:lnTo>
                    <a:pt x="1584" y="718"/>
                  </a:lnTo>
                  <a:lnTo>
                    <a:pt x="1580" y="718"/>
                  </a:lnTo>
                  <a:lnTo>
                    <a:pt x="1580" y="722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0" y="718"/>
                  </a:lnTo>
                  <a:lnTo>
                    <a:pt x="1580" y="714"/>
                  </a:lnTo>
                  <a:lnTo>
                    <a:pt x="1576" y="714"/>
                  </a:lnTo>
                  <a:lnTo>
                    <a:pt x="1580" y="714"/>
                  </a:lnTo>
                  <a:lnTo>
                    <a:pt x="1580" y="718"/>
                  </a:lnTo>
                  <a:lnTo>
                    <a:pt x="1576" y="722"/>
                  </a:lnTo>
                  <a:lnTo>
                    <a:pt x="1576" y="726"/>
                  </a:lnTo>
                  <a:lnTo>
                    <a:pt x="1572" y="726"/>
                  </a:lnTo>
                  <a:lnTo>
                    <a:pt x="1572" y="730"/>
                  </a:lnTo>
                  <a:lnTo>
                    <a:pt x="1576" y="730"/>
                  </a:lnTo>
                  <a:lnTo>
                    <a:pt x="1576" y="734"/>
                  </a:lnTo>
                  <a:lnTo>
                    <a:pt x="1576" y="738"/>
                  </a:lnTo>
                  <a:lnTo>
                    <a:pt x="1576" y="746"/>
                  </a:lnTo>
                  <a:lnTo>
                    <a:pt x="1576" y="742"/>
                  </a:lnTo>
                  <a:lnTo>
                    <a:pt x="1576" y="738"/>
                  </a:lnTo>
                  <a:lnTo>
                    <a:pt x="1576" y="742"/>
                  </a:lnTo>
                  <a:lnTo>
                    <a:pt x="1576" y="746"/>
                  </a:lnTo>
                  <a:lnTo>
                    <a:pt x="1572" y="746"/>
                  </a:lnTo>
                  <a:lnTo>
                    <a:pt x="1572" y="750"/>
                  </a:lnTo>
                  <a:lnTo>
                    <a:pt x="1568" y="750"/>
                  </a:lnTo>
                  <a:lnTo>
                    <a:pt x="1568" y="754"/>
                  </a:lnTo>
                  <a:lnTo>
                    <a:pt x="1572" y="754"/>
                  </a:lnTo>
                  <a:lnTo>
                    <a:pt x="1568" y="754"/>
                  </a:lnTo>
                  <a:lnTo>
                    <a:pt x="1568" y="758"/>
                  </a:lnTo>
                  <a:lnTo>
                    <a:pt x="1564" y="758"/>
                  </a:lnTo>
                  <a:lnTo>
                    <a:pt x="1564" y="762"/>
                  </a:lnTo>
                  <a:lnTo>
                    <a:pt x="1564" y="758"/>
                  </a:lnTo>
                  <a:lnTo>
                    <a:pt x="1560" y="758"/>
                  </a:lnTo>
                  <a:lnTo>
                    <a:pt x="1560" y="754"/>
                  </a:lnTo>
                  <a:lnTo>
                    <a:pt x="1556" y="754"/>
                  </a:lnTo>
                  <a:lnTo>
                    <a:pt x="1552" y="750"/>
                  </a:lnTo>
                  <a:lnTo>
                    <a:pt x="1552" y="746"/>
                  </a:lnTo>
                  <a:lnTo>
                    <a:pt x="1556" y="746"/>
                  </a:lnTo>
                  <a:lnTo>
                    <a:pt x="1556" y="742"/>
                  </a:lnTo>
                  <a:lnTo>
                    <a:pt x="1560" y="742"/>
                  </a:lnTo>
                  <a:lnTo>
                    <a:pt x="1560" y="738"/>
                  </a:lnTo>
                  <a:lnTo>
                    <a:pt x="1560" y="742"/>
                  </a:lnTo>
                  <a:lnTo>
                    <a:pt x="1556" y="742"/>
                  </a:lnTo>
                  <a:lnTo>
                    <a:pt x="1556" y="746"/>
                  </a:lnTo>
                  <a:lnTo>
                    <a:pt x="1552" y="746"/>
                  </a:lnTo>
                  <a:lnTo>
                    <a:pt x="1552" y="750"/>
                  </a:lnTo>
                  <a:lnTo>
                    <a:pt x="1556" y="754"/>
                  </a:lnTo>
                  <a:lnTo>
                    <a:pt x="1556" y="758"/>
                  </a:lnTo>
                  <a:lnTo>
                    <a:pt x="1556" y="762"/>
                  </a:lnTo>
                  <a:lnTo>
                    <a:pt x="1560" y="766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8"/>
                  </a:lnTo>
                  <a:lnTo>
                    <a:pt x="1556" y="778"/>
                  </a:lnTo>
                  <a:lnTo>
                    <a:pt x="1556" y="782"/>
                  </a:lnTo>
                  <a:lnTo>
                    <a:pt x="1556" y="786"/>
                  </a:lnTo>
                  <a:lnTo>
                    <a:pt x="1552" y="786"/>
                  </a:lnTo>
                  <a:lnTo>
                    <a:pt x="1552" y="790"/>
                  </a:lnTo>
                  <a:lnTo>
                    <a:pt x="1548" y="794"/>
                  </a:lnTo>
                  <a:lnTo>
                    <a:pt x="1548" y="798"/>
                  </a:lnTo>
                  <a:lnTo>
                    <a:pt x="1548" y="794"/>
                  </a:lnTo>
                  <a:lnTo>
                    <a:pt x="1548" y="790"/>
                  </a:lnTo>
                  <a:lnTo>
                    <a:pt x="1548" y="786"/>
                  </a:lnTo>
                  <a:lnTo>
                    <a:pt x="1552" y="786"/>
                  </a:lnTo>
                  <a:lnTo>
                    <a:pt x="1552" y="782"/>
                  </a:lnTo>
                  <a:lnTo>
                    <a:pt x="1548" y="782"/>
                  </a:lnTo>
                  <a:lnTo>
                    <a:pt x="1548" y="778"/>
                  </a:lnTo>
                  <a:lnTo>
                    <a:pt x="1548" y="774"/>
                  </a:lnTo>
                  <a:lnTo>
                    <a:pt x="1548" y="778"/>
                  </a:lnTo>
                  <a:lnTo>
                    <a:pt x="1544" y="778"/>
                  </a:lnTo>
                  <a:lnTo>
                    <a:pt x="1544" y="774"/>
                  </a:lnTo>
                  <a:lnTo>
                    <a:pt x="1540" y="770"/>
                  </a:lnTo>
                  <a:lnTo>
                    <a:pt x="1544" y="770"/>
                  </a:lnTo>
                  <a:lnTo>
                    <a:pt x="1548" y="770"/>
                  </a:lnTo>
                  <a:lnTo>
                    <a:pt x="1548" y="766"/>
                  </a:lnTo>
                  <a:lnTo>
                    <a:pt x="1548" y="770"/>
                  </a:lnTo>
                  <a:lnTo>
                    <a:pt x="1544" y="770"/>
                  </a:lnTo>
                  <a:lnTo>
                    <a:pt x="1544" y="766"/>
                  </a:lnTo>
                  <a:lnTo>
                    <a:pt x="1540" y="766"/>
                  </a:lnTo>
                  <a:lnTo>
                    <a:pt x="1544" y="762"/>
                  </a:lnTo>
                  <a:lnTo>
                    <a:pt x="1544" y="766"/>
                  </a:lnTo>
                  <a:lnTo>
                    <a:pt x="1544" y="762"/>
                  </a:lnTo>
                  <a:lnTo>
                    <a:pt x="1540" y="762"/>
                  </a:lnTo>
                  <a:lnTo>
                    <a:pt x="1540" y="758"/>
                  </a:lnTo>
                  <a:lnTo>
                    <a:pt x="1544" y="762"/>
                  </a:lnTo>
                  <a:lnTo>
                    <a:pt x="1544" y="758"/>
                  </a:lnTo>
                  <a:lnTo>
                    <a:pt x="1544" y="754"/>
                  </a:lnTo>
                  <a:lnTo>
                    <a:pt x="1548" y="754"/>
                  </a:lnTo>
                  <a:lnTo>
                    <a:pt x="1548" y="750"/>
                  </a:lnTo>
                  <a:lnTo>
                    <a:pt x="1548" y="746"/>
                  </a:lnTo>
                  <a:lnTo>
                    <a:pt x="1544" y="750"/>
                  </a:lnTo>
                  <a:lnTo>
                    <a:pt x="1544" y="754"/>
                  </a:lnTo>
                  <a:lnTo>
                    <a:pt x="1544" y="750"/>
                  </a:lnTo>
                  <a:lnTo>
                    <a:pt x="1540" y="754"/>
                  </a:lnTo>
                  <a:close/>
                  <a:moveTo>
                    <a:pt x="834" y="555"/>
                  </a:moveTo>
                  <a:lnTo>
                    <a:pt x="834" y="559"/>
                  </a:lnTo>
                  <a:lnTo>
                    <a:pt x="834" y="555"/>
                  </a:lnTo>
                  <a:close/>
                  <a:moveTo>
                    <a:pt x="882" y="862"/>
                  </a:moveTo>
                  <a:lnTo>
                    <a:pt x="886" y="862"/>
                  </a:lnTo>
                  <a:lnTo>
                    <a:pt x="882" y="862"/>
                  </a:lnTo>
                  <a:close/>
                  <a:moveTo>
                    <a:pt x="204" y="128"/>
                  </a:moveTo>
                  <a:lnTo>
                    <a:pt x="200" y="128"/>
                  </a:lnTo>
                  <a:lnTo>
                    <a:pt x="192" y="132"/>
                  </a:lnTo>
                  <a:lnTo>
                    <a:pt x="196" y="128"/>
                  </a:lnTo>
                  <a:lnTo>
                    <a:pt x="200" y="128"/>
                  </a:lnTo>
                  <a:lnTo>
                    <a:pt x="204" y="128"/>
                  </a:lnTo>
                  <a:close/>
                  <a:moveTo>
                    <a:pt x="180" y="136"/>
                  </a:moveTo>
                  <a:lnTo>
                    <a:pt x="176" y="140"/>
                  </a:lnTo>
                  <a:lnTo>
                    <a:pt x="176" y="136"/>
                  </a:lnTo>
                  <a:lnTo>
                    <a:pt x="180" y="136"/>
                  </a:lnTo>
                  <a:close/>
                  <a:moveTo>
                    <a:pt x="240" y="204"/>
                  </a:moveTo>
                  <a:lnTo>
                    <a:pt x="236" y="204"/>
                  </a:lnTo>
                  <a:lnTo>
                    <a:pt x="240" y="204"/>
                  </a:lnTo>
                  <a:close/>
                  <a:moveTo>
                    <a:pt x="455" y="275"/>
                  </a:moveTo>
                  <a:lnTo>
                    <a:pt x="455" y="279"/>
                  </a:lnTo>
                  <a:lnTo>
                    <a:pt x="455" y="275"/>
                  </a:lnTo>
                  <a:lnTo>
                    <a:pt x="451" y="275"/>
                  </a:lnTo>
                  <a:lnTo>
                    <a:pt x="455" y="275"/>
                  </a:lnTo>
                  <a:close/>
                  <a:moveTo>
                    <a:pt x="88" y="287"/>
                  </a:moveTo>
                  <a:lnTo>
                    <a:pt x="88" y="283"/>
                  </a:lnTo>
                  <a:lnTo>
                    <a:pt x="84" y="283"/>
                  </a:lnTo>
                  <a:lnTo>
                    <a:pt x="80" y="283"/>
                  </a:lnTo>
                  <a:lnTo>
                    <a:pt x="76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8" y="287"/>
                  </a:lnTo>
                  <a:close/>
                  <a:moveTo>
                    <a:pt x="499" y="283"/>
                  </a:moveTo>
                  <a:lnTo>
                    <a:pt x="499" y="287"/>
                  </a:lnTo>
                  <a:lnTo>
                    <a:pt x="499" y="283"/>
                  </a:lnTo>
                  <a:close/>
                  <a:moveTo>
                    <a:pt x="455" y="283"/>
                  </a:moveTo>
                  <a:lnTo>
                    <a:pt x="455" y="287"/>
                  </a:lnTo>
                  <a:lnTo>
                    <a:pt x="455" y="283"/>
                  </a:lnTo>
                  <a:close/>
                  <a:moveTo>
                    <a:pt x="455" y="287"/>
                  </a:moveTo>
                  <a:lnTo>
                    <a:pt x="455" y="291"/>
                  </a:lnTo>
                  <a:lnTo>
                    <a:pt x="451" y="291"/>
                  </a:lnTo>
                  <a:lnTo>
                    <a:pt x="455" y="291"/>
                  </a:lnTo>
                  <a:lnTo>
                    <a:pt x="455" y="287"/>
                  </a:lnTo>
                  <a:close/>
                  <a:moveTo>
                    <a:pt x="515" y="295"/>
                  </a:moveTo>
                  <a:lnTo>
                    <a:pt x="511" y="295"/>
                  </a:lnTo>
                  <a:lnTo>
                    <a:pt x="507" y="295"/>
                  </a:lnTo>
                  <a:lnTo>
                    <a:pt x="507" y="299"/>
                  </a:lnTo>
                  <a:lnTo>
                    <a:pt x="507" y="295"/>
                  </a:lnTo>
                  <a:lnTo>
                    <a:pt x="511" y="295"/>
                  </a:lnTo>
                  <a:lnTo>
                    <a:pt x="511" y="291"/>
                  </a:lnTo>
                  <a:lnTo>
                    <a:pt x="515" y="291"/>
                  </a:lnTo>
                  <a:lnTo>
                    <a:pt x="515" y="295"/>
                  </a:lnTo>
                  <a:close/>
                  <a:moveTo>
                    <a:pt x="260" y="327"/>
                  </a:moveTo>
                  <a:lnTo>
                    <a:pt x="260" y="323"/>
                  </a:lnTo>
                  <a:lnTo>
                    <a:pt x="264" y="323"/>
                  </a:lnTo>
                  <a:lnTo>
                    <a:pt x="260" y="327"/>
                  </a:lnTo>
                  <a:close/>
                  <a:moveTo>
                    <a:pt x="662" y="335"/>
                  </a:moveTo>
                  <a:lnTo>
                    <a:pt x="658" y="335"/>
                  </a:lnTo>
                  <a:lnTo>
                    <a:pt x="658" y="331"/>
                  </a:lnTo>
                  <a:lnTo>
                    <a:pt x="662" y="335"/>
                  </a:lnTo>
                  <a:close/>
                  <a:moveTo>
                    <a:pt x="120" y="363"/>
                  </a:moveTo>
                  <a:lnTo>
                    <a:pt x="116" y="363"/>
                  </a:lnTo>
                  <a:lnTo>
                    <a:pt x="116" y="359"/>
                  </a:lnTo>
                  <a:lnTo>
                    <a:pt x="120" y="359"/>
                  </a:lnTo>
                  <a:lnTo>
                    <a:pt x="120" y="363"/>
                  </a:lnTo>
                  <a:close/>
                  <a:moveTo>
                    <a:pt x="128" y="375"/>
                  </a:moveTo>
                  <a:lnTo>
                    <a:pt x="132" y="375"/>
                  </a:lnTo>
                  <a:lnTo>
                    <a:pt x="128" y="375"/>
                  </a:lnTo>
                  <a:close/>
                  <a:moveTo>
                    <a:pt x="363" y="375"/>
                  </a:moveTo>
                  <a:lnTo>
                    <a:pt x="359" y="375"/>
                  </a:lnTo>
                  <a:lnTo>
                    <a:pt x="363" y="375"/>
                  </a:lnTo>
                  <a:close/>
                  <a:moveTo>
                    <a:pt x="367" y="375"/>
                  </a:moveTo>
                  <a:lnTo>
                    <a:pt x="363" y="375"/>
                  </a:lnTo>
                  <a:lnTo>
                    <a:pt x="367" y="375"/>
                  </a:lnTo>
                  <a:close/>
                  <a:moveTo>
                    <a:pt x="343" y="391"/>
                  </a:moveTo>
                  <a:lnTo>
                    <a:pt x="343" y="395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43" y="391"/>
                  </a:lnTo>
                  <a:close/>
                  <a:moveTo>
                    <a:pt x="678" y="391"/>
                  </a:moveTo>
                  <a:lnTo>
                    <a:pt x="678" y="395"/>
                  </a:lnTo>
                  <a:lnTo>
                    <a:pt x="678" y="391"/>
                  </a:lnTo>
                  <a:close/>
                  <a:moveTo>
                    <a:pt x="1576" y="726"/>
                  </a:moveTo>
                  <a:lnTo>
                    <a:pt x="1576" y="730"/>
                  </a:lnTo>
                  <a:lnTo>
                    <a:pt x="1572" y="730"/>
                  </a:lnTo>
                  <a:lnTo>
                    <a:pt x="1572" y="726"/>
                  </a:lnTo>
                  <a:lnTo>
                    <a:pt x="1576" y="726"/>
                  </a:lnTo>
                  <a:close/>
                  <a:moveTo>
                    <a:pt x="1552" y="838"/>
                  </a:moveTo>
                  <a:lnTo>
                    <a:pt x="1552" y="834"/>
                  </a:lnTo>
                  <a:lnTo>
                    <a:pt x="1556" y="834"/>
                  </a:lnTo>
                  <a:lnTo>
                    <a:pt x="1556" y="830"/>
                  </a:lnTo>
                  <a:lnTo>
                    <a:pt x="1552" y="826"/>
                  </a:lnTo>
                  <a:lnTo>
                    <a:pt x="1556" y="826"/>
                  </a:lnTo>
                  <a:lnTo>
                    <a:pt x="1556" y="830"/>
                  </a:lnTo>
                  <a:lnTo>
                    <a:pt x="1556" y="834"/>
                  </a:lnTo>
                  <a:lnTo>
                    <a:pt x="1552" y="838"/>
                  </a:lnTo>
                  <a:close/>
                  <a:moveTo>
                    <a:pt x="1476" y="974"/>
                  </a:moveTo>
                  <a:lnTo>
                    <a:pt x="1476" y="970"/>
                  </a:lnTo>
                  <a:lnTo>
                    <a:pt x="1476" y="974"/>
                  </a:lnTo>
                  <a:close/>
                  <a:moveTo>
                    <a:pt x="1480" y="982"/>
                  </a:moveTo>
                  <a:lnTo>
                    <a:pt x="1480" y="986"/>
                  </a:lnTo>
                  <a:lnTo>
                    <a:pt x="1480" y="990"/>
                  </a:lnTo>
                  <a:lnTo>
                    <a:pt x="1484" y="994"/>
                  </a:lnTo>
                  <a:lnTo>
                    <a:pt x="1484" y="998"/>
                  </a:lnTo>
                  <a:lnTo>
                    <a:pt x="1484" y="994"/>
                  </a:lnTo>
                  <a:lnTo>
                    <a:pt x="1480" y="990"/>
                  </a:lnTo>
                  <a:lnTo>
                    <a:pt x="1480" y="986"/>
                  </a:lnTo>
                  <a:lnTo>
                    <a:pt x="1480" y="982"/>
                  </a:lnTo>
                  <a:close/>
                  <a:moveTo>
                    <a:pt x="1225" y="990"/>
                  </a:moveTo>
                  <a:lnTo>
                    <a:pt x="1225" y="994"/>
                  </a:lnTo>
                  <a:lnTo>
                    <a:pt x="1221" y="994"/>
                  </a:lnTo>
                  <a:lnTo>
                    <a:pt x="1225" y="990"/>
                  </a:lnTo>
                  <a:lnTo>
                    <a:pt x="1225" y="986"/>
                  </a:lnTo>
                  <a:lnTo>
                    <a:pt x="1229" y="982"/>
                  </a:lnTo>
                  <a:lnTo>
                    <a:pt x="1229" y="986"/>
                  </a:lnTo>
                  <a:lnTo>
                    <a:pt x="1225" y="986"/>
                  </a:lnTo>
                  <a:lnTo>
                    <a:pt x="1225" y="990"/>
                  </a:lnTo>
                  <a:close/>
                  <a:moveTo>
                    <a:pt x="1225" y="1006"/>
                  </a:moveTo>
                  <a:lnTo>
                    <a:pt x="1225" y="1002"/>
                  </a:lnTo>
                  <a:lnTo>
                    <a:pt x="1221" y="1002"/>
                  </a:lnTo>
                  <a:lnTo>
                    <a:pt x="1221" y="998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5" y="1002"/>
                  </a:lnTo>
                  <a:lnTo>
                    <a:pt x="1225" y="1006"/>
                  </a:lnTo>
                  <a:lnTo>
                    <a:pt x="1225" y="1010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14"/>
                  </a:lnTo>
                  <a:lnTo>
                    <a:pt x="1225" y="1010"/>
                  </a:lnTo>
                  <a:lnTo>
                    <a:pt x="1225" y="1006"/>
                  </a:lnTo>
                  <a:close/>
                  <a:moveTo>
                    <a:pt x="140" y="216"/>
                  </a:moveTo>
                  <a:lnTo>
                    <a:pt x="136" y="216"/>
                  </a:lnTo>
                  <a:lnTo>
                    <a:pt x="132" y="216"/>
                  </a:lnTo>
                  <a:lnTo>
                    <a:pt x="128" y="220"/>
                  </a:lnTo>
                  <a:lnTo>
                    <a:pt x="128" y="216"/>
                  </a:lnTo>
                  <a:lnTo>
                    <a:pt x="124" y="216"/>
                  </a:lnTo>
                  <a:lnTo>
                    <a:pt x="120" y="216"/>
                  </a:lnTo>
                  <a:lnTo>
                    <a:pt x="120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12" y="208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4" y="208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100" y="200"/>
                  </a:lnTo>
                  <a:lnTo>
                    <a:pt x="100" y="204"/>
                  </a:lnTo>
                  <a:lnTo>
                    <a:pt x="104" y="204"/>
                  </a:lnTo>
                  <a:lnTo>
                    <a:pt x="108" y="204"/>
                  </a:lnTo>
                  <a:lnTo>
                    <a:pt x="112" y="204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20" y="204"/>
                  </a:lnTo>
                  <a:lnTo>
                    <a:pt x="124" y="204"/>
                  </a:lnTo>
                  <a:lnTo>
                    <a:pt x="124" y="208"/>
                  </a:lnTo>
                  <a:lnTo>
                    <a:pt x="128" y="208"/>
                  </a:lnTo>
                  <a:lnTo>
                    <a:pt x="132" y="208"/>
                  </a:lnTo>
                  <a:lnTo>
                    <a:pt x="132" y="212"/>
                  </a:lnTo>
                  <a:lnTo>
                    <a:pt x="136" y="212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0" y="216"/>
                  </a:lnTo>
                  <a:close/>
                  <a:moveTo>
                    <a:pt x="455" y="271"/>
                  </a:moveTo>
                  <a:lnTo>
                    <a:pt x="459" y="271"/>
                  </a:lnTo>
                  <a:lnTo>
                    <a:pt x="455" y="275"/>
                  </a:lnTo>
                  <a:lnTo>
                    <a:pt x="455" y="271"/>
                  </a:lnTo>
                  <a:close/>
                  <a:moveTo>
                    <a:pt x="491" y="279"/>
                  </a:moveTo>
                  <a:lnTo>
                    <a:pt x="487" y="279"/>
                  </a:lnTo>
                  <a:lnTo>
                    <a:pt x="483" y="283"/>
                  </a:lnTo>
                  <a:lnTo>
                    <a:pt x="483" y="279"/>
                  </a:lnTo>
                  <a:lnTo>
                    <a:pt x="487" y="279"/>
                  </a:lnTo>
                  <a:lnTo>
                    <a:pt x="491" y="279"/>
                  </a:lnTo>
                  <a:close/>
                  <a:moveTo>
                    <a:pt x="487" y="283"/>
                  </a:moveTo>
                  <a:lnTo>
                    <a:pt x="483" y="283"/>
                  </a:lnTo>
                  <a:lnTo>
                    <a:pt x="479" y="283"/>
                  </a:lnTo>
                  <a:lnTo>
                    <a:pt x="479" y="287"/>
                  </a:lnTo>
                  <a:lnTo>
                    <a:pt x="475" y="287"/>
                  </a:lnTo>
                  <a:lnTo>
                    <a:pt x="479" y="287"/>
                  </a:lnTo>
                  <a:lnTo>
                    <a:pt x="479" y="283"/>
                  </a:lnTo>
                  <a:lnTo>
                    <a:pt x="475" y="283"/>
                  </a:lnTo>
                  <a:lnTo>
                    <a:pt x="479" y="283"/>
                  </a:lnTo>
                  <a:lnTo>
                    <a:pt x="479" y="279"/>
                  </a:lnTo>
                  <a:lnTo>
                    <a:pt x="479" y="283"/>
                  </a:lnTo>
                  <a:lnTo>
                    <a:pt x="483" y="283"/>
                  </a:lnTo>
                  <a:lnTo>
                    <a:pt x="487" y="283"/>
                  </a:lnTo>
                  <a:close/>
                  <a:moveTo>
                    <a:pt x="184" y="283"/>
                  </a:moveTo>
                  <a:lnTo>
                    <a:pt x="188" y="283"/>
                  </a:lnTo>
                  <a:lnTo>
                    <a:pt x="188" y="287"/>
                  </a:lnTo>
                  <a:lnTo>
                    <a:pt x="188" y="291"/>
                  </a:lnTo>
                  <a:lnTo>
                    <a:pt x="192" y="295"/>
                  </a:lnTo>
                  <a:lnTo>
                    <a:pt x="188" y="295"/>
                  </a:lnTo>
                  <a:lnTo>
                    <a:pt x="184" y="295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76" y="295"/>
                  </a:lnTo>
                  <a:lnTo>
                    <a:pt x="168" y="295"/>
                  </a:lnTo>
                  <a:lnTo>
                    <a:pt x="168" y="291"/>
                  </a:lnTo>
                  <a:lnTo>
                    <a:pt x="164" y="291"/>
                  </a:lnTo>
                  <a:lnTo>
                    <a:pt x="164" y="287"/>
                  </a:lnTo>
                  <a:lnTo>
                    <a:pt x="168" y="287"/>
                  </a:lnTo>
                  <a:lnTo>
                    <a:pt x="172" y="287"/>
                  </a:lnTo>
                  <a:lnTo>
                    <a:pt x="172" y="283"/>
                  </a:lnTo>
                  <a:lnTo>
                    <a:pt x="176" y="283"/>
                  </a:lnTo>
                  <a:lnTo>
                    <a:pt x="180" y="283"/>
                  </a:lnTo>
                  <a:lnTo>
                    <a:pt x="184" y="283"/>
                  </a:lnTo>
                  <a:close/>
                  <a:moveTo>
                    <a:pt x="471" y="287"/>
                  </a:moveTo>
                  <a:lnTo>
                    <a:pt x="467" y="287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459" y="299"/>
                  </a:lnTo>
                  <a:lnTo>
                    <a:pt x="459" y="295"/>
                  </a:lnTo>
                  <a:lnTo>
                    <a:pt x="463" y="291"/>
                  </a:lnTo>
                  <a:lnTo>
                    <a:pt x="467" y="291"/>
                  </a:lnTo>
                  <a:lnTo>
                    <a:pt x="467" y="287"/>
                  </a:lnTo>
                  <a:lnTo>
                    <a:pt x="467" y="283"/>
                  </a:lnTo>
                  <a:lnTo>
                    <a:pt x="471" y="283"/>
                  </a:lnTo>
                  <a:lnTo>
                    <a:pt x="471" y="287"/>
                  </a:lnTo>
                  <a:close/>
                  <a:moveTo>
                    <a:pt x="459" y="291"/>
                  </a:moveTo>
                  <a:lnTo>
                    <a:pt x="455" y="291"/>
                  </a:lnTo>
                  <a:lnTo>
                    <a:pt x="459" y="287"/>
                  </a:lnTo>
                  <a:lnTo>
                    <a:pt x="459" y="291"/>
                  </a:lnTo>
                  <a:close/>
                  <a:moveTo>
                    <a:pt x="459" y="291"/>
                  </a:moveTo>
                  <a:lnTo>
                    <a:pt x="459" y="295"/>
                  </a:lnTo>
                  <a:lnTo>
                    <a:pt x="455" y="295"/>
                  </a:lnTo>
                  <a:lnTo>
                    <a:pt x="455" y="291"/>
                  </a:lnTo>
                  <a:lnTo>
                    <a:pt x="459" y="291"/>
                  </a:lnTo>
                  <a:close/>
                  <a:moveTo>
                    <a:pt x="375" y="307"/>
                  </a:moveTo>
                  <a:lnTo>
                    <a:pt x="375" y="311"/>
                  </a:lnTo>
                  <a:lnTo>
                    <a:pt x="371" y="311"/>
                  </a:lnTo>
                  <a:lnTo>
                    <a:pt x="371" y="307"/>
                  </a:lnTo>
                  <a:lnTo>
                    <a:pt x="375" y="307"/>
                  </a:lnTo>
                  <a:close/>
                  <a:moveTo>
                    <a:pt x="415" y="307"/>
                  </a:moveTo>
                  <a:lnTo>
                    <a:pt x="415" y="311"/>
                  </a:lnTo>
                  <a:lnTo>
                    <a:pt x="415" y="307"/>
                  </a:lnTo>
                  <a:close/>
                  <a:moveTo>
                    <a:pt x="391" y="327"/>
                  </a:moveTo>
                  <a:lnTo>
                    <a:pt x="387" y="331"/>
                  </a:lnTo>
                  <a:lnTo>
                    <a:pt x="387" y="327"/>
                  </a:lnTo>
                  <a:lnTo>
                    <a:pt x="391" y="327"/>
                  </a:lnTo>
                  <a:close/>
                  <a:moveTo>
                    <a:pt x="387" y="339"/>
                  </a:moveTo>
                  <a:lnTo>
                    <a:pt x="383" y="343"/>
                  </a:lnTo>
                  <a:lnTo>
                    <a:pt x="383" y="339"/>
                  </a:lnTo>
                  <a:lnTo>
                    <a:pt x="379" y="339"/>
                  </a:lnTo>
                  <a:lnTo>
                    <a:pt x="379" y="335"/>
                  </a:lnTo>
                  <a:lnTo>
                    <a:pt x="383" y="339"/>
                  </a:lnTo>
                  <a:lnTo>
                    <a:pt x="383" y="335"/>
                  </a:lnTo>
                  <a:lnTo>
                    <a:pt x="379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87" y="331"/>
                  </a:lnTo>
                  <a:lnTo>
                    <a:pt x="391" y="331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5" y="339"/>
                  </a:lnTo>
                  <a:lnTo>
                    <a:pt x="391" y="335"/>
                  </a:lnTo>
                  <a:lnTo>
                    <a:pt x="391" y="339"/>
                  </a:lnTo>
                  <a:lnTo>
                    <a:pt x="387" y="339"/>
                  </a:lnTo>
                  <a:close/>
                  <a:moveTo>
                    <a:pt x="670" y="355"/>
                  </a:moveTo>
                  <a:lnTo>
                    <a:pt x="666" y="355"/>
                  </a:lnTo>
                  <a:lnTo>
                    <a:pt x="670" y="355"/>
                  </a:lnTo>
                  <a:lnTo>
                    <a:pt x="670" y="359"/>
                  </a:lnTo>
                  <a:lnTo>
                    <a:pt x="666" y="359"/>
                  </a:lnTo>
                  <a:lnTo>
                    <a:pt x="666" y="355"/>
                  </a:lnTo>
                  <a:lnTo>
                    <a:pt x="666" y="359"/>
                  </a:lnTo>
                  <a:lnTo>
                    <a:pt x="662" y="363"/>
                  </a:lnTo>
                  <a:lnTo>
                    <a:pt x="658" y="363"/>
                  </a:lnTo>
                  <a:lnTo>
                    <a:pt x="658" y="359"/>
                  </a:lnTo>
                  <a:lnTo>
                    <a:pt x="662" y="355"/>
                  </a:lnTo>
                  <a:lnTo>
                    <a:pt x="662" y="359"/>
                  </a:lnTo>
                  <a:lnTo>
                    <a:pt x="662" y="355"/>
                  </a:lnTo>
                  <a:lnTo>
                    <a:pt x="658" y="355"/>
                  </a:lnTo>
                  <a:lnTo>
                    <a:pt x="662" y="355"/>
                  </a:lnTo>
                  <a:lnTo>
                    <a:pt x="662" y="351"/>
                  </a:lnTo>
                  <a:lnTo>
                    <a:pt x="658" y="351"/>
                  </a:lnTo>
                  <a:lnTo>
                    <a:pt x="658" y="347"/>
                  </a:lnTo>
                  <a:lnTo>
                    <a:pt x="658" y="339"/>
                  </a:lnTo>
                  <a:lnTo>
                    <a:pt x="654" y="335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8" y="335"/>
                  </a:lnTo>
                  <a:lnTo>
                    <a:pt x="658" y="339"/>
                  </a:lnTo>
                  <a:lnTo>
                    <a:pt x="658" y="335"/>
                  </a:lnTo>
                  <a:lnTo>
                    <a:pt x="662" y="335"/>
                  </a:lnTo>
                  <a:lnTo>
                    <a:pt x="662" y="339"/>
                  </a:lnTo>
                  <a:lnTo>
                    <a:pt x="666" y="339"/>
                  </a:lnTo>
                  <a:lnTo>
                    <a:pt x="666" y="343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0" y="347"/>
                  </a:lnTo>
                  <a:lnTo>
                    <a:pt x="666" y="347"/>
                  </a:lnTo>
                  <a:lnTo>
                    <a:pt x="666" y="343"/>
                  </a:lnTo>
                  <a:lnTo>
                    <a:pt x="666" y="339"/>
                  </a:lnTo>
                  <a:lnTo>
                    <a:pt x="662" y="339"/>
                  </a:lnTo>
                  <a:lnTo>
                    <a:pt x="662" y="343"/>
                  </a:lnTo>
                  <a:lnTo>
                    <a:pt x="666" y="343"/>
                  </a:lnTo>
                  <a:lnTo>
                    <a:pt x="666" y="347"/>
                  </a:lnTo>
                  <a:lnTo>
                    <a:pt x="666" y="351"/>
                  </a:lnTo>
                  <a:lnTo>
                    <a:pt x="670" y="351"/>
                  </a:lnTo>
                  <a:lnTo>
                    <a:pt x="670" y="355"/>
                  </a:lnTo>
                  <a:close/>
                  <a:moveTo>
                    <a:pt x="635" y="347"/>
                  </a:moveTo>
                  <a:lnTo>
                    <a:pt x="631" y="347"/>
                  </a:lnTo>
                  <a:lnTo>
                    <a:pt x="635" y="343"/>
                  </a:lnTo>
                  <a:lnTo>
                    <a:pt x="639" y="343"/>
                  </a:lnTo>
                  <a:lnTo>
                    <a:pt x="635" y="343"/>
                  </a:lnTo>
                  <a:lnTo>
                    <a:pt x="631" y="339"/>
                  </a:lnTo>
                  <a:lnTo>
                    <a:pt x="635" y="335"/>
                  </a:lnTo>
                  <a:lnTo>
                    <a:pt x="635" y="339"/>
                  </a:lnTo>
                  <a:lnTo>
                    <a:pt x="635" y="335"/>
                  </a:lnTo>
                  <a:lnTo>
                    <a:pt x="639" y="335"/>
                  </a:lnTo>
                  <a:lnTo>
                    <a:pt x="643" y="335"/>
                  </a:lnTo>
                  <a:lnTo>
                    <a:pt x="647" y="335"/>
                  </a:lnTo>
                  <a:lnTo>
                    <a:pt x="647" y="339"/>
                  </a:lnTo>
                  <a:lnTo>
                    <a:pt x="643" y="339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39"/>
                  </a:lnTo>
                  <a:lnTo>
                    <a:pt x="651" y="339"/>
                  </a:lnTo>
                  <a:lnTo>
                    <a:pt x="654" y="339"/>
                  </a:lnTo>
                  <a:lnTo>
                    <a:pt x="654" y="343"/>
                  </a:lnTo>
                  <a:lnTo>
                    <a:pt x="651" y="343"/>
                  </a:lnTo>
                  <a:lnTo>
                    <a:pt x="654" y="343"/>
                  </a:lnTo>
                  <a:lnTo>
                    <a:pt x="654" y="347"/>
                  </a:lnTo>
                  <a:lnTo>
                    <a:pt x="651" y="347"/>
                  </a:lnTo>
                  <a:lnTo>
                    <a:pt x="647" y="347"/>
                  </a:lnTo>
                  <a:lnTo>
                    <a:pt x="647" y="343"/>
                  </a:lnTo>
                  <a:lnTo>
                    <a:pt x="643" y="343"/>
                  </a:lnTo>
                  <a:lnTo>
                    <a:pt x="639" y="343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47"/>
                  </a:lnTo>
                  <a:lnTo>
                    <a:pt x="651" y="347"/>
                  </a:lnTo>
                  <a:lnTo>
                    <a:pt x="654" y="347"/>
                  </a:lnTo>
                  <a:lnTo>
                    <a:pt x="654" y="351"/>
                  </a:lnTo>
                  <a:lnTo>
                    <a:pt x="654" y="355"/>
                  </a:lnTo>
                  <a:lnTo>
                    <a:pt x="651" y="355"/>
                  </a:lnTo>
                  <a:lnTo>
                    <a:pt x="651" y="351"/>
                  </a:lnTo>
                  <a:lnTo>
                    <a:pt x="647" y="351"/>
                  </a:lnTo>
                  <a:lnTo>
                    <a:pt x="647" y="347"/>
                  </a:lnTo>
                  <a:lnTo>
                    <a:pt x="643" y="347"/>
                  </a:lnTo>
                  <a:lnTo>
                    <a:pt x="643" y="351"/>
                  </a:lnTo>
                  <a:lnTo>
                    <a:pt x="647" y="351"/>
                  </a:lnTo>
                  <a:lnTo>
                    <a:pt x="647" y="355"/>
                  </a:lnTo>
                  <a:lnTo>
                    <a:pt x="643" y="355"/>
                  </a:lnTo>
                  <a:lnTo>
                    <a:pt x="639" y="355"/>
                  </a:lnTo>
                  <a:lnTo>
                    <a:pt x="639" y="351"/>
                  </a:lnTo>
                  <a:lnTo>
                    <a:pt x="639" y="355"/>
                  </a:lnTo>
                  <a:lnTo>
                    <a:pt x="643" y="355"/>
                  </a:lnTo>
                  <a:lnTo>
                    <a:pt x="639" y="351"/>
                  </a:lnTo>
                  <a:lnTo>
                    <a:pt x="635" y="347"/>
                  </a:lnTo>
                  <a:close/>
                  <a:moveTo>
                    <a:pt x="375" y="339"/>
                  </a:moveTo>
                  <a:lnTo>
                    <a:pt x="379" y="339"/>
                  </a:lnTo>
                  <a:lnTo>
                    <a:pt x="383" y="339"/>
                  </a:lnTo>
                  <a:lnTo>
                    <a:pt x="383" y="343"/>
                  </a:lnTo>
                  <a:lnTo>
                    <a:pt x="379" y="343"/>
                  </a:lnTo>
                  <a:lnTo>
                    <a:pt x="379" y="339"/>
                  </a:lnTo>
                  <a:lnTo>
                    <a:pt x="375" y="339"/>
                  </a:lnTo>
                  <a:close/>
                  <a:moveTo>
                    <a:pt x="631" y="339"/>
                  </a:moveTo>
                  <a:lnTo>
                    <a:pt x="635" y="339"/>
                  </a:lnTo>
                  <a:lnTo>
                    <a:pt x="635" y="343"/>
                  </a:lnTo>
                  <a:lnTo>
                    <a:pt x="631" y="343"/>
                  </a:lnTo>
                  <a:lnTo>
                    <a:pt x="631" y="339"/>
                  </a:lnTo>
                  <a:close/>
                  <a:moveTo>
                    <a:pt x="371" y="351"/>
                  </a:moveTo>
                  <a:lnTo>
                    <a:pt x="371" y="347"/>
                  </a:lnTo>
                  <a:lnTo>
                    <a:pt x="367" y="347"/>
                  </a:lnTo>
                  <a:lnTo>
                    <a:pt x="371" y="343"/>
                  </a:lnTo>
                  <a:lnTo>
                    <a:pt x="371" y="347"/>
                  </a:lnTo>
                  <a:lnTo>
                    <a:pt x="371" y="351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5" y="343"/>
                  </a:lnTo>
                  <a:lnTo>
                    <a:pt x="379" y="343"/>
                  </a:lnTo>
                  <a:lnTo>
                    <a:pt x="383" y="343"/>
                  </a:lnTo>
                  <a:lnTo>
                    <a:pt x="383" y="347"/>
                  </a:lnTo>
                  <a:lnTo>
                    <a:pt x="383" y="343"/>
                  </a:lnTo>
                  <a:lnTo>
                    <a:pt x="387" y="343"/>
                  </a:lnTo>
                  <a:lnTo>
                    <a:pt x="391" y="343"/>
                  </a:lnTo>
                  <a:lnTo>
                    <a:pt x="391" y="347"/>
                  </a:lnTo>
                  <a:lnTo>
                    <a:pt x="387" y="347"/>
                  </a:lnTo>
                  <a:lnTo>
                    <a:pt x="391" y="351"/>
                  </a:lnTo>
                  <a:lnTo>
                    <a:pt x="395" y="351"/>
                  </a:lnTo>
                  <a:lnTo>
                    <a:pt x="391" y="351"/>
                  </a:lnTo>
                  <a:lnTo>
                    <a:pt x="391" y="355"/>
                  </a:lnTo>
                  <a:lnTo>
                    <a:pt x="387" y="355"/>
                  </a:lnTo>
                  <a:lnTo>
                    <a:pt x="383" y="351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7" y="355"/>
                  </a:lnTo>
                  <a:lnTo>
                    <a:pt x="387" y="359"/>
                  </a:lnTo>
                  <a:lnTo>
                    <a:pt x="383" y="359"/>
                  </a:lnTo>
                  <a:lnTo>
                    <a:pt x="379" y="355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79" y="359"/>
                  </a:lnTo>
                  <a:lnTo>
                    <a:pt x="375" y="359"/>
                  </a:lnTo>
                  <a:lnTo>
                    <a:pt x="375" y="363"/>
                  </a:lnTo>
                  <a:lnTo>
                    <a:pt x="371" y="363"/>
                  </a:lnTo>
                  <a:lnTo>
                    <a:pt x="371" y="367"/>
                  </a:lnTo>
                  <a:lnTo>
                    <a:pt x="367" y="367"/>
                  </a:lnTo>
                  <a:lnTo>
                    <a:pt x="367" y="371"/>
                  </a:lnTo>
                  <a:lnTo>
                    <a:pt x="363" y="371"/>
                  </a:lnTo>
                  <a:lnTo>
                    <a:pt x="363" y="367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71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63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59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59" y="367"/>
                  </a:lnTo>
                  <a:lnTo>
                    <a:pt x="359" y="363"/>
                  </a:lnTo>
                  <a:lnTo>
                    <a:pt x="359" y="359"/>
                  </a:lnTo>
                  <a:lnTo>
                    <a:pt x="355" y="359"/>
                  </a:lnTo>
                  <a:lnTo>
                    <a:pt x="355" y="355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63" y="351"/>
                  </a:lnTo>
                  <a:lnTo>
                    <a:pt x="367" y="351"/>
                  </a:lnTo>
                  <a:lnTo>
                    <a:pt x="367" y="355"/>
                  </a:lnTo>
                  <a:lnTo>
                    <a:pt x="367" y="359"/>
                  </a:lnTo>
                  <a:lnTo>
                    <a:pt x="371" y="359"/>
                  </a:lnTo>
                  <a:lnTo>
                    <a:pt x="367" y="355"/>
                  </a:lnTo>
                  <a:lnTo>
                    <a:pt x="367" y="351"/>
                  </a:lnTo>
                  <a:lnTo>
                    <a:pt x="371" y="351"/>
                  </a:lnTo>
                  <a:close/>
                  <a:moveTo>
                    <a:pt x="375" y="343"/>
                  </a:moveTo>
                  <a:lnTo>
                    <a:pt x="379" y="343"/>
                  </a:lnTo>
                  <a:lnTo>
                    <a:pt x="379" y="347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1" y="343"/>
                  </a:lnTo>
                  <a:lnTo>
                    <a:pt x="375" y="343"/>
                  </a:lnTo>
                  <a:close/>
                  <a:moveTo>
                    <a:pt x="658" y="375"/>
                  </a:moveTo>
                  <a:lnTo>
                    <a:pt x="658" y="379"/>
                  </a:lnTo>
                  <a:lnTo>
                    <a:pt x="658" y="383"/>
                  </a:lnTo>
                  <a:lnTo>
                    <a:pt x="654" y="379"/>
                  </a:lnTo>
                  <a:lnTo>
                    <a:pt x="654" y="375"/>
                  </a:lnTo>
                  <a:lnTo>
                    <a:pt x="654" y="371"/>
                  </a:lnTo>
                  <a:lnTo>
                    <a:pt x="651" y="375"/>
                  </a:lnTo>
                  <a:lnTo>
                    <a:pt x="651" y="371"/>
                  </a:lnTo>
                  <a:lnTo>
                    <a:pt x="647" y="367"/>
                  </a:lnTo>
                  <a:lnTo>
                    <a:pt x="647" y="363"/>
                  </a:lnTo>
                  <a:lnTo>
                    <a:pt x="647" y="359"/>
                  </a:lnTo>
                  <a:lnTo>
                    <a:pt x="643" y="359"/>
                  </a:lnTo>
                  <a:lnTo>
                    <a:pt x="643" y="355"/>
                  </a:lnTo>
                  <a:lnTo>
                    <a:pt x="647" y="355"/>
                  </a:lnTo>
                  <a:lnTo>
                    <a:pt x="647" y="351"/>
                  </a:lnTo>
                  <a:lnTo>
                    <a:pt x="651" y="355"/>
                  </a:lnTo>
                  <a:lnTo>
                    <a:pt x="654" y="355"/>
                  </a:lnTo>
                  <a:lnTo>
                    <a:pt x="654" y="359"/>
                  </a:lnTo>
                  <a:lnTo>
                    <a:pt x="658" y="363"/>
                  </a:lnTo>
                  <a:lnTo>
                    <a:pt x="658" y="367"/>
                  </a:lnTo>
                  <a:lnTo>
                    <a:pt x="658" y="371"/>
                  </a:lnTo>
                  <a:lnTo>
                    <a:pt x="658" y="375"/>
                  </a:lnTo>
                  <a:close/>
                  <a:moveTo>
                    <a:pt x="654" y="355"/>
                  </a:moveTo>
                  <a:lnTo>
                    <a:pt x="658" y="355"/>
                  </a:lnTo>
                  <a:lnTo>
                    <a:pt x="654" y="359"/>
                  </a:lnTo>
                  <a:lnTo>
                    <a:pt x="654" y="355"/>
                  </a:lnTo>
                  <a:close/>
                  <a:moveTo>
                    <a:pt x="643" y="359"/>
                  </a:moveTo>
                  <a:lnTo>
                    <a:pt x="647" y="359"/>
                  </a:lnTo>
                  <a:lnTo>
                    <a:pt x="647" y="363"/>
                  </a:lnTo>
                  <a:lnTo>
                    <a:pt x="643" y="363"/>
                  </a:lnTo>
                  <a:lnTo>
                    <a:pt x="643" y="367"/>
                  </a:lnTo>
                  <a:lnTo>
                    <a:pt x="643" y="363"/>
                  </a:lnTo>
                  <a:lnTo>
                    <a:pt x="643" y="359"/>
                  </a:lnTo>
                  <a:lnTo>
                    <a:pt x="639" y="359"/>
                  </a:lnTo>
                  <a:lnTo>
                    <a:pt x="643" y="359"/>
                  </a:lnTo>
                  <a:close/>
                  <a:moveTo>
                    <a:pt x="383" y="363"/>
                  </a:moveTo>
                  <a:lnTo>
                    <a:pt x="379" y="363"/>
                  </a:lnTo>
                  <a:lnTo>
                    <a:pt x="375" y="363"/>
                  </a:lnTo>
                  <a:lnTo>
                    <a:pt x="375" y="367"/>
                  </a:lnTo>
                  <a:lnTo>
                    <a:pt x="375" y="363"/>
                  </a:lnTo>
                  <a:lnTo>
                    <a:pt x="375" y="359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83" y="363"/>
                  </a:lnTo>
                  <a:close/>
                  <a:moveTo>
                    <a:pt x="682" y="367"/>
                  </a:moveTo>
                  <a:lnTo>
                    <a:pt x="686" y="367"/>
                  </a:lnTo>
                  <a:lnTo>
                    <a:pt x="682" y="371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67"/>
                  </a:lnTo>
                  <a:lnTo>
                    <a:pt x="678" y="371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4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66" y="363"/>
                  </a:lnTo>
                  <a:lnTo>
                    <a:pt x="670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78" y="367"/>
                  </a:lnTo>
                  <a:lnTo>
                    <a:pt x="682" y="363"/>
                  </a:lnTo>
                  <a:lnTo>
                    <a:pt x="682" y="367"/>
                  </a:lnTo>
                  <a:close/>
                  <a:moveTo>
                    <a:pt x="670" y="383"/>
                  </a:moveTo>
                  <a:lnTo>
                    <a:pt x="670" y="379"/>
                  </a:lnTo>
                  <a:lnTo>
                    <a:pt x="670" y="383"/>
                  </a:lnTo>
                  <a:lnTo>
                    <a:pt x="670" y="387"/>
                  </a:lnTo>
                  <a:lnTo>
                    <a:pt x="666" y="387"/>
                  </a:lnTo>
                  <a:lnTo>
                    <a:pt x="666" y="383"/>
                  </a:lnTo>
                  <a:lnTo>
                    <a:pt x="666" y="387"/>
                  </a:lnTo>
                  <a:lnTo>
                    <a:pt x="662" y="383"/>
                  </a:lnTo>
                  <a:lnTo>
                    <a:pt x="666" y="383"/>
                  </a:lnTo>
                  <a:lnTo>
                    <a:pt x="662" y="379"/>
                  </a:lnTo>
                  <a:lnTo>
                    <a:pt x="666" y="379"/>
                  </a:lnTo>
                  <a:lnTo>
                    <a:pt x="666" y="375"/>
                  </a:lnTo>
                  <a:lnTo>
                    <a:pt x="662" y="375"/>
                  </a:lnTo>
                  <a:lnTo>
                    <a:pt x="662" y="371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70" y="367"/>
                  </a:lnTo>
                  <a:lnTo>
                    <a:pt x="670" y="371"/>
                  </a:lnTo>
                  <a:lnTo>
                    <a:pt x="670" y="375"/>
                  </a:lnTo>
                  <a:lnTo>
                    <a:pt x="666" y="375"/>
                  </a:lnTo>
                  <a:lnTo>
                    <a:pt x="670" y="375"/>
                  </a:lnTo>
                  <a:lnTo>
                    <a:pt x="670" y="371"/>
                  </a:lnTo>
                  <a:lnTo>
                    <a:pt x="674" y="371"/>
                  </a:lnTo>
                  <a:lnTo>
                    <a:pt x="674" y="375"/>
                  </a:lnTo>
                  <a:lnTo>
                    <a:pt x="670" y="375"/>
                  </a:lnTo>
                  <a:lnTo>
                    <a:pt x="670" y="379"/>
                  </a:lnTo>
                  <a:lnTo>
                    <a:pt x="670" y="383"/>
                  </a:lnTo>
                  <a:close/>
                  <a:moveTo>
                    <a:pt x="686" y="371"/>
                  </a:moveTo>
                  <a:lnTo>
                    <a:pt x="690" y="371"/>
                  </a:lnTo>
                  <a:lnTo>
                    <a:pt x="690" y="375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6" y="375"/>
                  </a:lnTo>
                  <a:lnTo>
                    <a:pt x="686" y="371"/>
                  </a:lnTo>
                  <a:close/>
                  <a:moveTo>
                    <a:pt x="359" y="375"/>
                  </a:moveTo>
                  <a:lnTo>
                    <a:pt x="355" y="379"/>
                  </a:lnTo>
                  <a:lnTo>
                    <a:pt x="355" y="375"/>
                  </a:lnTo>
                  <a:lnTo>
                    <a:pt x="359" y="375"/>
                  </a:lnTo>
                  <a:close/>
                  <a:moveTo>
                    <a:pt x="315" y="375"/>
                  </a:moveTo>
                  <a:lnTo>
                    <a:pt x="319" y="375"/>
                  </a:lnTo>
                  <a:lnTo>
                    <a:pt x="315" y="375"/>
                  </a:lnTo>
                  <a:close/>
                  <a:moveTo>
                    <a:pt x="698" y="387"/>
                  </a:moveTo>
                  <a:lnTo>
                    <a:pt x="698" y="383"/>
                  </a:lnTo>
                  <a:lnTo>
                    <a:pt x="694" y="383"/>
                  </a:lnTo>
                  <a:lnTo>
                    <a:pt x="694" y="379"/>
                  </a:lnTo>
                  <a:lnTo>
                    <a:pt x="698" y="379"/>
                  </a:lnTo>
                  <a:lnTo>
                    <a:pt x="698" y="383"/>
                  </a:lnTo>
                  <a:lnTo>
                    <a:pt x="698" y="387"/>
                  </a:lnTo>
                  <a:close/>
                  <a:moveTo>
                    <a:pt x="686" y="383"/>
                  </a:moveTo>
                  <a:lnTo>
                    <a:pt x="682" y="379"/>
                  </a:lnTo>
                  <a:lnTo>
                    <a:pt x="686" y="379"/>
                  </a:lnTo>
                  <a:lnTo>
                    <a:pt x="690" y="379"/>
                  </a:lnTo>
                  <a:lnTo>
                    <a:pt x="690" y="383"/>
                  </a:lnTo>
                  <a:lnTo>
                    <a:pt x="686" y="383"/>
                  </a:lnTo>
                  <a:close/>
                  <a:moveTo>
                    <a:pt x="694" y="391"/>
                  </a:moveTo>
                  <a:lnTo>
                    <a:pt x="690" y="391"/>
                  </a:lnTo>
                  <a:lnTo>
                    <a:pt x="694" y="387"/>
                  </a:lnTo>
                  <a:lnTo>
                    <a:pt x="690" y="387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94" y="379"/>
                  </a:lnTo>
                  <a:lnTo>
                    <a:pt x="694" y="383"/>
                  </a:lnTo>
                  <a:lnTo>
                    <a:pt x="698" y="387"/>
                  </a:lnTo>
                  <a:lnTo>
                    <a:pt x="698" y="391"/>
                  </a:lnTo>
                  <a:lnTo>
                    <a:pt x="694" y="391"/>
                  </a:lnTo>
                  <a:close/>
                  <a:moveTo>
                    <a:pt x="694" y="403"/>
                  </a:moveTo>
                  <a:lnTo>
                    <a:pt x="694" y="399"/>
                  </a:lnTo>
                  <a:lnTo>
                    <a:pt x="690" y="399"/>
                  </a:lnTo>
                  <a:lnTo>
                    <a:pt x="694" y="403"/>
                  </a:lnTo>
                  <a:lnTo>
                    <a:pt x="698" y="407"/>
                  </a:lnTo>
                  <a:lnTo>
                    <a:pt x="694" y="407"/>
                  </a:lnTo>
                  <a:lnTo>
                    <a:pt x="698" y="407"/>
                  </a:lnTo>
                  <a:lnTo>
                    <a:pt x="698" y="411"/>
                  </a:lnTo>
                  <a:lnTo>
                    <a:pt x="694" y="411"/>
                  </a:lnTo>
                  <a:lnTo>
                    <a:pt x="698" y="411"/>
                  </a:lnTo>
                  <a:lnTo>
                    <a:pt x="698" y="415"/>
                  </a:lnTo>
                  <a:lnTo>
                    <a:pt x="698" y="419"/>
                  </a:lnTo>
                  <a:lnTo>
                    <a:pt x="694" y="419"/>
                  </a:lnTo>
                  <a:lnTo>
                    <a:pt x="694" y="415"/>
                  </a:lnTo>
                  <a:lnTo>
                    <a:pt x="690" y="411"/>
                  </a:lnTo>
                  <a:lnTo>
                    <a:pt x="690" y="415"/>
                  </a:lnTo>
                  <a:lnTo>
                    <a:pt x="690" y="411"/>
                  </a:lnTo>
                  <a:lnTo>
                    <a:pt x="690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78" y="407"/>
                  </a:lnTo>
                  <a:lnTo>
                    <a:pt x="678" y="403"/>
                  </a:lnTo>
                  <a:lnTo>
                    <a:pt x="682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2" y="399"/>
                  </a:lnTo>
                  <a:lnTo>
                    <a:pt x="678" y="399"/>
                  </a:lnTo>
                  <a:lnTo>
                    <a:pt x="678" y="395"/>
                  </a:lnTo>
                  <a:lnTo>
                    <a:pt x="682" y="391"/>
                  </a:lnTo>
                  <a:lnTo>
                    <a:pt x="678" y="391"/>
                  </a:lnTo>
                  <a:lnTo>
                    <a:pt x="678" y="383"/>
                  </a:lnTo>
                  <a:lnTo>
                    <a:pt x="674" y="383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82" y="379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86" y="387"/>
                  </a:lnTo>
                  <a:lnTo>
                    <a:pt x="690" y="391"/>
                  </a:lnTo>
                  <a:lnTo>
                    <a:pt x="690" y="395"/>
                  </a:lnTo>
                  <a:lnTo>
                    <a:pt x="694" y="395"/>
                  </a:lnTo>
                  <a:lnTo>
                    <a:pt x="694" y="399"/>
                  </a:lnTo>
                  <a:lnTo>
                    <a:pt x="698" y="399"/>
                  </a:lnTo>
                  <a:lnTo>
                    <a:pt x="698" y="403"/>
                  </a:lnTo>
                  <a:lnTo>
                    <a:pt x="694" y="403"/>
                  </a:lnTo>
                  <a:close/>
                  <a:moveTo>
                    <a:pt x="678" y="387"/>
                  </a:moveTo>
                  <a:lnTo>
                    <a:pt x="674" y="391"/>
                  </a:lnTo>
                  <a:lnTo>
                    <a:pt x="670" y="391"/>
                  </a:lnTo>
                  <a:lnTo>
                    <a:pt x="674" y="387"/>
                  </a:lnTo>
                  <a:lnTo>
                    <a:pt x="678" y="383"/>
                  </a:lnTo>
                  <a:lnTo>
                    <a:pt x="678" y="387"/>
                  </a:lnTo>
                  <a:close/>
                  <a:moveTo>
                    <a:pt x="706" y="407"/>
                  </a:moveTo>
                  <a:lnTo>
                    <a:pt x="706" y="403"/>
                  </a:lnTo>
                  <a:lnTo>
                    <a:pt x="710" y="403"/>
                  </a:lnTo>
                  <a:lnTo>
                    <a:pt x="710" y="399"/>
                  </a:lnTo>
                  <a:lnTo>
                    <a:pt x="710" y="395"/>
                  </a:lnTo>
                  <a:lnTo>
                    <a:pt x="706" y="399"/>
                  </a:lnTo>
                  <a:lnTo>
                    <a:pt x="710" y="399"/>
                  </a:lnTo>
                  <a:lnTo>
                    <a:pt x="710" y="403"/>
                  </a:lnTo>
                  <a:lnTo>
                    <a:pt x="706" y="403"/>
                  </a:lnTo>
                  <a:lnTo>
                    <a:pt x="706" y="399"/>
                  </a:lnTo>
                  <a:lnTo>
                    <a:pt x="706" y="403"/>
                  </a:lnTo>
                  <a:lnTo>
                    <a:pt x="706" y="407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2" y="395"/>
                  </a:lnTo>
                  <a:lnTo>
                    <a:pt x="702" y="391"/>
                  </a:lnTo>
                  <a:lnTo>
                    <a:pt x="706" y="391"/>
                  </a:lnTo>
                  <a:lnTo>
                    <a:pt x="710" y="391"/>
                  </a:lnTo>
                  <a:lnTo>
                    <a:pt x="714" y="391"/>
                  </a:lnTo>
                  <a:lnTo>
                    <a:pt x="714" y="395"/>
                  </a:lnTo>
                  <a:lnTo>
                    <a:pt x="714" y="399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10" y="403"/>
                  </a:lnTo>
                  <a:lnTo>
                    <a:pt x="710" y="407"/>
                  </a:lnTo>
                  <a:lnTo>
                    <a:pt x="706" y="407"/>
                  </a:lnTo>
                  <a:close/>
                  <a:moveTo>
                    <a:pt x="666" y="391"/>
                  </a:moveTo>
                  <a:lnTo>
                    <a:pt x="662" y="391"/>
                  </a:lnTo>
                  <a:lnTo>
                    <a:pt x="666" y="391"/>
                  </a:lnTo>
                  <a:close/>
                  <a:moveTo>
                    <a:pt x="292" y="391"/>
                  </a:moveTo>
                  <a:lnTo>
                    <a:pt x="296" y="391"/>
                  </a:lnTo>
                  <a:lnTo>
                    <a:pt x="292" y="395"/>
                  </a:lnTo>
                  <a:lnTo>
                    <a:pt x="292" y="391"/>
                  </a:lnTo>
                  <a:close/>
                  <a:moveTo>
                    <a:pt x="678" y="395"/>
                  </a:moveTo>
                  <a:lnTo>
                    <a:pt x="674" y="395"/>
                  </a:lnTo>
                  <a:lnTo>
                    <a:pt x="674" y="391"/>
                  </a:lnTo>
                  <a:lnTo>
                    <a:pt x="678" y="395"/>
                  </a:lnTo>
                  <a:close/>
                  <a:moveTo>
                    <a:pt x="678" y="399"/>
                  </a:moveTo>
                  <a:lnTo>
                    <a:pt x="678" y="403"/>
                  </a:lnTo>
                  <a:lnTo>
                    <a:pt x="678" y="399"/>
                  </a:lnTo>
                  <a:close/>
                  <a:moveTo>
                    <a:pt x="674" y="403"/>
                  </a:moveTo>
                  <a:lnTo>
                    <a:pt x="670" y="403"/>
                  </a:lnTo>
                  <a:lnTo>
                    <a:pt x="670" y="399"/>
                  </a:lnTo>
                  <a:lnTo>
                    <a:pt x="674" y="399"/>
                  </a:lnTo>
                  <a:lnTo>
                    <a:pt x="674" y="403"/>
                  </a:lnTo>
                  <a:close/>
                  <a:moveTo>
                    <a:pt x="674" y="399"/>
                  </a:moveTo>
                  <a:lnTo>
                    <a:pt x="678" y="399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399"/>
                  </a:lnTo>
                  <a:close/>
                  <a:moveTo>
                    <a:pt x="678" y="403"/>
                  </a:moveTo>
                  <a:lnTo>
                    <a:pt x="674" y="403"/>
                  </a:lnTo>
                  <a:lnTo>
                    <a:pt x="674" y="407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02" y="403"/>
                  </a:moveTo>
                  <a:lnTo>
                    <a:pt x="706" y="407"/>
                  </a:lnTo>
                  <a:lnTo>
                    <a:pt x="702" y="407"/>
                  </a:lnTo>
                  <a:lnTo>
                    <a:pt x="702" y="403"/>
                  </a:lnTo>
                  <a:close/>
                  <a:moveTo>
                    <a:pt x="264" y="403"/>
                  </a:moveTo>
                  <a:lnTo>
                    <a:pt x="268" y="403"/>
                  </a:lnTo>
                  <a:lnTo>
                    <a:pt x="268" y="407"/>
                  </a:lnTo>
                  <a:lnTo>
                    <a:pt x="264" y="407"/>
                  </a:lnTo>
                  <a:lnTo>
                    <a:pt x="264" y="411"/>
                  </a:lnTo>
                  <a:lnTo>
                    <a:pt x="264" y="407"/>
                  </a:lnTo>
                  <a:lnTo>
                    <a:pt x="264" y="403"/>
                  </a:lnTo>
                  <a:close/>
                  <a:moveTo>
                    <a:pt x="272" y="403"/>
                  </a:moveTo>
                  <a:lnTo>
                    <a:pt x="272" y="407"/>
                  </a:lnTo>
                  <a:lnTo>
                    <a:pt x="268" y="407"/>
                  </a:lnTo>
                  <a:lnTo>
                    <a:pt x="268" y="403"/>
                  </a:lnTo>
                  <a:lnTo>
                    <a:pt x="272" y="403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8" y="403"/>
                  </a:lnTo>
                  <a:close/>
                  <a:moveTo>
                    <a:pt x="276" y="407"/>
                  </a:moveTo>
                  <a:lnTo>
                    <a:pt x="276" y="411"/>
                  </a:lnTo>
                  <a:lnTo>
                    <a:pt x="272" y="411"/>
                  </a:lnTo>
                  <a:lnTo>
                    <a:pt x="272" y="415"/>
                  </a:lnTo>
                  <a:lnTo>
                    <a:pt x="272" y="411"/>
                  </a:lnTo>
                  <a:lnTo>
                    <a:pt x="272" y="407"/>
                  </a:lnTo>
                  <a:lnTo>
                    <a:pt x="276" y="407"/>
                  </a:lnTo>
                  <a:lnTo>
                    <a:pt x="276" y="411"/>
                  </a:lnTo>
                  <a:lnTo>
                    <a:pt x="276" y="407"/>
                  </a:lnTo>
                  <a:close/>
                  <a:moveTo>
                    <a:pt x="706" y="407"/>
                  </a:moveTo>
                  <a:lnTo>
                    <a:pt x="710" y="411"/>
                  </a:lnTo>
                  <a:lnTo>
                    <a:pt x="706" y="411"/>
                  </a:lnTo>
                  <a:lnTo>
                    <a:pt x="706" y="407"/>
                  </a:lnTo>
                  <a:close/>
                  <a:moveTo>
                    <a:pt x="682" y="407"/>
                  </a:moveTo>
                  <a:lnTo>
                    <a:pt x="682" y="411"/>
                  </a:lnTo>
                  <a:lnTo>
                    <a:pt x="686" y="415"/>
                  </a:lnTo>
                  <a:lnTo>
                    <a:pt x="686" y="419"/>
                  </a:lnTo>
                  <a:lnTo>
                    <a:pt x="690" y="419"/>
                  </a:lnTo>
                  <a:lnTo>
                    <a:pt x="686" y="419"/>
                  </a:lnTo>
                  <a:lnTo>
                    <a:pt x="686" y="415"/>
                  </a:lnTo>
                  <a:lnTo>
                    <a:pt x="682" y="415"/>
                  </a:lnTo>
                  <a:lnTo>
                    <a:pt x="682" y="411"/>
                  </a:lnTo>
                  <a:lnTo>
                    <a:pt x="678" y="411"/>
                  </a:lnTo>
                  <a:lnTo>
                    <a:pt x="682" y="407"/>
                  </a:lnTo>
                  <a:close/>
                  <a:moveTo>
                    <a:pt x="284" y="407"/>
                  </a:moveTo>
                  <a:lnTo>
                    <a:pt x="284" y="411"/>
                  </a:lnTo>
                  <a:lnTo>
                    <a:pt x="280" y="411"/>
                  </a:lnTo>
                  <a:lnTo>
                    <a:pt x="284" y="407"/>
                  </a:lnTo>
                  <a:close/>
                  <a:moveTo>
                    <a:pt x="686" y="407"/>
                  </a:moveTo>
                  <a:lnTo>
                    <a:pt x="686" y="411"/>
                  </a:lnTo>
                  <a:lnTo>
                    <a:pt x="690" y="411"/>
                  </a:lnTo>
                  <a:lnTo>
                    <a:pt x="686" y="411"/>
                  </a:lnTo>
                  <a:lnTo>
                    <a:pt x="686" y="407"/>
                  </a:lnTo>
                  <a:close/>
                  <a:moveTo>
                    <a:pt x="248" y="407"/>
                  </a:moveTo>
                  <a:lnTo>
                    <a:pt x="252" y="407"/>
                  </a:lnTo>
                  <a:lnTo>
                    <a:pt x="252" y="411"/>
                  </a:lnTo>
                  <a:lnTo>
                    <a:pt x="248" y="411"/>
                  </a:lnTo>
                  <a:lnTo>
                    <a:pt x="248" y="407"/>
                  </a:lnTo>
                  <a:close/>
                  <a:moveTo>
                    <a:pt x="284" y="411"/>
                  </a:moveTo>
                  <a:lnTo>
                    <a:pt x="284" y="415"/>
                  </a:lnTo>
                  <a:lnTo>
                    <a:pt x="284" y="411"/>
                  </a:lnTo>
                  <a:close/>
                  <a:moveTo>
                    <a:pt x="212" y="423"/>
                  </a:moveTo>
                  <a:lnTo>
                    <a:pt x="208" y="423"/>
                  </a:lnTo>
                  <a:lnTo>
                    <a:pt x="208" y="427"/>
                  </a:lnTo>
                  <a:lnTo>
                    <a:pt x="204" y="427"/>
                  </a:lnTo>
                  <a:lnTo>
                    <a:pt x="200" y="427"/>
                  </a:lnTo>
                  <a:lnTo>
                    <a:pt x="200" y="423"/>
                  </a:lnTo>
                  <a:lnTo>
                    <a:pt x="200" y="419"/>
                  </a:lnTo>
                  <a:lnTo>
                    <a:pt x="204" y="419"/>
                  </a:lnTo>
                  <a:lnTo>
                    <a:pt x="208" y="415"/>
                  </a:lnTo>
                  <a:lnTo>
                    <a:pt x="212" y="415"/>
                  </a:lnTo>
                  <a:lnTo>
                    <a:pt x="216" y="411"/>
                  </a:lnTo>
                  <a:lnTo>
                    <a:pt x="220" y="411"/>
                  </a:lnTo>
                  <a:lnTo>
                    <a:pt x="224" y="415"/>
                  </a:lnTo>
                  <a:lnTo>
                    <a:pt x="224" y="419"/>
                  </a:lnTo>
                  <a:lnTo>
                    <a:pt x="228" y="419"/>
                  </a:lnTo>
                  <a:lnTo>
                    <a:pt x="224" y="419"/>
                  </a:lnTo>
                  <a:lnTo>
                    <a:pt x="220" y="419"/>
                  </a:lnTo>
                  <a:lnTo>
                    <a:pt x="220" y="423"/>
                  </a:lnTo>
                  <a:lnTo>
                    <a:pt x="220" y="419"/>
                  </a:lnTo>
                  <a:lnTo>
                    <a:pt x="216" y="419"/>
                  </a:lnTo>
                  <a:lnTo>
                    <a:pt x="212" y="419"/>
                  </a:lnTo>
                  <a:lnTo>
                    <a:pt x="212" y="423"/>
                  </a:lnTo>
                  <a:close/>
                  <a:moveTo>
                    <a:pt x="710" y="411"/>
                  </a:moveTo>
                  <a:lnTo>
                    <a:pt x="710" y="415"/>
                  </a:lnTo>
                  <a:lnTo>
                    <a:pt x="706" y="415"/>
                  </a:lnTo>
                  <a:lnTo>
                    <a:pt x="710" y="411"/>
                  </a:lnTo>
                  <a:close/>
                  <a:moveTo>
                    <a:pt x="690" y="415"/>
                  </a:moveTo>
                  <a:lnTo>
                    <a:pt x="690" y="419"/>
                  </a:lnTo>
                  <a:lnTo>
                    <a:pt x="686" y="415"/>
                  </a:lnTo>
                  <a:lnTo>
                    <a:pt x="690" y="415"/>
                  </a:lnTo>
                  <a:close/>
                  <a:moveTo>
                    <a:pt x="232" y="423"/>
                  </a:moveTo>
                  <a:lnTo>
                    <a:pt x="236" y="423"/>
                  </a:lnTo>
                  <a:lnTo>
                    <a:pt x="236" y="427"/>
                  </a:lnTo>
                  <a:lnTo>
                    <a:pt x="232" y="427"/>
                  </a:lnTo>
                  <a:lnTo>
                    <a:pt x="232" y="423"/>
                  </a:lnTo>
                  <a:close/>
                  <a:moveTo>
                    <a:pt x="192" y="431"/>
                  </a:moveTo>
                  <a:lnTo>
                    <a:pt x="188" y="431"/>
                  </a:lnTo>
                  <a:lnTo>
                    <a:pt x="188" y="427"/>
                  </a:lnTo>
                  <a:lnTo>
                    <a:pt x="192" y="427"/>
                  </a:lnTo>
                  <a:lnTo>
                    <a:pt x="192" y="431"/>
                  </a:lnTo>
                  <a:close/>
                  <a:moveTo>
                    <a:pt x="184" y="435"/>
                  </a:moveTo>
                  <a:lnTo>
                    <a:pt x="184" y="431"/>
                  </a:lnTo>
                  <a:lnTo>
                    <a:pt x="188" y="431"/>
                  </a:lnTo>
                  <a:lnTo>
                    <a:pt x="188" y="435"/>
                  </a:lnTo>
                  <a:lnTo>
                    <a:pt x="184" y="435"/>
                  </a:lnTo>
                  <a:close/>
                  <a:moveTo>
                    <a:pt x="200" y="431"/>
                  </a:moveTo>
                  <a:lnTo>
                    <a:pt x="200" y="435"/>
                  </a:lnTo>
                  <a:lnTo>
                    <a:pt x="196" y="435"/>
                  </a:lnTo>
                  <a:lnTo>
                    <a:pt x="196" y="431"/>
                  </a:lnTo>
                  <a:lnTo>
                    <a:pt x="200" y="431"/>
                  </a:lnTo>
                  <a:close/>
                  <a:moveTo>
                    <a:pt x="168" y="443"/>
                  </a:moveTo>
                  <a:lnTo>
                    <a:pt x="172" y="443"/>
                  </a:lnTo>
                  <a:lnTo>
                    <a:pt x="168" y="439"/>
                  </a:lnTo>
                  <a:lnTo>
                    <a:pt x="168" y="435"/>
                  </a:lnTo>
                  <a:lnTo>
                    <a:pt x="172" y="435"/>
                  </a:lnTo>
                  <a:lnTo>
                    <a:pt x="176" y="435"/>
                  </a:lnTo>
                  <a:lnTo>
                    <a:pt x="176" y="439"/>
                  </a:lnTo>
                  <a:lnTo>
                    <a:pt x="176" y="435"/>
                  </a:lnTo>
                  <a:lnTo>
                    <a:pt x="180" y="435"/>
                  </a:lnTo>
                  <a:lnTo>
                    <a:pt x="180" y="439"/>
                  </a:lnTo>
                  <a:lnTo>
                    <a:pt x="176" y="439"/>
                  </a:lnTo>
                  <a:lnTo>
                    <a:pt x="176" y="443"/>
                  </a:lnTo>
                  <a:lnTo>
                    <a:pt x="176" y="439"/>
                  </a:lnTo>
                  <a:lnTo>
                    <a:pt x="180" y="439"/>
                  </a:lnTo>
                  <a:lnTo>
                    <a:pt x="180" y="443"/>
                  </a:lnTo>
                  <a:lnTo>
                    <a:pt x="176" y="443"/>
                  </a:lnTo>
                  <a:lnTo>
                    <a:pt x="176" y="447"/>
                  </a:lnTo>
                  <a:lnTo>
                    <a:pt x="172" y="447"/>
                  </a:lnTo>
                  <a:lnTo>
                    <a:pt x="168" y="447"/>
                  </a:lnTo>
                  <a:lnTo>
                    <a:pt x="164" y="451"/>
                  </a:lnTo>
                  <a:lnTo>
                    <a:pt x="160" y="451"/>
                  </a:lnTo>
                  <a:lnTo>
                    <a:pt x="156" y="451"/>
                  </a:lnTo>
                  <a:lnTo>
                    <a:pt x="160" y="451"/>
                  </a:lnTo>
                  <a:lnTo>
                    <a:pt x="160" y="447"/>
                  </a:lnTo>
                  <a:lnTo>
                    <a:pt x="164" y="447"/>
                  </a:lnTo>
                  <a:lnTo>
                    <a:pt x="168" y="447"/>
                  </a:lnTo>
                  <a:lnTo>
                    <a:pt x="168" y="443"/>
                  </a:lnTo>
                  <a:close/>
                  <a:moveTo>
                    <a:pt x="180" y="443"/>
                  </a:moveTo>
                  <a:lnTo>
                    <a:pt x="180" y="439"/>
                  </a:lnTo>
                  <a:lnTo>
                    <a:pt x="184" y="439"/>
                  </a:lnTo>
                  <a:lnTo>
                    <a:pt x="180" y="443"/>
                  </a:lnTo>
                  <a:close/>
                  <a:moveTo>
                    <a:pt x="156" y="447"/>
                  </a:moveTo>
                  <a:lnTo>
                    <a:pt x="156" y="451"/>
                  </a:lnTo>
                  <a:lnTo>
                    <a:pt x="152" y="451"/>
                  </a:lnTo>
                  <a:lnTo>
                    <a:pt x="148" y="451"/>
                  </a:lnTo>
                  <a:lnTo>
                    <a:pt x="148" y="455"/>
                  </a:lnTo>
                  <a:lnTo>
                    <a:pt x="148" y="459"/>
                  </a:lnTo>
                  <a:lnTo>
                    <a:pt x="144" y="459"/>
                  </a:lnTo>
                  <a:lnTo>
                    <a:pt x="140" y="459"/>
                  </a:lnTo>
                  <a:lnTo>
                    <a:pt x="140" y="463"/>
                  </a:lnTo>
                  <a:lnTo>
                    <a:pt x="136" y="463"/>
                  </a:lnTo>
                  <a:lnTo>
                    <a:pt x="140" y="459"/>
                  </a:lnTo>
                  <a:lnTo>
                    <a:pt x="144" y="455"/>
                  </a:lnTo>
                  <a:lnTo>
                    <a:pt x="140" y="455"/>
                  </a:lnTo>
                  <a:lnTo>
                    <a:pt x="144" y="455"/>
                  </a:lnTo>
                  <a:lnTo>
                    <a:pt x="144" y="451"/>
                  </a:lnTo>
                  <a:lnTo>
                    <a:pt x="148" y="451"/>
                  </a:lnTo>
                  <a:lnTo>
                    <a:pt x="148" y="447"/>
                  </a:lnTo>
                  <a:lnTo>
                    <a:pt x="152" y="447"/>
                  </a:lnTo>
                  <a:lnTo>
                    <a:pt x="156" y="447"/>
                  </a:lnTo>
                  <a:close/>
                  <a:moveTo>
                    <a:pt x="5313" y="463"/>
                  </a:moveTo>
                  <a:lnTo>
                    <a:pt x="5313" y="459"/>
                  </a:lnTo>
                  <a:lnTo>
                    <a:pt x="5309" y="463"/>
                  </a:lnTo>
                  <a:lnTo>
                    <a:pt x="5309" y="459"/>
                  </a:lnTo>
                  <a:lnTo>
                    <a:pt x="5313" y="459"/>
                  </a:lnTo>
                  <a:lnTo>
                    <a:pt x="5317" y="459"/>
                  </a:lnTo>
                  <a:lnTo>
                    <a:pt x="5321" y="459"/>
                  </a:lnTo>
                  <a:lnTo>
                    <a:pt x="5321" y="463"/>
                  </a:lnTo>
                  <a:lnTo>
                    <a:pt x="5317" y="463"/>
                  </a:lnTo>
                  <a:lnTo>
                    <a:pt x="5313" y="463"/>
                  </a:lnTo>
                  <a:close/>
                  <a:moveTo>
                    <a:pt x="124" y="463"/>
                  </a:moveTo>
                  <a:lnTo>
                    <a:pt x="128" y="459"/>
                  </a:lnTo>
                  <a:lnTo>
                    <a:pt x="128" y="463"/>
                  </a:lnTo>
                  <a:lnTo>
                    <a:pt x="124" y="463"/>
                  </a:lnTo>
                  <a:close/>
                  <a:moveTo>
                    <a:pt x="112" y="467"/>
                  </a:moveTo>
                  <a:lnTo>
                    <a:pt x="116" y="467"/>
                  </a:lnTo>
                  <a:lnTo>
                    <a:pt x="112" y="467"/>
                  </a:lnTo>
                  <a:close/>
                  <a:moveTo>
                    <a:pt x="5325" y="471"/>
                  </a:moveTo>
                  <a:lnTo>
                    <a:pt x="5321" y="471"/>
                  </a:lnTo>
                  <a:lnTo>
                    <a:pt x="5325" y="471"/>
                  </a:lnTo>
                  <a:close/>
                  <a:moveTo>
                    <a:pt x="48" y="479"/>
                  </a:moveTo>
                  <a:lnTo>
                    <a:pt x="52" y="479"/>
                  </a:lnTo>
                  <a:lnTo>
                    <a:pt x="56" y="479"/>
                  </a:lnTo>
                  <a:lnTo>
                    <a:pt x="56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6" y="471"/>
                  </a:lnTo>
                  <a:lnTo>
                    <a:pt x="60" y="471"/>
                  </a:lnTo>
                  <a:lnTo>
                    <a:pt x="64" y="471"/>
                  </a:lnTo>
                  <a:lnTo>
                    <a:pt x="64" y="475"/>
                  </a:lnTo>
                  <a:lnTo>
                    <a:pt x="60" y="479"/>
                  </a:lnTo>
                  <a:lnTo>
                    <a:pt x="56" y="479"/>
                  </a:lnTo>
                  <a:lnTo>
                    <a:pt x="52" y="479"/>
                  </a:lnTo>
                  <a:lnTo>
                    <a:pt x="48" y="479"/>
                  </a:lnTo>
                  <a:lnTo>
                    <a:pt x="44" y="479"/>
                  </a:lnTo>
                  <a:lnTo>
                    <a:pt x="48" y="479"/>
                  </a:lnTo>
                  <a:close/>
                  <a:moveTo>
                    <a:pt x="84" y="475"/>
                  </a:moveTo>
                  <a:lnTo>
                    <a:pt x="84" y="471"/>
                  </a:lnTo>
                  <a:lnTo>
                    <a:pt x="88" y="471"/>
                  </a:lnTo>
                  <a:lnTo>
                    <a:pt x="88" y="475"/>
                  </a:lnTo>
                  <a:lnTo>
                    <a:pt x="84" y="475"/>
                  </a:lnTo>
                  <a:close/>
                  <a:moveTo>
                    <a:pt x="72" y="479"/>
                  </a:moveTo>
                  <a:lnTo>
                    <a:pt x="68" y="479"/>
                  </a:lnTo>
                  <a:lnTo>
                    <a:pt x="64" y="479"/>
                  </a:lnTo>
                  <a:lnTo>
                    <a:pt x="60" y="479"/>
                  </a:lnTo>
                  <a:lnTo>
                    <a:pt x="64" y="479"/>
                  </a:lnTo>
                  <a:lnTo>
                    <a:pt x="68" y="479"/>
                  </a:lnTo>
                  <a:lnTo>
                    <a:pt x="72" y="479"/>
                  </a:lnTo>
                  <a:lnTo>
                    <a:pt x="76" y="479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2" y="479"/>
                  </a:lnTo>
                  <a:close/>
                  <a:moveTo>
                    <a:pt x="5381" y="483"/>
                  </a:moveTo>
                  <a:lnTo>
                    <a:pt x="5385" y="479"/>
                  </a:lnTo>
                  <a:lnTo>
                    <a:pt x="5385" y="483"/>
                  </a:lnTo>
                  <a:lnTo>
                    <a:pt x="5381" y="483"/>
                  </a:lnTo>
                  <a:close/>
                  <a:moveTo>
                    <a:pt x="32" y="483"/>
                  </a:moveTo>
                  <a:lnTo>
                    <a:pt x="28" y="483"/>
                  </a:lnTo>
                  <a:lnTo>
                    <a:pt x="28" y="479"/>
                  </a:lnTo>
                  <a:lnTo>
                    <a:pt x="32" y="479"/>
                  </a:lnTo>
                  <a:lnTo>
                    <a:pt x="32" y="483"/>
                  </a:lnTo>
                  <a:close/>
                  <a:moveTo>
                    <a:pt x="5417" y="483"/>
                  </a:moveTo>
                  <a:lnTo>
                    <a:pt x="5413" y="483"/>
                  </a:lnTo>
                  <a:lnTo>
                    <a:pt x="5417" y="479"/>
                  </a:lnTo>
                  <a:lnTo>
                    <a:pt x="5417" y="483"/>
                  </a:lnTo>
                  <a:close/>
                  <a:moveTo>
                    <a:pt x="5397" y="483"/>
                  </a:moveTo>
                  <a:lnTo>
                    <a:pt x="5401" y="483"/>
                  </a:lnTo>
                  <a:lnTo>
                    <a:pt x="5397" y="483"/>
                  </a:lnTo>
                  <a:close/>
                  <a:moveTo>
                    <a:pt x="20" y="491"/>
                  </a:moveTo>
                  <a:lnTo>
                    <a:pt x="16" y="491"/>
                  </a:lnTo>
                  <a:lnTo>
                    <a:pt x="16" y="487"/>
                  </a:lnTo>
                  <a:lnTo>
                    <a:pt x="20" y="487"/>
                  </a:lnTo>
                  <a:lnTo>
                    <a:pt x="20" y="483"/>
                  </a:lnTo>
                  <a:lnTo>
                    <a:pt x="24" y="483"/>
                  </a:lnTo>
                  <a:lnTo>
                    <a:pt x="28" y="487"/>
                  </a:lnTo>
                  <a:lnTo>
                    <a:pt x="24" y="487"/>
                  </a:lnTo>
                  <a:lnTo>
                    <a:pt x="20" y="487"/>
                  </a:lnTo>
                  <a:lnTo>
                    <a:pt x="20" y="491"/>
                  </a:lnTo>
                  <a:close/>
                  <a:moveTo>
                    <a:pt x="8" y="487"/>
                  </a:moveTo>
                  <a:lnTo>
                    <a:pt x="12" y="487"/>
                  </a:lnTo>
                  <a:lnTo>
                    <a:pt x="16" y="487"/>
                  </a:lnTo>
                  <a:lnTo>
                    <a:pt x="16" y="483"/>
                  </a:lnTo>
                  <a:lnTo>
                    <a:pt x="16" y="487"/>
                  </a:lnTo>
                  <a:lnTo>
                    <a:pt x="12" y="487"/>
                  </a:lnTo>
                  <a:lnTo>
                    <a:pt x="8" y="487"/>
                  </a:lnTo>
                  <a:close/>
                  <a:moveTo>
                    <a:pt x="4" y="491"/>
                  </a:moveTo>
                  <a:lnTo>
                    <a:pt x="0" y="487"/>
                  </a:lnTo>
                  <a:lnTo>
                    <a:pt x="4" y="487"/>
                  </a:lnTo>
                  <a:lnTo>
                    <a:pt x="0" y="487"/>
                  </a:lnTo>
                  <a:lnTo>
                    <a:pt x="0" y="483"/>
                  </a:lnTo>
                  <a:lnTo>
                    <a:pt x="4" y="483"/>
                  </a:lnTo>
                  <a:lnTo>
                    <a:pt x="4" y="487"/>
                  </a:lnTo>
                  <a:lnTo>
                    <a:pt x="4" y="491"/>
                  </a:lnTo>
                  <a:close/>
                  <a:moveTo>
                    <a:pt x="32" y="487"/>
                  </a:moveTo>
                  <a:lnTo>
                    <a:pt x="28" y="487"/>
                  </a:lnTo>
                  <a:lnTo>
                    <a:pt x="28" y="483"/>
                  </a:lnTo>
                  <a:lnTo>
                    <a:pt x="32" y="483"/>
                  </a:lnTo>
                  <a:lnTo>
                    <a:pt x="32" y="487"/>
                  </a:lnTo>
                  <a:lnTo>
                    <a:pt x="32" y="483"/>
                  </a:lnTo>
                  <a:lnTo>
                    <a:pt x="32" y="487"/>
                  </a:lnTo>
                  <a:close/>
                  <a:moveTo>
                    <a:pt x="28" y="487"/>
                  </a:moveTo>
                  <a:lnTo>
                    <a:pt x="28" y="483"/>
                  </a:lnTo>
                  <a:lnTo>
                    <a:pt x="28" y="487"/>
                  </a:lnTo>
                  <a:close/>
                  <a:moveTo>
                    <a:pt x="5409" y="495"/>
                  </a:moveTo>
                  <a:lnTo>
                    <a:pt x="5405" y="491"/>
                  </a:lnTo>
                  <a:lnTo>
                    <a:pt x="5401" y="491"/>
                  </a:lnTo>
                  <a:lnTo>
                    <a:pt x="5401" y="487"/>
                  </a:lnTo>
                  <a:lnTo>
                    <a:pt x="5401" y="491"/>
                  </a:lnTo>
                  <a:lnTo>
                    <a:pt x="5405" y="491"/>
                  </a:lnTo>
                  <a:lnTo>
                    <a:pt x="5409" y="491"/>
                  </a:lnTo>
                  <a:lnTo>
                    <a:pt x="5409" y="495"/>
                  </a:lnTo>
                  <a:lnTo>
                    <a:pt x="5413" y="495"/>
                  </a:lnTo>
                  <a:lnTo>
                    <a:pt x="5409" y="495"/>
                  </a:lnTo>
                  <a:close/>
                  <a:moveTo>
                    <a:pt x="838" y="555"/>
                  </a:moveTo>
                  <a:lnTo>
                    <a:pt x="838" y="559"/>
                  </a:lnTo>
                  <a:lnTo>
                    <a:pt x="834" y="555"/>
                  </a:lnTo>
                  <a:lnTo>
                    <a:pt x="838" y="555"/>
                  </a:lnTo>
                  <a:close/>
                  <a:moveTo>
                    <a:pt x="838" y="559"/>
                  </a:moveTo>
                  <a:lnTo>
                    <a:pt x="838" y="563"/>
                  </a:lnTo>
                  <a:lnTo>
                    <a:pt x="838" y="559"/>
                  </a:lnTo>
                  <a:lnTo>
                    <a:pt x="834" y="559"/>
                  </a:lnTo>
                  <a:lnTo>
                    <a:pt x="838" y="559"/>
                  </a:lnTo>
                  <a:close/>
                  <a:moveTo>
                    <a:pt x="842" y="563"/>
                  </a:moveTo>
                  <a:lnTo>
                    <a:pt x="842" y="567"/>
                  </a:lnTo>
                  <a:lnTo>
                    <a:pt x="846" y="571"/>
                  </a:lnTo>
                  <a:lnTo>
                    <a:pt x="842" y="571"/>
                  </a:lnTo>
                  <a:lnTo>
                    <a:pt x="842" y="567"/>
                  </a:lnTo>
                  <a:lnTo>
                    <a:pt x="838" y="567"/>
                  </a:lnTo>
                  <a:lnTo>
                    <a:pt x="838" y="563"/>
                  </a:lnTo>
                  <a:lnTo>
                    <a:pt x="842" y="563"/>
                  </a:lnTo>
                  <a:close/>
                  <a:moveTo>
                    <a:pt x="846" y="583"/>
                  </a:moveTo>
                  <a:lnTo>
                    <a:pt x="842" y="583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6" y="583"/>
                  </a:lnTo>
                  <a:close/>
                  <a:moveTo>
                    <a:pt x="1664" y="647"/>
                  </a:moveTo>
                  <a:lnTo>
                    <a:pt x="1664" y="651"/>
                  </a:lnTo>
                  <a:lnTo>
                    <a:pt x="1660" y="651"/>
                  </a:lnTo>
                  <a:lnTo>
                    <a:pt x="1660" y="647"/>
                  </a:lnTo>
                  <a:lnTo>
                    <a:pt x="1664" y="647"/>
                  </a:lnTo>
                  <a:close/>
                  <a:moveTo>
                    <a:pt x="1660" y="651"/>
                  </a:moveTo>
                  <a:lnTo>
                    <a:pt x="1656" y="655"/>
                  </a:lnTo>
                  <a:lnTo>
                    <a:pt x="1656" y="651"/>
                  </a:lnTo>
                  <a:lnTo>
                    <a:pt x="1660" y="651"/>
                  </a:lnTo>
                  <a:close/>
                  <a:moveTo>
                    <a:pt x="1620" y="706"/>
                  </a:moveTo>
                  <a:lnTo>
                    <a:pt x="1620" y="710"/>
                  </a:lnTo>
                  <a:lnTo>
                    <a:pt x="1616" y="710"/>
                  </a:lnTo>
                  <a:lnTo>
                    <a:pt x="1616" y="706"/>
                  </a:lnTo>
                  <a:lnTo>
                    <a:pt x="1620" y="706"/>
                  </a:lnTo>
                  <a:close/>
                  <a:moveTo>
                    <a:pt x="1628" y="710"/>
                  </a:moveTo>
                  <a:lnTo>
                    <a:pt x="1628" y="714"/>
                  </a:lnTo>
                  <a:lnTo>
                    <a:pt x="1624" y="714"/>
                  </a:lnTo>
                  <a:lnTo>
                    <a:pt x="1624" y="710"/>
                  </a:lnTo>
                  <a:lnTo>
                    <a:pt x="1628" y="710"/>
                  </a:lnTo>
                  <a:close/>
                  <a:moveTo>
                    <a:pt x="1636" y="710"/>
                  </a:moveTo>
                  <a:lnTo>
                    <a:pt x="1636" y="714"/>
                  </a:lnTo>
                  <a:lnTo>
                    <a:pt x="1640" y="714"/>
                  </a:lnTo>
                  <a:lnTo>
                    <a:pt x="1636" y="714"/>
                  </a:lnTo>
                  <a:lnTo>
                    <a:pt x="1632" y="714"/>
                  </a:lnTo>
                  <a:lnTo>
                    <a:pt x="1636" y="714"/>
                  </a:lnTo>
                  <a:lnTo>
                    <a:pt x="1636" y="710"/>
                  </a:lnTo>
                  <a:close/>
                  <a:moveTo>
                    <a:pt x="1592" y="726"/>
                  </a:moveTo>
                  <a:lnTo>
                    <a:pt x="1592" y="722"/>
                  </a:lnTo>
                  <a:lnTo>
                    <a:pt x="1592" y="726"/>
                  </a:lnTo>
                  <a:lnTo>
                    <a:pt x="1588" y="726"/>
                  </a:lnTo>
                  <a:lnTo>
                    <a:pt x="1584" y="726"/>
                  </a:lnTo>
                  <a:lnTo>
                    <a:pt x="1580" y="726"/>
                  </a:lnTo>
                  <a:lnTo>
                    <a:pt x="1576" y="726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4" y="722"/>
                  </a:lnTo>
                  <a:lnTo>
                    <a:pt x="1588" y="722"/>
                  </a:lnTo>
                  <a:lnTo>
                    <a:pt x="1592" y="718"/>
                  </a:lnTo>
                  <a:lnTo>
                    <a:pt x="1596" y="718"/>
                  </a:lnTo>
                  <a:lnTo>
                    <a:pt x="1600" y="718"/>
                  </a:lnTo>
                  <a:lnTo>
                    <a:pt x="1604" y="714"/>
                  </a:lnTo>
                  <a:lnTo>
                    <a:pt x="1604" y="718"/>
                  </a:lnTo>
                  <a:lnTo>
                    <a:pt x="1600" y="718"/>
                  </a:lnTo>
                  <a:lnTo>
                    <a:pt x="1596" y="722"/>
                  </a:lnTo>
                  <a:lnTo>
                    <a:pt x="1600" y="722"/>
                  </a:lnTo>
                  <a:lnTo>
                    <a:pt x="1600" y="718"/>
                  </a:lnTo>
                  <a:lnTo>
                    <a:pt x="1604" y="718"/>
                  </a:lnTo>
                  <a:lnTo>
                    <a:pt x="1608" y="718"/>
                  </a:lnTo>
                  <a:lnTo>
                    <a:pt x="1604" y="718"/>
                  </a:lnTo>
                  <a:lnTo>
                    <a:pt x="1600" y="722"/>
                  </a:lnTo>
                  <a:lnTo>
                    <a:pt x="1596" y="722"/>
                  </a:lnTo>
                  <a:lnTo>
                    <a:pt x="1592" y="726"/>
                  </a:lnTo>
                  <a:close/>
                  <a:moveTo>
                    <a:pt x="882" y="862"/>
                  </a:moveTo>
                  <a:lnTo>
                    <a:pt x="878" y="862"/>
                  </a:lnTo>
                  <a:lnTo>
                    <a:pt x="882" y="862"/>
                  </a:lnTo>
                  <a:close/>
                  <a:moveTo>
                    <a:pt x="902" y="874"/>
                  </a:moveTo>
                  <a:lnTo>
                    <a:pt x="906" y="874"/>
                  </a:lnTo>
                  <a:lnTo>
                    <a:pt x="902" y="874"/>
                  </a:lnTo>
                  <a:close/>
                  <a:moveTo>
                    <a:pt x="902" y="882"/>
                  </a:moveTo>
                  <a:lnTo>
                    <a:pt x="906" y="886"/>
                  </a:lnTo>
                  <a:lnTo>
                    <a:pt x="902" y="886"/>
                  </a:lnTo>
                  <a:lnTo>
                    <a:pt x="902" y="882"/>
                  </a:lnTo>
                  <a:close/>
                  <a:moveTo>
                    <a:pt x="1388" y="934"/>
                  </a:move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4" y="934"/>
                  </a:lnTo>
                  <a:lnTo>
                    <a:pt x="1388" y="934"/>
                  </a:lnTo>
                  <a:close/>
                  <a:moveTo>
                    <a:pt x="1309" y="950"/>
                  </a:moveTo>
                  <a:lnTo>
                    <a:pt x="1305" y="950"/>
                  </a:lnTo>
                  <a:lnTo>
                    <a:pt x="1309" y="950"/>
                  </a:lnTo>
                  <a:close/>
                  <a:moveTo>
                    <a:pt x="1261" y="954"/>
                  </a:moveTo>
                  <a:lnTo>
                    <a:pt x="1261" y="958"/>
                  </a:lnTo>
                  <a:lnTo>
                    <a:pt x="1257" y="958"/>
                  </a:lnTo>
                  <a:lnTo>
                    <a:pt x="1261" y="958"/>
                  </a:lnTo>
                  <a:lnTo>
                    <a:pt x="1261" y="954"/>
                  </a:lnTo>
                  <a:close/>
                  <a:moveTo>
                    <a:pt x="1233" y="978"/>
                  </a:moveTo>
                  <a:lnTo>
                    <a:pt x="1233" y="974"/>
                  </a:lnTo>
                  <a:lnTo>
                    <a:pt x="1237" y="974"/>
                  </a:lnTo>
                  <a:lnTo>
                    <a:pt x="1233" y="978"/>
                  </a:lnTo>
                  <a:close/>
                  <a:moveTo>
                    <a:pt x="1233" y="978"/>
                  </a:moveTo>
                  <a:lnTo>
                    <a:pt x="1229" y="978"/>
                  </a:lnTo>
                  <a:lnTo>
                    <a:pt x="1229" y="982"/>
                  </a:lnTo>
                  <a:lnTo>
                    <a:pt x="1229" y="978"/>
                  </a:lnTo>
                  <a:lnTo>
                    <a:pt x="1233" y="978"/>
                  </a:lnTo>
                  <a:close/>
                  <a:moveTo>
                    <a:pt x="1480" y="1034"/>
                  </a:moveTo>
                  <a:lnTo>
                    <a:pt x="1480" y="1030"/>
                  </a:lnTo>
                  <a:lnTo>
                    <a:pt x="1480" y="1034"/>
                  </a:lnTo>
                  <a:lnTo>
                    <a:pt x="1476" y="1038"/>
                  </a:lnTo>
                  <a:lnTo>
                    <a:pt x="1480" y="1038"/>
                  </a:lnTo>
                  <a:lnTo>
                    <a:pt x="1480" y="1034"/>
                  </a:lnTo>
                  <a:close/>
                  <a:moveTo>
                    <a:pt x="284" y="1098"/>
                  </a:moveTo>
                  <a:lnTo>
                    <a:pt x="280" y="1098"/>
                  </a:lnTo>
                  <a:lnTo>
                    <a:pt x="280" y="1094"/>
                  </a:lnTo>
                  <a:lnTo>
                    <a:pt x="280" y="1090"/>
                  </a:lnTo>
                  <a:lnTo>
                    <a:pt x="284" y="1090"/>
                  </a:lnTo>
                  <a:lnTo>
                    <a:pt x="284" y="1094"/>
                  </a:lnTo>
                  <a:lnTo>
                    <a:pt x="288" y="1094"/>
                  </a:lnTo>
                  <a:lnTo>
                    <a:pt x="284" y="1098"/>
                  </a:lnTo>
                  <a:close/>
                  <a:moveTo>
                    <a:pt x="272" y="1098"/>
                  </a:moveTo>
                  <a:lnTo>
                    <a:pt x="272" y="1094"/>
                  </a:lnTo>
                  <a:lnTo>
                    <a:pt x="276" y="1094"/>
                  </a:lnTo>
                  <a:lnTo>
                    <a:pt x="276" y="1098"/>
                  </a:lnTo>
                  <a:lnTo>
                    <a:pt x="272" y="1098"/>
                  </a:lnTo>
                  <a:close/>
                  <a:moveTo>
                    <a:pt x="307" y="1110"/>
                  </a:moveTo>
                  <a:lnTo>
                    <a:pt x="303" y="1110"/>
                  </a:lnTo>
                  <a:lnTo>
                    <a:pt x="303" y="1106"/>
                  </a:lnTo>
                  <a:lnTo>
                    <a:pt x="299" y="1102"/>
                  </a:lnTo>
                  <a:lnTo>
                    <a:pt x="303" y="1102"/>
                  </a:lnTo>
                  <a:lnTo>
                    <a:pt x="307" y="1102"/>
                  </a:lnTo>
                  <a:lnTo>
                    <a:pt x="307" y="1106"/>
                  </a:lnTo>
                  <a:lnTo>
                    <a:pt x="311" y="1110"/>
                  </a:lnTo>
                  <a:lnTo>
                    <a:pt x="307" y="1110"/>
                  </a:lnTo>
                  <a:close/>
                  <a:moveTo>
                    <a:pt x="323" y="1114"/>
                  </a:moveTo>
                  <a:lnTo>
                    <a:pt x="319" y="1114"/>
                  </a:lnTo>
                  <a:lnTo>
                    <a:pt x="315" y="1114"/>
                  </a:lnTo>
                  <a:lnTo>
                    <a:pt x="315" y="1110"/>
                  </a:lnTo>
                  <a:lnTo>
                    <a:pt x="319" y="1110"/>
                  </a:lnTo>
                  <a:lnTo>
                    <a:pt x="323" y="1110"/>
                  </a:lnTo>
                  <a:lnTo>
                    <a:pt x="323" y="1114"/>
                  </a:lnTo>
                  <a:close/>
                  <a:moveTo>
                    <a:pt x="331" y="1122"/>
                  </a:moveTo>
                  <a:lnTo>
                    <a:pt x="327" y="1122"/>
                  </a:lnTo>
                  <a:lnTo>
                    <a:pt x="327" y="1118"/>
                  </a:lnTo>
                  <a:lnTo>
                    <a:pt x="323" y="1118"/>
                  </a:lnTo>
                  <a:lnTo>
                    <a:pt x="323" y="1114"/>
                  </a:lnTo>
                  <a:lnTo>
                    <a:pt x="327" y="1114"/>
                  </a:lnTo>
                  <a:lnTo>
                    <a:pt x="327" y="1118"/>
                  </a:lnTo>
                  <a:lnTo>
                    <a:pt x="331" y="1118"/>
                  </a:lnTo>
                  <a:lnTo>
                    <a:pt x="331" y="1114"/>
                  </a:lnTo>
                  <a:lnTo>
                    <a:pt x="331" y="1118"/>
                  </a:lnTo>
                  <a:lnTo>
                    <a:pt x="335" y="1118"/>
                  </a:lnTo>
                  <a:lnTo>
                    <a:pt x="335" y="1122"/>
                  </a:lnTo>
                  <a:lnTo>
                    <a:pt x="331" y="1122"/>
                  </a:lnTo>
                  <a:close/>
                  <a:moveTo>
                    <a:pt x="323" y="1118"/>
                  </a:moveTo>
                  <a:lnTo>
                    <a:pt x="319" y="1118"/>
                  </a:lnTo>
                  <a:lnTo>
                    <a:pt x="323" y="1118"/>
                  </a:lnTo>
                  <a:close/>
                  <a:moveTo>
                    <a:pt x="339" y="1129"/>
                  </a:moveTo>
                  <a:lnTo>
                    <a:pt x="343" y="1129"/>
                  </a:lnTo>
                  <a:lnTo>
                    <a:pt x="347" y="1133"/>
                  </a:lnTo>
                  <a:lnTo>
                    <a:pt x="347" y="1137"/>
                  </a:lnTo>
                  <a:lnTo>
                    <a:pt x="351" y="1137"/>
                  </a:lnTo>
                  <a:lnTo>
                    <a:pt x="351" y="1141"/>
                  </a:lnTo>
                  <a:lnTo>
                    <a:pt x="355" y="1141"/>
                  </a:lnTo>
                  <a:lnTo>
                    <a:pt x="351" y="1145"/>
                  </a:lnTo>
                  <a:lnTo>
                    <a:pt x="347" y="1145"/>
                  </a:lnTo>
                  <a:lnTo>
                    <a:pt x="343" y="1149"/>
                  </a:lnTo>
                  <a:lnTo>
                    <a:pt x="343" y="1153"/>
                  </a:lnTo>
                  <a:lnTo>
                    <a:pt x="339" y="1153"/>
                  </a:lnTo>
                  <a:lnTo>
                    <a:pt x="335" y="1149"/>
                  </a:lnTo>
                  <a:lnTo>
                    <a:pt x="335" y="1145"/>
                  </a:lnTo>
                  <a:lnTo>
                    <a:pt x="335" y="1141"/>
                  </a:lnTo>
                  <a:lnTo>
                    <a:pt x="335" y="1137"/>
                  </a:lnTo>
                  <a:lnTo>
                    <a:pt x="339" y="1133"/>
                  </a:lnTo>
                  <a:lnTo>
                    <a:pt x="335" y="1129"/>
                  </a:lnTo>
                  <a:lnTo>
                    <a:pt x="339" y="112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35" name="Freeform 189">
              <a:extLst>
                <a:ext uri="{FF2B5EF4-FFF2-40B4-BE49-F238E27FC236}">
                  <a16:creationId xmlns:a16="http://schemas.microsoft.com/office/drawing/2014/main" xmlns="" id="{B330617B-BD19-4E57-906C-2D07140C77CB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gray">
            <a:xfrm>
              <a:off x="2772869" y="2538945"/>
              <a:ext cx="53390" cy="4152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2" y="16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36" h="28">
                  <a:moveTo>
                    <a:pt x="0" y="12"/>
                  </a:move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36" name="Freeform 190">
              <a:extLst>
                <a:ext uri="{FF2B5EF4-FFF2-40B4-BE49-F238E27FC236}">
                  <a16:creationId xmlns:a16="http://schemas.microsoft.com/office/drawing/2014/main" xmlns="" id="{6CD174C8-D5B5-48C1-93C9-0066868A5EA0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gray">
            <a:xfrm>
              <a:off x="2446595" y="4266714"/>
              <a:ext cx="23729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</a:cxnLst>
              <a:rect l="0" t="0" r="r" b="b"/>
              <a:pathLst>
                <a:path w="16" h="20">
                  <a:moveTo>
                    <a:pt x="16" y="16"/>
                  </a:move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37" name="Freeform 191">
              <a:extLst>
                <a:ext uri="{FF2B5EF4-FFF2-40B4-BE49-F238E27FC236}">
                  <a16:creationId xmlns:a16="http://schemas.microsoft.com/office/drawing/2014/main" xmlns="" id="{752ACE68-097E-46F8-A93D-069ABE0715A6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gray">
            <a:xfrm>
              <a:off x="2511850" y="3379842"/>
              <a:ext cx="11865" cy="1038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8" h="7">
                  <a:moveTo>
                    <a:pt x="4" y="4"/>
                  </a:move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grpSp>
          <p:nvGrpSpPr>
            <p:cNvPr id="238" name="Group 192">
              <a:extLst>
                <a:ext uri="{FF2B5EF4-FFF2-40B4-BE49-F238E27FC236}">
                  <a16:creationId xmlns:a16="http://schemas.microsoft.com/office/drawing/2014/main" xmlns="" id="{B32F8441-FA39-4C6B-A9EA-C8B0F2C6D627}"/>
                </a:ext>
              </a:extLst>
            </p:cNvPr>
            <p:cNvGrpSpPr>
              <a:grpSpLocks/>
            </p:cNvGrpSpPr>
            <p:nvPr>
              <p:custDataLst>
                <p:tags r:id="rId190"/>
              </p:custDataLst>
            </p:nvPr>
          </p:nvGrpSpPr>
          <p:grpSpPr bwMode="gray">
            <a:xfrm>
              <a:off x="8117831" y="5561429"/>
              <a:ext cx="271400" cy="378181"/>
              <a:chOff x="4515" y="3775"/>
              <a:chExt cx="183" cy="255"/>
            </a:xfrm>
            <a:grpFill/>
          </p:grpSpPr>
          <p:sp>
            <p:nvSpPr>
              <p:cNvPr id="264" name="Freeform 193">
                <a:extLst>
                  <a:ext uri="{FF2B5EF4-FFF2-40B4-BE49-F238E27FC236}">
                    <a16:creationId xmlns:a16="http://schemas.microsoft.com/office/drawing/2014/main" xmlns="" id="{6F674AC8-E2C2-406B-B26D-F17C486DE94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06" y="3775"/>
                <a:ext cx="92" cy="148"/>
              </a:xfrm>
              <a:custGeom>
                <a:avLst/>
                <a:gdLst/>
                <a:ahLst/>
                <a:cxnLst>
                  <a:cxn ang="0">
                    <a:pos x="56" y="132"/>
                  </a:cxn>
                  <a:cxn ang="0">
                    <a:pos x="48" y="144"/>
                  </a:cxn>
                  <a:cxn ang="0">
                    <a:pos x="40" y="144"/>
                  </a:cxn>
                  <a:cxn ang="0">
                    <a:pos x="32" y="144"/>
                  </a:cxn>
                  <a:cxn ang="0">
                    <a:pos x="36" y="132"/>
                  </a:cxn>
                  <a:cxn ang="0">
                    <a:pos x="40" y="120"/>
                  </a:cxn>
                  <a:cxn ang="0">
                    <a:pos x="32" y="112"/>
                  </a:cxn>
                  <a:cxn ang="0">
                    <a:pos x="24" y="104"/>
                  </a:cxn>
                  <a:cxn ang="0">
                    <a:pos x="20" y="96"/>
                  </a:cxn>
                  <a:cxn ang="0">
                    <a:pos x="32" y="92"/>
                  </a:cxn>
                  <a:cxn ang="0">
                    <a:pos x="32" y="76"/>
                  </a:cxn>
                  <a:cxn ang="0">
                    <a:pos x="32" y="68"/>
                  </a:cxn>
                  <a:cxn ang="0">
                    <a:pos x="32" y="60"/>
                  </a:cxn>
                  <a:cxn ang="0">
                    <a:pos x="28" y="56"/>
                  </a:cxn>
                  <a:cxn ang="0">
                    <a:pos x="36" y="56"/>
                  </a:cxn>
                  <a:cxn ang="0">
                    <a:pos x="28" y="48"/>
                  </a:cxn>
                  <a:cxn ang="0">
                    <a:pos x="28" y="44"/>
                  </a:cxn>
                  <a:cxn ang="0">
                    <a:pos x="28" y="36"/>
                  </a:cxn>
                  <a:cxn ang="0">
                    <a:pos x="24" y="36"/>
                  </a:cxn>
                  <a:cxn ang="0">
                    <a:pos x="20" y="32"/>
                  </a:cxn>
                  <a:cxn ang="0">
                    <a:pos x="20" y="40"/>
                  </a:cxn>
                  <a:cxn ang="0">
                    <a:pos x="16" y="28"/>
                  </a:cxn>
                  <a:cxn ang="0">
                    <a:pos x="16" y="16"/>
                  </a:cxn>
                  <a:cxn ang="0">
                    <a:pos x="12" y="20"/>
                  </a:cxn>
                  <a:cxn ang="0">
                    <a:pos x="4" y="8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8" y="12"/>
                  </a:cxn>
                  <a:cxn ang="0">
                    <a:pos x="16" y="12"/>
                  </a:cxn>
                  <a:cxn ang="0">
                    <a:pos x="24" y="16"/>
                  </a:cxn>
                  <a:cxn ang="0">
                    <a:pos x="28" y="20"/>
                  </a:cxn>
                  <a:cxn ang="0">
                    <a:pos x="28" y="28"/>
                  </a:cxn>
                  <a:cxn ang="0">
                    <a:pos x="32" y="32"/>
                  </a:cxn>
                  <a:cxn ang="0">
                    <a:pos x="32" y="48"/>
                  </a:cxn>
                  <a:cxn ang="0">
                    <a:pos x="36" y="52"/>
                  </a:cxn>
                  <a:cxn ang="0">
                    <a:pos x="44" y="52"/>
                  </a:cxn>
                  <a:cxn ang="0">
                    <a:pos x="40" y="40"/>
                  </a:cxn>
                  <a:cxn ang="0">
                    <a:pos x="48" y="52"/>
                  </a:cxn>
                  <a:cxn ang="0">
                    <a:pos x="52" y="56"/>
                  </a:cxn>
                  <a:cxn ang="0">
                    <a:pos x="52" y="64"/>
                  </a:cxn>
                  <a:cxn ang="0">
                    <a:pos x="56" y="68"/>
                  </a:cxn>
                  <a:cxn ang="0">
                    <a:pos x="68" y="72"/>
                  </a:cxn>
                  <a:cxn ang="0">
                    <a:pos x="80" y="68"/>
                  </a:cxn>
                  <a:cxn ang="0">
                    <a:pos x="92" y="68"/>
                  </a:cxn>
                  <a:cxn ang="0">
                    <a:pos x="88" y="80"/>
                  </a:cxn>
                  <a:cxn ang="0">
                    <a:pos x="80" y="92"/>
                  </a:cxn>
                  <a:cxn ang="0">
                    <a:pos x="76" y="96"/>
                  </a:cxn>
                  <a:cxn ang="0">
                    <a:pos x="64" y="104"/>
                  </a:cxn>
                  <a:cxn ang="0">
                    <a:pos x="64" y="120"/>
                  </a:cxn>
                </a:cxnLst>
                <a:rect l="0" t="0" r="r" b="b"/>
                <a:pathLst>
                  <a:path w="92" h="148">
                    <a:moveTo>
                      <a:pt x="60" y="124"/>
                    </a:move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32"/>
                    </a:lnTo>
                    <a:lnTo>
                      <a:pt x="56" y="136"/>
                    </a:lnTo>
                    <a:lnTo>
                      <a:pt x="52" y="136"/>
                    </a:lnTo>
                    <a:lnTo>
                      <a:pt x="52" y="140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8"/>
                    </a:lnTo>
                    <a:lnTo>
                      <a:pt x="40" y="148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32" y="140"/>
                    </a:lnTo>
                    <a:lnTo>
                      <a:pt x="32" y="144"/>
                    </a:lnTo>
                    <a:lnTo>
                      <a:pt x="32" y="140"/>
                    </a:lnTo>
                    <a:lnTo>
                      <a:pt x="32" y="136"/>
                    </a:lnTo>
                    <a:lnTo>
                      <a:pt x="36" y="136"/>
                    </a:lnTo>
                    <a:lnTo>
                      <a:pt x="36" y="132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2" y="112"/>
                    </a:lnTo>
                    <a:lnTo>
                      <a:pt x="28" y="112"/>
                    </a:lnTo>
                    <a:lnTo>
                      <a:pt x="28" y="108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0" y="104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4" y="96"/>
                    </a:lnTo>
                    <a:lnTo>
                      <a:pt x="24" y="92"/>
                    </a:lnTo>
                    <a:lnTo>
                      <a:pt x="28" y="92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32" y="84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36" y="76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32" y="68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28" y="56"/>
                    </a:lnTo>
                    <a:lnTo>
                      <a:pt x="28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0" y="40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48"/>
                    </a:lnTo>
                    <a:lnTo>
                      <a:pt x="44" y="44"/>
                    </a:lnTo>
                    <a:lnTo>
                      <a:pt x="40" y="44"/>
                    </a:lnTo>
                    <a:lnTo>
                      <a:pt x="40" y="40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68"/>
                    </a:lnTo>
                    <a:lnTo>
                      <a:pt x="80" y="68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8" y="64"/>
                    </a:lnTo>
                    <a:lnTo>
                      <a:pt x="92" y="68"/>
                    </a:lnTo>
                    <a:lnTo>
                      <a:pt x="88" y="68"/>
                    </a:lnTo>
                    <a:lnTo>
                      <a:pt x="88" y="72"/>
                    </a:lnTo>
                    <a:lnTo>
                      <a:pt x="88" y="76"/>
                    </a:lnTo>
                    <a:lnTo>
                      <a:pt x="88" y="80"/>
                    </a:lnTo>
                    <a:lnTo>
                      <a:pt x="88" y="84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64" y="116"/>
                    </a:lnTo>
                    <a:lnTo>
                      <a:pt x="64" y="120"/>
                    </a:lnTo>
                    <a:lnTo>
                      <a:pt x="60" y="12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/>
              </a:p>
            </p:txBody>
          </p:sp>
          <p:sp>
            <p:nvSpPr>
              <p:cNvPr id="265" name="Freeform 194">
                <a:extLst>
                  <a:ext uri="{FF2B5EF4-FFF2-40B4-BE49-F238E27FC236}">
                    <a16:creationId xmlns:a16="http://schemas.microsoft.com/office/drawing/2014/main" xmlns="" id="{F159DEA2-8500-45DB-BA7E-EF21DE7378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15" y="3899"/>
                <a:ext cx="119" cy="131"/>
              </a:xfrm>
              <a:custGeom>
                <a:avLst/>
                <a:gdLst/>
                <a:ahLst/>
                <a:cxnLst>
                  <a:cxn ang="0">
                    <a:pos x="12" y="103"/>
                  </a:cxn>
                  <a:cxn ang="0">
                    <a:pos x="12" y="95"/>
                  </a:cxn>
                  <a:cxn ang="0">
                    <a:pos x="16" y="95"/>
                  </a:cxn>
                  <a:cxn ang="0">
                    <a:pos x="16" y="87"/>
                  </a:cxn>
                  <a:cxn ang="0">
                    <a:pos x="23" y="79"/>
                  </a:cxn>
                  <a:cxn ang="0">
                    <a:pos x="35" y="75"/>
                  </a:cxn>
                  <a:cxn ang="0">
                    <a:pos x="39" y="67"/>
                  </a:cxn>
                  <a:cxn ang="0">
                    <a:pos x="47" y="64"/>
                  </a:cxn>
                  <a:cxn ang="0">
                    <a:pos x="55" y="55"/>
                  </a:cxn>
                  <a:cxn ang="0">
                    <a:pos x="63" y="52"/>
                  </a:cxn>
                  <a:cxn ang="0">
                    <a:pos x="71" y="40"/>
                  </a:cxn>
                  <a:cxn ang="0">
                    <a:pos x="75" y="28"/>
                  </a:cxn>
                  <a:cxn ang="0">
                    <a:pos x="83" y="24"/>
                  </a:cxn>
                  <a:cxn ang="0">
                    <a:pos x="83" y="8"/>
                  </a:cxn>
                  <a:cxn ang="0">
                    <a:pos x="91" y="4"/>
                  </a:cxn>
                  <a:cxn ang="0">
                    <a:pos x="91" y="4"/>
                  </a:cxn>
                  <a:cxn ang="0">
                    <a:pos x="99" y="12"/>
                  </a:cxn>
                  <a:cxn ang="0">
                    <a:pos x="107" y="12"/>
                  </a:cxn>
                  <a:cxn ang="0">
                    <a:pos x="111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20"/>
                  </a:cxn>
                  <a:cxn ang="0">
                    <a:pos x="115" y="24"/>
                  </a:cxn>
                  <a:cxn ang="0">
                    <a:pos x="111" y="31"/>
                  </a:cxn>
                  <a:cxn ang="0">
                    <a:pos x="107" y="43"/>
                  </a:cxn>
                  <a:cxn ang="0">
                    <a:pos x="103" y="52"/>
                  </a:cxn>
                  <a:cxn ang="0">
                    <a:pos x="95" y="59"/>
                  </a:cxn>
                  <a:cxn ang="0">
                    <a:pos x="99" y="67"/>
                  </a:cxn>
                  <a:cxn ang="0">
                    <a:pos x="95" y="67"/>
                  </a:cxn>
                  <a:cxn ang="0">
                    <a:pos x="91" y="67"/>
                  </a:cxn>
                  <a:cxn ang="0">
                    <a:pos x="83" y="71"/>
                  </a:cxn>
                  <a:cxn ang="0">
                    <a:pos x="75" y="75"/>
                  </a:cxn>
                  <a:cxn ang="0">
                    <a:pos x="71" y="83"/>
                  </a:cxn>
                  <a:cxn ang="0">
                    <a:pos x="71" y="95"/>
                  </a:cxn>
                  <a:cxn ang="0">
                    <a:pos x="63" y="103"/>
                  </a:cxn>
                  <a:cxn ang="0">
                    <a:pos x="59" y="111"/>
                  </a:cxn>
                  <a:cxn ang="0">
                    <a:pos x="63" y="111"/>
                  </a:cxn>
                  <a:cxn ang="0">
                    <a:pos x="55" y="115"/>
                  </a:cxn>
                  <a:cxn ang="0">
                    <a:pos x="51" y="127"/>
                  </a:cxn>
                  <a:cxn ang="0">
                    <a:pos x="39" y="131"/>
                  </a:cxn>
                  <a:cxn ang="0">
                    <a:pos x="31" y="127"/>
                  </a:cxn>
                  <a:cxn ang="0">
                    <a:pos x="27" y="127"/>
                  </a:cxn>
                  <a:cxn ang="0">
                    <a:pos x="27" y="127"/>
                  </a:cxn>
                  <a:cxn ang="0">
                    <a:pos x="23" y="123"/>
                  </a:cxn>
                  <a:cxn ang="0">
                    <a:pos x="12" y="119"/>
                  </a:cxn>
                  <a:cxn ang="0">
                    <a:pos x="4" y="123"/>
                  </a:cxn>
                  <a:cxn ang="0">
                    <a:pos x="4" y="119"/>
                  </a:cxn>
                  <a:cxn ang="0">
                    <a:pos x="4" y="115"/>
                  </a:cxn>
                  <a:cxn ang="0">
                    <a:pos x="0" y="115"/>
                  </a:cxn>
                  <a:cxn ang="0">
                    <a:pos x="8" y="111"/>
                  </a:cxn>
                  <a:cxn ang="0">
                    <a:pos x="8" y="107"/>
                  </a:cxn>
                  <a:cxn ang="0">
                    <a:pos x="4" y="99"/>
                  </a:cxn>
                </a:cxnLst>
                <a:rect l="0" t="0" r="r" b="b"/>
                <a:pathLst>
                  <a:path w="119" h="131">
                    <a:moveTo>
                      <a:pt x="12" y="103"/>
                    </a:moveTo>
                    <a:lnTo>
                      <a:pt x="8" y="103"/>
                    </a:lnTo>
                    <a:lnTo>
                      <a:pt x="12" y="103"/>
                    </a:lnTo>
                    <a:lnTo>
                      <a:pt x="8" y="99"/>
                    </a:lnTo>
                    <a:lnTo>
                      <a:pt x="8" y="95"/>
                    </a:lnTo>
                    <a:lnTo>
                      <a:pt x="12" y="95"/>
                    </a:lnTo>
                    <a:lnTo>
                      <a:pt x="12" y="91"/>
                    </a:lnTo>
                    <a:lnTo>
                      <a:pt x="12" y="95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91"/>
                    </a:lnTo>
                    <a:lnTo>
                      <a:pt x="16" y="87"/>
                    </a:lnTo>
                    <a:lnTo>
                      <a:pt x="20" y="87"/>
                    </a:lnTo>
                    <a:lnTo>
                      <a:pt x="20" y="83"/>
                    </a:lnTo>
                    <a:lnTo>
                      <a:pt x="23" y="79"/>
                    </a:lnTo>
                    <a:lnTo>
                      <a:pt x="27" y="75"/>
                    </a:lnTo>
                    <a:lnTo>
                      <a:pt x="31" y="75"/>
                    </a:lnTo>
                    <a:lnTo>
                      <a:pt x="35" y="75"/>
                    </a:lnTo>
                    <a:lnTo>
                      <a:pt x="35" y="71"/>
                    </a:lnTo>
                    <a:lnTo>
                      <a:pt x="39" y="71"/>
                    </a:lnTo>
                    <a:lnTo>
                      <a:pt x="39" y="67"/>
                    </a:lnTo>
                    <a:lnTo>
                      <a:pt x="43" y="67"/>
                    </a:lnTo>
                    <a:lnTo>
                      <a:pt x="47" y="67"/>
                    </a:lnTo>
                    <a:lnTo>
                      <a:pt x="47" y="64"/>
                    </a:lnTo>
                    <a:lnTo>
                      <a:pt x="51" y="59"/>
                    </a:lnTo>
                    <a:lnTo>
                      <a:pt x="55" y="59"/>
                    </a:lnTo>
                    <a:lnTo>
                      <a:pt x="55" y="55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63" y="52"/>
                    </a:lnTo>
                    <a:lnTo>
                      <a:pt x="67" y="43"/>
                    </a:lnTo>
                    <a:lnTo>
                      <a:pt x="71" y="43"/>
                    </a:lnTo>
                    <a:lnTo>
                      <a:pt x="71" y="40"/>
                    </a:lnTo>
                    <a:lnTo>
                      <a:pt x="71" y="36"/>
                    </a:lnTo>
                    <a:lnTo>
                      <a:pt x="71" y="31"/>
                    </a:lnTo>
                    <a:lnTo>
                      <a:pt x="75" y="28"/>
                    </a:lnTo>
                    <a:lnTo>
                      <a:pt x="79" y="28"/>
                    </a:lnTo>
                    <a:lnTo>
                      <a:pt x="79" y="24"/>
                    </a:lnTo>
                    <a:lnTo>
                      <a:pt x="83" y="24"/>
                    </a:lnTo>
                    <a:lnTo>
                      <a:pt x="83" y="20"/>
                    </a:lnTo>
                    <a:lnTo>
                      <a:pt x="83" y="16"/>
                    </a:lnTo>
                    <a:lnTo>
                      <a:pt x="83" y="8"/>
                    </a:lnTo>
                    <a:lnTo>
                      <a:pt x="87" y="8"/>
                    </a:lnTo>
                    <a:lnTo>
                      <a:pt x="87" y="4"/>
                    </a:lnTo>
                    <a:lnTo>
                      <a:pt x="91" y="4"/>
                    </a:lnTo>
                    <a:lnTo>
                      <a:pt x="91" y="0"/>
                    </a:lnTo>
                    <a:lnTo>
                      <a:pt x="95" y="0"/>
                    </a:lnTo>
                    <a:lnTo>
                      <a:pt x="91" y="4"/>
                    </a:lnTo>
                    <a:lnTo>
                      <a:pt x="95" y="8"/>
                    </a:lnTo>
                    <a:lnTo>
                      <a:pt x="99" y="8"/>
                    </a:lnTo>
                    <a:lnTo>
                      <a:pt x="99" y="12"/>
                    </a:lnTo>
                    <a:lnTo>
                      <a:pt x="99" y="16"/>
                    </a:lnTo>
                    <a:lnTo>
                      <a:pt x="103" y="16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8"/>
                    </a:lnTo>
                    <a:lnTo>
                      <a:pt x="111" y="12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16"/>
                    </a:lnTo>
                    <a:lnTo>
                      <a:pt x="107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2"/>
                    </a:lnTo>
                    <a:lnTo>
                      <a:pt x="115" y="12"/>
                    </a:lnTo>
                    <a:lnTo>
                      <a:pt x="119" y="12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9" y="16"/>
                    </a:lnTo>
                    <a:lnTo>
                      <a:pt x="115" y="16"/>
                    </a:lnTo>
                    <a:lnTo>
                      <a:pt x="115" y="20"/>
                    </a:lnTo>
                    <a:lnTo>
                      <a:pt x="111" y="20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8"/>
                    </a:lnTo>
                    <a:lnTo>
                      <a:pt x="115" y="31"/>
                    </a:lnTo>
                    <a:lnTo>
                      <a:pt x="111" y="31"/>
                    </a:lnTo>
                    <a:lnTo>
                      <a:pt x="111" y="36"/>
                    </a:lnTo>
                    <a:lnTo>
                      <a:pt x="111" y="40"/>
                    </a:lnTo>
                    <a:lnTo>
                      <a:pt x="107" y="43"/>
                    </a:lnTo>
                    <a:lnTo>
                      <a:pt x="103" y="43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99" y="55"/>
                    </a:lnTo>
                    <a:lnTo>
                      <a:pt x="95" y="55"/>
                    </a:lnTo>
                    <a:lnTo>
                      <a:pt x="95" y="59"/>
                    </a:lnTo>
                    <a:lnTo>
                      <a:pt x="91" y="59"/>
                    </a:lnTo>
                    <a:lnTo>
                      <a:pt x="95" y="67"/>
                    </a:lnTo>
                    <a:lnTo>
                      <a:pt x="99" y="67"/>
                    </a:lnTo>
                    <a:lnTo>
                      <a:pt x="99" y="71"/>
                    </a:lnTo>
                    <a:lnTo>
                      <a:pt x="95" y="71"/>
                    </a:lnTo>
                    <a:lnTo>
                      <a:pt x="95" y="67"/>
                    </a:lnTo>
                    <a:lnTo>
                      <a:pt x="95" y="71"/>
                    </a:lnTo>
                    <a:lnTo>
                      <a:pt x="91" y="71"/>
                    </a:lnTo>
                    <a:lnTo>
                      <a:pt x="91" y="67"/>
                    </a:lnTo>
                    <a:lnTo>
                      <a:pt x="87" y="67"/>
                    </a:lnTo>
                    <a:lnTo>
                      <a:pt x="87" y="71"/>
                    </a:lnTo>
                    <a:lnTo>
                      <a:pt x="83" y="71"/>
                    </a:lnTo>
                    <a:lnTo>
                      <a:pt x="83" y="75"/>
                    </a:lnTo>
                    <a:lnTo>
                      <a:pt x="79" y="75"/>
                    </a:lnTo>
                    <a:lnTo>
                      <a:pt x="75" y="75"/>
                    </a:lnTo>
                    <a:lnTo>
                      <a:pt x="75" y="79"/>
                    </a:lnTo>
                    <a:lnTo>
                      <a:pt x="71" y="79"/>
                    </a:lnTo>
                    <a:lnTo>
                      <a:pt x="71" y="83"/>
                    </a:lnTo>
                    <a:lnTo>
                      <a:pt x="71" y="87"/>
                    </a:lnTo>
                    <a:lnTo>
                      <a:pt x="71" y="91"/>
                    </a:lnTo>
                    <a:lnTo>
                      <a:pt x="71" y="95"/>
                    </a:lnTo>
                    <a:lnTo>
                      <a:pt x="67" y="95"/>
                    </a:lnTo>
                    <a:lnTo>
                      <a:pt x="67" y="99"/>
                    </a:lnTo>
                    <a:lnTo>
                      <a:pt x="63" y="103"/>
                    </a:lnTo>
                    <a:lnTo>
                      <a:pt x="63" y="107"/>
                    </a:lnTo>
                    <a:lnTo>
                      <a:pt x="63" y="111"/>
                    </a:lnTo>
                    <a:lnTo>
                      <a:pt x="59" y="111"/>
                    </a:lnTo>
                    <a:lnTo>
                      <a:pt x="59" y="115"/>
                    </a:lnTo>
                    <a:lnTo>
                      <a:pt x="63" y="115"/>
                    </a:lnTo>
                    <a:lnTo>
                      <a:pt x="63" y="111"/>
                    </a:lnTo>
                    <a:lnTo>
                      <a:pt x="63" y="115"/>
                    </a:lnTo>
                    <a:lnTo>
                      <a:pt x="59" y="115"/>
                    </a:lnTo>
                    <a:lnTo>
                      <a:pt x="55" y="115"/>
                    </a:lnTo>
                    <a:lnTo>
                      <a:pt x="55" y="119"/>
                    </a:lnTo>
                    <a:lnTo>
                      <a:pt x="51" y="123"/>
                    </a:lnTo>
                    <a:lnTo>
                      <a:pt x="51" y="127"/>
                    </a:lnTo>
                    <a:lnTo>
                      <a:pt x="47" y="127"/>
                    </a:lnTo>
                    <a:lnTo>
                      <a:pt x="43" y="131"/>
                    </a:lnTo>
                    <a:lnTo>
                      <a:pt x="39" y="131"/>
                    </a:lnTo>
                    <a:lnTo>
                      <a:pt x="35" y="131"/>
                    </a:lnTo>
                    <a:lnTo>
                      <a:pt x="35" y="127"/>
                    </a:lnTo>
                    <a:lnTo>
                      <a:pt x="31" y="127"/>
                    </a:lnTo>
                    <a:lnTo>
                      <a:pt x="31" y="131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31" y="131"/>
                    </a:lnTo>
                    <a:lnTo>
                      <a:pt x="31" y="127"/>
                    </a:lnTo>
                    <a:lnTo>
                      <a:pt x="27" y="127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23" y="123"/>
                    </a:lnTo>
                    <a:lnTo>
                      <a:pt x="20" y="123"/>
                    </a:lnTo>
                    <a:lnTo>
                      <a:pt x="16" y="119"/>
                    </a:lnTo>
                    <a:lnTo>
                      <a:pt x="12" y="119"/>
                    </a:lnTo>
                    <a:lnTo>
                      <a:pt x="12" y="123"/>
                    </a:lnTo>
                    <a:lnTo>
                      <a:pt x="8" y="123"/>
                    </a:lnTo>
                    <a:lnTo>
                      <a:pt x="4" y="123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4" y="119"/>
                    </a:lnTo>
                    <a:lnTo>
                      <a:pt x="4" y="115"/>
                    </a:lnTo>
                    <a:lnTo>
                      <a:pt x="8" y="115"/>
                    </a:lnTo>
                    <a:lnTo>
                      <a:pt x="4" y="115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0" y="115"/>
                    </a:lnTo>
                    <a:lnTo>
                      <a:pt x="0" y="111"/>
                    </a:lnTo>
                    <a:lnTo>
                      <a:pt x="4" y="111"/>
                    </a:lnTo>
                    <a:lnTo>
                      <a:pt x="8" y="111"/>
                    </a:lnTo>
                    <a:lnTo>
                      <a:pt x="4" y="111"/>
                    </a:lnTo>
                    <a:lnTo>
                      <a:pt x="4" y="107"/>
                    </a:lnTo>
                    <a:lnTo>
                      <a:pt x="8" y="107"/>
                    </a:lnTo>
                    <a:lnTo>
                      <a:pt x="4" y="107"/>
                    </a:lnTo>
                    <a:lnTo>
                      <a:pt x="4" y="103"/>
                    </a:lnTo>
                    <a:lnTo>
                      <a:pt x="4" y="99"/>
                    </a:lnTo>
                    <a:lnTo>
                      <a:pt x="8" y="103"/>
                    </a:lnTo>
                    <a:lnTo>
                      <a:pt x="12" y="10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/>
              </a:p>
            </p:txBody>
          </p:sp>
        </p:grpSp>
        <p:sp>
          <p:nvSpPr>
            <p:cNvPr id="239" name="Freeform 269">
              <a:extLst>
                <a:ext uri="{FF2B5EF4-FFF2-40B4-BE49-F238E27FC236}">
                  <a16:creationId xmlns:a16="http://schemas.microsoft.com/office/drawing/2014/main" xmlns="" id="{84C2F308-2DD8-438C-A381-630DEBE374C8}"/>
                </a:ext>
              </a:extLst>
            </p:cNvPr>
            <p:cNvSpPr>
              <a:spLocks noEditPoints="1"/>
            </p:cNvSpPr>
            <p:nvPr>
              <p:custDataLst>
                <p:tags r:id="rId191"/>
              </p:custDataLst>
            </p:nvPr>
          </p:nvSpPr>
          <p:spPr bwMode="gray">
            <a:xfrm>
              <a:off x="7890922" y="4784304"/>
              <a:ext cx="218010" cy="117163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6" y="3"/>
                </a:cxn>
                <a:cxn ang="0">
                  <a:pos x="10" y="7"/>
                </a:cxn>
                <a:cxn ang="0">
                  <a:pos x="32" y="18"/>
                </a:cxn>
                <a:cxn ang="0">
                  <a:pos x="20" y="9"/>
                </a:cxn>
                <a:cxn ang="0">
                  <a:pos x="32" y="18"/>
                </a:cxn>
                <a:cxn ang="0">
                  <a:pos x="1" y="10"/>
                </a:cxn>
                <a:cxn ang="0">
                  <a:pos x="2" y="13"/>
                </a:cxn>
                <a:cxn ang="0">
                  <a:pos x="5" y="14"/>
                </a:cxn>
                <a:cxn ang="0">
                  <a:pos x="7" y="12"/>
                </a:cxn>
                <a:cxn ang="0">
                  <a:pos x="13" y="19"/>
                </a:cxn>
                <a:cxn ang="0">
                  <a:pos x="8" y="16"/>
                </a:cxn>
                <a:cxn ang="0">
                  <a:pos x="13" y="16"/>
                </a:cxn>
                <a:cxn ang="0">
                  <a:pos x="13" y="19"/>
                </a:cxn>
                <a:cxn ang="0">
                  <a:pos x="8" y="19"/>
                </a:cxn>
                <a:cxn ang="0">
                  <a:pos x="9" y="20"/>
                </a:cxn>
                <a:cxn ang="0">
                  <a:pos x="14" y="19"/>
                </a:cxn>
                <a:cxn ang="0">
                  <a:pos x="15" y="20"/>
                </a:cxn>
                <a:cxn ang="0">
                  <a:pos x="89" y="39"/>
                </a:cxn>
                <a:cxn ang="0">
                  <a:pos x="90" y="41"/>
                </a:cxn>
                <a:cxn ang="0">
                  <a:pos x="33" y="47"/>
                </a:cxn>
                <a:cxn ang="0">
                  <a:pos x="39" y="50"/>
                </a:cxn>
                <a:cxn ang="0">
                  <a:pos x="47" y="29"/>
                </a:cxn>
                <a:cxn ang="0">
                  <a:pos x="39" y="16"/>
                </a:cxn>
                <a:cxn ang="0">
                  <a:pos x="43" y="19"/>
                </a:cxn>
                <a:cxn ang="0">
                  <a:pos x="46" y="24"/>
                </a:cxn>
                <a:cxn ang="0">
                  <a:pos x="40" y="32"/>
                </a:cxn>
                <a:cxn ang="0">
                  <a:pos x="30" y="26"/>
                </a:cxn>
                <a:cxn ang="0">
                  <a:pos x="42" y="31"/>
                </a:cxn>
                <a:cxn ang="0">
                  <a:pos x="56" y="41"/>
                </a:cxn>
                <a:cxn ang="0">
                  <a:pos x="46" y="34"/>
                </a:cxn>
                <a:cxn ang="0">
                  <a:pos x="56" y="39"/>
                </a:cxn>
              </a:cxnLst>
              <a:rect l="0" t="0" r="r" b="b"/>
              <a:pathLst>
                <a:path w="92" h="50">
                  <a:moveTo>
                    <a:pt x="10" y="8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6" y="3"/>
                  </a:lnTo>
                  <a:lnTo>
                    <a:pt x="7" y="5"/>
                  </a:lnTo>
                  <a:lnTo>
                    <a:pt x="10" y="7"/>
                  </a:lnTo>
                  <a:lnTo>
                    <a:pt x="10" y="8"/>
                  </a:lnTo>
                  <a:close/>
                  <a:moveTo>
                    <a:pt x="32" y="18"/>
                  </a:moveTo>
                  <a:lnTo>
                    <a:pt x="23" y="13"/>
                  </a:lnTo>
                  <a:lnTo>
                    <a:pt x="20" y="9"/>
                  </a:lnTo>
                  <a:lnTo>
                    <a:pt x="32" y="16"/>
                  </a:lnTo>
                  <a:lnTo>
                    <a:pt x="32" y="18"/>
                  </a:lnTo>
                  <a:close/>
                  <a:moveTo>
                    <a:pt x="2" y="13"/>
                  </a:moveTo>
                  <a:lnTo>
                    <a:pt x="1" y="10"/>
                  </a:lnTo>
                  <a:lnTo>
                    <a:pt x="4" y="11"/>
                  </a:lnTo>
                  <a:lnTo>
                    <a:pt x="2" y="13"/>
                  </a:lnTo>
                  <a:close/>
                  <a:moveTo>
                    <a:pt x="7" y="15"/>
                  </a:moveTo>
                  <a:lnTo>
                    <a:pt x="5" y="14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5"/>
                  </a:lnTo>
                  <a:close/>
                  <a:moveTo>
                    <a:pt x="13" y="19"/>
                  </a:moveTo>
                  <a:lnTo>
                    <a:pt x="10" y="16"/>
                  </a:lnTo>
                  <a:lnTo>
                    <a:pt x="8" y="16"/>
                  </a:lnTo>
                  <a:lnTo>
                    <a:pt x="9" y="13"/>
                  </a:lnTo>
                  <a:lnTo>
                    <a:pt x="13" y="16"/>
                  </a:lnTo>
                  <a:lnTo>
                    <a:pt x="14" y="18"/>
                  </a:lnTo>
                  <a:lnTo>
                    <a:pt x="13" y="19"/>
                  </a:lnTo>
                  <a:close/>
                  <a:moveTo>
                    <a:pt x="9" y="20"/>
                  </a:moveTo>
                  <a:lnTo>
                    <a:pt x="8" y="19"/>
                  </a:lnTo>
                  <a:lnTo>
                    <a:pt x="9" y="17"/>
                  </a:lnTo>
                  <a:lnTo>
                    <a:pt x="9" y="20"/>
                  </a:lnTo>
                  <a:close/>
                  <a:moveTo>
                    <a:pt x="15" y="20"/>
                  </a:moveTo>
                  <a:lnTo>
                    <a:pt x="14" y="19"/>
                  </a:lnTo>
                  <a:lnTo>
                    <a:pt x="16" y="18"/>
                  </a:lnTo>
                  <a:lnTo>
                    <a:pt x="15" y="20"/>
                  </a:lnTo>
                  <a:close/>
                  <a:moveTo>
                    <a:pt x="90" y="41"/>
                  </a:moveTo>
                  <a:lnTo>
                    <a:pt x="89" y="39"/>
                  </a:lnTo>
                  <a:lnTo>
                    <a:pt x="92" y="39"/>
                  </a:lnTo>
                  <a:lnTo>
                    <a:pt x="90" y="41"/>
                  </a:lnTo>
                  <a:close/>
                  <a:moveTo>
                    <a:pt x="39" y="50"/>
                  </a:moveTo>
                  <a:lnTo>
                    <a:pt x="33" y="47"/>
                  </a:lnTo>
                  <a:lnTo>
                    <a:pt x="38" y="49"/>
                  </a:lnTo>
                  <a:lnTo>
                    <a:pt x="39" y="50"/>
                  </a:lnTo>
                  <a:close/>
                  <a:moveTo>
                    <a:pt x="46" y="24"/>
                  </a:moveTo>
                  <a:lnTo>
                    <a:pt x="47" y="29"/>
                  </a:lnTo>
                  <a:lnTo>
                    <a:pt x="42" y="24"/>
                  </a:lnTo>
                  <a:lnTo>
                    <a:pt x="39" y="16"/>
                  </a:lnTo>
                  <a:lnTo>
                    <a:pt x="42" y="17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6" y="24"/>
                  </a:lnTo>
                  <a:close/>
                  <a:moveTo>
                    <a:pt x="42" y="31"/>
                  </a:moveTo>
                  <a:lnTo>
                    <a:pt x="40" y="32"/>
                  </a:lnTo>
                  <a:lnTo>
                    <a:pt x="32" y="30"/>
                  </a:lnTo>
                  <a:lnTo>
                    <a:pt x="30" y="26"/>
                  </a:lnTo>
                  <a:lnTo>
                    <a:pt x="38" y="27"/>
                  </a:lnTo>
                  <a:lnTo>
                    <a:pt x="42" y="31"/>
                  </a:lnTo>
                  <a:close/>
                  <a:moveTo>
                    <a:pt x="56" y="39"/>
                  </a:moveTo>
                  <a:lnTo>
                    <a:pt x="56" y="41"/>
                  </a:lnTo>
                  <a:lnTo>
                    <a:pt x="51" y="39"/>
                  </a:lnTo>
                  <a:lnTo>
                    <a:pt x="46" y="34"/>
                  </a:lnTo>
                  <a:lnTo>
                    <a:pt x="54" y="37"/>
                  </a:lnTo>
                  <a:lnTo>
                    <a:pt x="56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40" name="Freeform 270">
              <a:extLst>
                <a:ext uri="{FF2B5EF4-FFF2-40B4-BE49-F238E27FC236}">
                  <a16:creationId xmlns:a16="http://schemas.microsoft.com/office/drawing/2014/main" xmlns="" id="{F7BA8355-B05D-4967-9CD7-7F0843EE0555}"/>
                </a:ext>
              </a:extLst>
            </p:cNvPr>
            <p:cNvSpPr>
              <a:spLocks noEditPoints="1"/>
            </p:cNvSpPr>
            <p:nvPr>
              <p:custDataLst>
                <p:tags r:id="rId192"/>
              </p:custDataLst>
            </p:nvPr>
          </p:nvSpPr>
          <p:spPr bwMode="gray">
            <a:xfrm>
              <a:off x="8359570" y="5000831"/>
              <a:ext cx="60805" cy="71187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1" y="5"/>
                </a:cxn>
                <a:cxn ang="0">
                  <a:pos x="25" y="3"/>
                </a:cxn>
                <a:cxn ang="0">
                  <a:pos x="25" y="6"/>
                </a:cxn>
                <a:cxn ang="0">
                  <a:pos x="19" y="6"/>
                </a:cxn>
                <a:cxn ang="0">
                  <a:pos x="19" y="5"/>
                </a:cxn>
                <a:cxn ang="0">
                  <a:pos x="14" y="9"/>
                </a:cxn>
                <a:cxn ang="0">
                  <a:pos x="12" y="6"/>
                </a:cxn>
                <a:cxn ang="0">
                  <a:pos x="16" y="3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3" y="13"/>
                </a:cxn>
                <a:cxn ang="0">
                  <a:pos x="9" y="11"/>
                </a:cxn>
                <a:cxn ang="0">
                  <a:pos x="12" y="15"/>
                </a:cxn>
                <a:cxn ang="0">
                  <a:pos x="13" y="19"/>
                </a:cxn>
                <a:cxn ang="0">
                  <a:pos x="12" y="19"/>
                </a:cxn>
                <a:cxn ang="0">
                  <a:pos x="7" y="21"/>
                </a:cxn>
                <a:cxn ang="0">
                  <a:pos x="2" y="20"/>
                </a:cxn>
                <a:cxn ang="0">
                  <a:pos x="8" y="30"/>
                </a:cxn>
                <a:cxn ang="0">
                  <a:pos x="7" y="29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8" y="30"/>
                </a:cxn>
              </a:cxnLst>
              <a:rect l="0" t="0" r="r" b="b"/>
              <a:pathLst>
                <a:path w="26" h="30">
                  <a:moveTo>
                    <a:pt x="26" y="0"/>
                  </a:moveTo>
                  <a:lnTo>
                    <a:pt x="21" y="5"/>
                  </a:lnTo>
                  <a:lnTo>
                    <a:pt x="25" y="3"/>
                  </a:lnTo>
                  <a:lnTo>
                    <a:pt x="25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4" y="9"/>
                  </a:lnTo>
                  <a:lnTo>
                    <a:pt x="12" y="6"/>
                  </a:lnTo>
                  <a:lnTo>
                    <a:pt x="16" y="3"/>
                  </a:lnTo>
                  <a:lnTo>
                    <a:pt x="26" y="0"/>
                  </a:lnTo>
                  <a:lnTo>
                    <a:pt x="26" y="0"/>
                  </a:lnTo>
                  <a:close/>
                  <a:moveTo>
                    <a:pt x="2" y="20"/>
                  </a:moveTo>
                  <a:lnTo>
                    <a:pt x="0" y="17"/>
                  </a:lnTo>
                  <a:lnTo>
                    <a:pt x="3" y="13"/>
                  </a:lnTo>
                  <a:lnTo>
                    <a:pt x="9" y="11"/>
                  </a:lnTo>
                  <a:lnTo>
                    <a:pt x="12" y="15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7" y="21"/>
                  </a:lnTo>
                  <a:lnTo>
                    <a:pt x="2" y="20"/>
                  </a:lnTo>
                  <a:close/>
                  <a:moveTo>
                    <a:pt x="8" y="30"/>
                  </a:moveTo>
                  <a:lnTo>
                    <a:pt x="7" y="29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3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41" name="Freeform 271">
              <a:extLst>
                <a:ext uri="{FF2B5EF4-FFF2-40B4-BE49-F238E27FC236}">
                  <a16:creationId xmlns:a16="http://schemas.microsoft.com/office/drawing/2014/main" xmlns="" id="{F4E1D4A2-1855-4C84-AF15-91B19519AAE5}"/>
                </a:ext>
              </a:extLst>
            </p:cNvPr>
            <p:cNvSpPr>
              <a:spLocks noEditPoints="1"/>
            </p:cNvSpPr>
            <p:nvPr>
              <p:custDataLst>
                <p:tags r:id="rId193"/>
              </p:custDataLst>
            </p:nvPr>
          </p:nvSpPr>
          <p:spPr bwMode="gray">
            <a:xfrm>
              <a:off x="8117831" y="4965238"/>
              <a:ext cx="66737" cy="118645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7" y="9"/>
                </a:cxn>
                <a:cxn ang="0">
                  <a:pos x="2" y="10"/>
                </a:cxn>
                <a:cxn ang="0">
                  <a:pos x="0" y="0"/>
                </a:cxn>
                <a:cxn ang="0">
                  <a:pos x="3" y="5"/>
                </a:cxn>
                <a:cxn ang="0">
                  <a:pos x="4" y="3"/>
                </a:cxn>
                <a:cxn ang="0">
                  <a:pos x="5" y="5"/>
                </a:cxn>
                <a:cxn ang="0">
                  <a:pos x="18" y="32"/>
                </a:cxn>
                <a:cxn ang="0">
                  <a:pos x="15" y="30"/>
                </a:cxn>
                <a:cxn ang="0">
                  <a:pos x="17" y="29"/>
                </a:cxn>
                <a:cxn ang="0">
                  <a:pos x="19" y="30"/>
                </a:cxn>
                <a:cxn ang="0">
                  <a:pos x="18" y="32"/>
                </a:cxn>
                <a:cxn ang="0">
                  <a:pos x="26" y="43"/>
                </a:cxn>
                <a:cxn ang="0">
                  <a:pos x="23" y="42"/>
                </a:cxn>
                <a:cxn ang="0">
                  <a:pos x="24" y="40"/>
                </a:cxn>
                <a:cxn ang="0">
                  <a:pos x="26" y="42"/>
                </a:cxn>
                <a:cxn ang="0">
                  <a:pos x="26" y="43"/>
                </a:cxn>
                <a:cxn ang="0">
                  <a:pos x="27" y="50"/>
                </a:cxn>
                <a:cxn ang="0">
                  <a:pos x="26" y="48"/>
                </a:cxn>
                <a:cxn ang="0">
                  <a:pos x="26" y="47"/>
                </a:cxn>
                <a:cxn ang="0">
                  <a:pos x="28" y="48"/>
                </a:cxn>
                <a:cxn ang="0">
                  <a:pos x="27" y="50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4" y="7"/>
                </a:cxn>
                <a:cxn ang="0">
                  <a:pos x="12" y="9"/>
                </a:cxn>
                <a:cxn ang="0">
                  <a:pos x="9" y="19"/>
                </a:cxn>
                <a:cxn ang="0">
                  <a:pos x="8" y="15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12" y="18"/>
                </a:cxn>
                <a:cxn ang="0">
                  <a:pos x="9" y="19"/>
                </a:cxn>
                <a:cxn ang="0">
                  <a:pos x="15" y="17"/>
                </a:cxn>
                <a:cxn ang="0">
                  <a:pos x="13" y="16"/>
                </a:cxn>
                <a:cxn ang="0">
                  <a:pos x="15" y="14"/>
                </a:cxn>
                <a:cxn ang="0">
                  <a:pos x="17" y="17"/>
                </a:cxn>
                <a:cxn ang="0">
                  <a:pos x="15" y="17"/>
                </a:cxn>
                <a:cxn ang="0">
                  <a:pos x="18" y="22"/>
                </a:cxn>
                <a:cxn ang="0">
                  <a:pos x="15" y="21"/>
                </a:cxn>
                <a:cxn ang="0">
                  <a:pos x="15" y="19"/>
                </a:cxn>
                <a:cxn ang="0">
                  <a:pos x="18" y="22"/>
                </a:cxn>
              </a:cxnLst>
              <a:rect l="0" t="0" r="r" b="b"/>
              <a:pathLst>
                <a:path w="28" h="50">
                  <a:moveTo>
                    <a:pt x="5" y="5"/>
                  </a:moveTo>
                  <a:lnTo>
                    <a:pt x="7" y="9"/>
                  </a:lnTo>
                  <a:lnTo>
                    <a:pt x="2" y="10"/>
                  </a:lnTo>
                  <a:lnTo>
                    <a:pt x="0" y="0"/>
                  </a:lnTo>
                  <a:lnTo>
                    <a:pt x="3" y="5"/>
                  </a:lnTo>
                  <a:lnTo>
                    <a:pt x="4" y="3"/>
                  </a:lnTo>
                  <a:lnTo>
                    <a:pt x="5" y="5"/>
                  </a:lnTo>
                  <a:close/>
                  <a:moveTo>
                    <a:pt x="18" y="32"/>
                  </a:moveTo>
                  <a:lnTo>
                    <a:pt x="15" y="30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18" y="32"/>
                  </a:lnTo>
                  <a:close/>
                  <a:moveTo>
                    <a:pt x="26" y="43"/>
                  </a:moveTo>
                  <a:lnTo>
                    <a:pt x="23" y="42"/>
                  </a:lnTo>
                  <a:lnTo>
                    <a:pt x="24" y="40"/>
                  </a:lnTo>
                  <a:lnTo>
                    <a:pt x="26" y="42"/>
                  </a:lnTo>
                  <a:lnTo>
                    <a:pt x="26" y="43"/>
                  </a:lnTo>
                  <a:close/>
                  <a:moveTo>
                    <a:pt x="27" y="50"/>
                  </a:moveTo>
                  <a:lnTo>
                    <a:pt x="26" y="48"/>
                  </a:lnTo>
                  <a:lnTo>
                    <a:pt x="26" y="47"/>
                  </a:lnTo>
                  <a:lnTo>
                    <a:pt x="28" y="48"/>
                  </a:lnTo>
                  <a:lnTo>
                    <a:pt x="27" y="50"/>
                  </a:lnTo>
                  <a:close/>
                  <a:moveTo>
                    <a:pt x="12" y="9"/>
                  </a:moveTo>
                  <a:lnTo>
                    <a:pt x="11" y="8"/>
                  </a:lnTo>
                  <a:lnTo>
                    <a:pt x="14" y="7"/>
                  </a:lnTo>
                  <a:lnTo>
                    <a:pt x="12" y="9"/>
                  </a:lnTo>
                  <a:close/>
                  <a:moveTo>
                    <a:pt x="9" y="19"/>
                  </a:moveTo>
                  <a:lnTo>
                    <a:pt x="8" y="15"/>
                  </a:lnTo>
                  <a:lnTo>
                    <a:pt x="6" y="14"/>
                  </a:lnTo>
                  <a:lnTo>
                    <a:pt x="7" y="12"/>
                  </a:lnTo>
                  <a:lnTo>
                    <a:pt x="12" y="18"/>
                  </a:lnTo>
                  <a:lnTo>
                    <a:pt x="9" y="19"/>
                  </a:lnTo>
                  <a:close/>
                  <a:moveTo>
                    <a:pt x="15" y="17"/>
                  </a:moveTo>
                  <a:lnTo>
                    <a:pt x="13" y="16"/>
                  </a:lnTo>
                  <a:lnTo>
                    <a:pt x="15" y="14"/>
                  </a:lnTo>
                  <a:lnTo>
                    <a:pt x="17" y="17"/>
                  </a:lnTo>
                  <a:lnTo>
                    <a:pt x="15" y="17"/>
                  </a:lnTo>
                  <a:close/>
                  <a:moveTo>
                    <a:pt x="18" y="22"/>
                  </a:moveTo>
                  <a:lnTo>
                    <a:pt x="15" y="21"/>
                  </a:lnTo>
                  <a:lnTo>
                    <a:pt x="15" y="19"/>
                  </a:lnTo>
                  <a:lnTo>
                    <a:pt x="18" y="2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42" name="Freeform 272">
              <a:extLst>
                <a:ext uri="{FF2B5EF4-FFF2-40B4-BE49-F238E27FC236}">
                  <a16:creationId xmlns:a16="http://schemas.microsoft.com/office/drawing/2014/main" xmlns="" id="{679A4749-39A0-414F-90AF-59519D747D39}"/>
                </a:ext>
              </a:extLst>
            </p:cNvPr>
            <p:cNvSpPr>
              <a:spLocks noEditPoints="1"/>
            </p:cNvSpPr>
            <p:nvPr>
              <p:custDataLst>
                <p:tags r:id="rId194"/>
              </p:custDataLst>
            </p:nvPr>
          </p:nvSpPr>
          <p:spPr bwMode="gray">
            <a:xfrm>
              <a:off x="8058509" y="5092781"/>
              <a:ext cx="94916" cy="54874"/>
            </a:xfrm>
            <a:custGeom>
              <a:avLst/>
              <a:gdLst/>
              <a:ahLst/>
              <a:cxnLst>
                <a:cxn ang="0">
                  <a:pos x="15" y="10"/>
                </a:cxn>
                <a:cxn ang="0">
                  <a:pos x="29" y="20"/>
                </a:cxn>
                <a:cxn ang="0">
                  <a:pos x="29" y="23"/>
                </a:cxn>
                <a:cxn ang="0">
                  <a:pos x="24" y="23"/>
                </a:cxn>
                <a:cxn ang="0">
                  <a:pos x="21" y="19"/>
                </a:cxn>
                <a:cxn ang="0">
                  <a:pos x="13" y="15"/>
                </a:cxn>
                <a:cxn ang="0">
                  <a:pos x="5" y="7"/>
                </a:cxn>
                <a:cxn ang="0">
                  <a:pos x="0" y="0"/>
                </a:cxn>
                <a:cxn ang="0">
                  <a:pos x="13" y="7"/>
                </a:cxn>
                <a:cxn ang="0">
                  <a:pos x="15" y="10"/>
                </a:cxn>
                <a:cxn ang="0">
                  <a:pos x="33" y="11"/>
                </a:cxn>
                <a:cxn ang="0">
                  <a:pos x="30" y="9"/>
                </a:cxn>
                <a:cxn ang="0">
                  <a:pos x="31" y="8"/>
                </a:cxn>
                <a:cxn ang="0">
                  <a:pos x="30" y="6"/>
                </a:cxn>
                <a:cxn ang="0">
                  <a:pos x="32" y="6"/>
                </a:cxn>
                <a:cxn ang="0">
                  <a:pos x="32" y="8"/>
                </a:cxn>
                <a:cxn ang="0">
                  <a:pos x="34" y="10"/>
                </a:cxn>
                <a:cxn ang="0">
                  <a:pos x="33" y="11"/>
                </a:cxn>
                <a:cxn ang="0">
                  <a:pos x="39" y="16"/>
                </a:cxn>
                <a:cxn ang="0">
                  <a:pos x="37" y="13"/>
                </a:cxn>
                <a:cxn ang="0">
                  <a:pos x="40" y="14"/>
                </a:cxn>
                <a:cxn ang="0">
                  <a:pos x="40" y="16"/>
                </a:cxn>
                <a:cxn ang="0">
                  <a:pos x="39" y="16"/>
                </a:cxn>
              </a:cxnLst>
              <a:rect l="0" t="0" r="r" b="b"/>
              <a:pathLst>
                <a:path w="40" h="23">
                  <a:moveTo>
                    <a:pt x="15" y="10"/>
                  </a:moveTo>
                  <a:lnTo>
                    <a:pt x="29" y="20"/>
                  </a:lnTo>
                  <a:lnTo>
                    <a:pt x="29" y="23"/>
                  </a:lnTo>
                  <a:lnTo>
                    <a:pt x="24" y="23"/>
                  </a:lnTo>
                  <a:lnTo>
                    <a:pt x="21" y="19"/>
                  </a:lnTo>
                  <a:lnTo>
                    <a:pt x="13" y="15"/>
                  </a:lnTo>
                  <a:lnTo>
                    <a:pt x="5" y="7"/>
                  </a:lnTo>
                  <a:lnTo>
                    <a:pt x="0" y="0"/>
                  </a:lnTo>
                  <a:lnTo>
                    <a:pt x="13" y="7"/>
                  </a:lnTo>
                  <a:lnTo>
                    <a:pt x="15" y="10"/>
                  </a:lnTo>
                  <a:close/>
                  <a:moveTo>
                    <a:pt x="33" y="11"/>
                  </a:moveTo>
                  <a:lnTo>
                    <a:pt x="30" y="9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3" y="11"/>
                  </a:lnTo>
                  <a:close/>
                  <a:moveTo>
                    <a:pt x="39" y="16"/>
                  </a:moveTo>
                  <a:lnTo>
                    <a:pt x="37" y="13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9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43" name="Rectangle 203">
              <a:extLst>
                <a:ext uri="{FF2B5EF4-FFF2-40B4-BE49-F238E27FC236}">
                  <a16:creationId xmlns:a16="http://schemas.microsoft.com/office/drawing/2014/main" xmlns="" id="{BA9B8860-DE22-4966-8F63-9352C364E0A9}"/>
                </a:ext>
              </a:extLst>
            </p:cNvPr>
            <p:cNvSpPr>
              <a:spLocks noChangeArrowheads="1"/>
            </p:cNvSpPr>
            <p:nvPr>
              <p:custDataLst>
                <p:tags r:id="rId195"/>
              </p:custDataLst>
            </p:nvPr>
          </p:nvSpPr>
          <p:spPr bwMode="gray">
            <a:xfrm>
              <a:off x="425179" y="3830694"/>
              <a:ext cx="2966" cy="2966"/>
            </a:xfrm>
            <a:prstGeom prst="rect">
              <a:avLst/>
            </a:prstGeom>
            <a:grpFill/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44" name="Freeform 273">
              <a:extLst>
                <a:ext uri="{FF2B5EF4-FFF2-40B4-BE49-F238E27FC236}">
                  <a16:creationId xmlns:a16="http://schemas.microsoft.com/office/drawing/2014/main" xmlns="" id="{4742315B-8F69-47A6-8E18-E8A821688DB2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gray">
            <a:xfrm>
              <a:off x="6778624" y="4879220"/>
              <a:ext cx="2966" cy="296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45" name="Freeform 275">
              <a:extLst>
                <a:ext uri="{FF2B5EF4-FFF2-40B4-BE49-F238E27FC236}">
                  <a16:creationId xmlns:a16="http://schemas.microsoft.com/office/drawing/2014/main" xmlns="" id="{7CF06B19-7E62-46FF-915D-E6D9AF5DE9E4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gray">
            <a:xfrm>
              <a:off x="7674395" y="4186629"/>
              <a:ext cx="7416" cy="10382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1" y="4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46" name="Freeform 276">
              <a:extLst>
                <a:ext uri="{FF2B5EF4-FFF2-40B4-BE49-F238E27FC236}">
                  <a16:creationId xmlns:a16="http://schemas.microsoft.com/office/drawing/2014/main" xmlns="" id="{E4ED1DC0-3466-4D3A-A6C5-882ADC33A128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7698124" y="4151035"/>
              <a:ext cx="2966" cy="593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47" name="Freeform 277">
              <a:extLst>
                <a:ext uri="{FF2B5EF4-FFF2-40B4-BE49-F238E27FC236}">
                  <a16:creationId xmlns:a16="http://schemas.microsoft.com/office/drawing/2014/main" xmlns="" id="{0FF2A8A3-65BF-4B72-8EF2-1BE7326EEBF2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7429690" y="4379427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48" name="Freeform 278">
              <a:extLst>
                <a:ext uri="{FF2B5EF4-FFF2-40B4-BE49-F238E27FC236}">
                  <a16:creationId xmlns:a16="http://schemas.microsoft.com/office/drawing/2014/main" xmlns="" id="{F683FB09-468C-413A-B533-806A368702F8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gray">
            <a:xfrm>
              <a:off x="7933931" y="4358664"/>
              <a:ext cx="2966" cy="44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49" name="Freeform 279">
              <a:extLst>
                <a:ext uri="{FF2B5EF4-FFF2-40B4-BE49-F238E27FC236}">
                  <a16:creationId xmlns:a16="http://schemas.microsoft.com/office/drawing/2014/main" xmlns="" id="{E505AB6B-609C-4F68-92B5-93D35587759F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gray">
            <a:xfrm>
              <a:off x="8114865" y="4054637"/>
              <a:ext cx="1483" cy="296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50" name="Freeform 280">
              <a:extLst>
                <a:ext uri="{FF2B5EF4-FFF2-40B4-BE49-F238E27FC236}">
                  <a16:creationId xmlns:a16="http://schemas.microsoft.com/office/drawing/2014/main" xmlns="" id="{6D15D1D3-BCE1-4D4E-ABF6-C9DD25551446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gray">
            <a:xfrm>
              <a:off x="8159357" y="4348283"/>
              <a:ext cx="4449" cy="296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51" name="Freeform 375">
              <a:extLst>
                <a:ext uri="{FF2B5EF4-FFF2-40B4-BE49-F238E27FC236}">
                  <a16:creationId xmlns:a16="http://schemas.microsoft.com/office/drawing/2014/main" xmlns="" id="{3C021773-226E-4F52-9085-EB1D0AE60F35}"/>
                </a:ext>
              </a:extLst>
            </p:cNvPr>
            <p:cNvSpPr>
              <a:spLocks noEditPoints="1"/>
            </p:cNvSpPr>
            <p:nvPr>
              <p:custDataLst>
                <p:tags r:id="rId203"/>
              </p:custDataLst>
            </p:nvPr>
          </p:nvSpPr>
          <p:spPr bwMode="gray">
            <a:xfrm>
              <a:off x="2987913" y="6099782"/>
              <a:ext cx="75636" cy="38560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26" y="0"/>
                </a:cxn>
                <a:cxn ang="0">
                  <a:pos x="26" y="2"/>
                </a:cxn>
                <a:cxn ang="0">
                  <a:pos x="24" y="2"/>
                </a:cxn>
                <a:cxn ang="0">
                  <a:pos x="27" y="5"/>
                </a:cxn>
                <a:cxn ang="0">
                  <a:pos x="27" y="1"/>
                </a:cxn>
                <a:cxn ang="0">
                  <a:pos x="30" y="1"/>
                </a:cxn>
                <a:cxn ang="0">
                  <a:pos x="31" y="4"/>
                </a:cxn>
                <a:cxn ang="0">
                  <a:pos x="28" y="4"/>
                </a:cxn>
                <a:cxn ang="0">
                  <a:pos x="32" y="6"/>
                </a:cxn>
                <a:cxn ang="0">
                  <a:pos x="26" y="9"/>
                </a:cxn>
                <a:cxn ang="0">
                  <a:pos x="21" y="8"/>
                </a:cxn>
                <a:cxn ang="0">
                  <a:pos x="23" y="12"/>
                </a:cxn>
                <a:cxn ang="0">
                  <a:pos x="18" y="11"/>
                </a:cxn>
                <a:cxn ang="0">
                  <a:pos x="19" y="14"/>
                </a:cxn>
                <a:cxn ang="0">
                  <a:pos x="16" y="13"/>
                </a:cxn>
                <a:cxn ang="0">
                  <a:pos x="16" y="16"/>
                </a:cxn>
                <a:cxn ang="0">
                  <a:pos x="13" y="12"/>
                </a:cxn>
                <a:cxn ang="0">
                  <a:pos x="18" y="6"/>
                </a:cxn>
                <a:cxn ang="0">
                  <a:pos x="20" y="8"/>
                </a:cxn>
                <a:cxn ang="0">
                  <a:pos x="7" y="8"/>
                </a:cxn>
                <a:cxn ang="0">
                  <a:pos x="9" y="6"/>
                </a:cxn>
                <a:cxn ang="0">
                  <a:pos x="4" y="5"/>
                </a:cxn>
                <a:cxn ang="0">
                  <a:pos x="9" y="5"/>
                </a:cxn>
                <a:cxn ang="0">
                  <a:pos x="4" y="1"/>
                </a:cxn>
                <a:cxn ang="0">
                  <a:pos x="9" y="3"/>
                </a:cxn>
                <a:cxn ang="0">
                  <a:pos x="10" y="1"/>
                </a:cxn>
                <a:cxn ang="0">
                  <a:pos x="18" y="1"/>
                </a:cxn>
                <a:cxn ang="0">
                  <a:pos x="7" y="13"/>
                </a:cxn>
                <a:cxn ang="0">
                  <a:pos x="4" y="15"/>
                </a:cxn>
                <a:cxn ang="0">
                  <a:pos x="1" y="12"/>
                </a:cxn>
                <a:cxn ang="0">
                  <a:pos x="6" y="10"/>
                </a:cxn>
                <a:cxn ang="0">
                  <a:pos x="6" y="7"/>
                </a:cxn>
                <a:cxn ang="0">
                  <a:pos x="7" y="8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1" y="10"/>
                </a:cxn>
              </a:cxnLst>
              <a:rect l="0" t="0" r="r" b="b"/>
              <a:pathLst>
                <a:path w="32" h="16">
                  <a:moveTo>
                    <a:pt x="20" y="8"/>
                  </a:moveTo>
                  <a:lnTo>
                    <a:pt x="18" y="4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7" y="5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1" y="4"/>
                  </a:lnTo>
                  <a:lnTo>
                    <a:pt x="28" y="4"/>
                  </a:lnTo>
                  <a:lnTo>
                    <a:pt x="32" y="6"/>
                  </a:lnTo>
                  <a:lnTo>
                    <a:pt x="26" y="9"/>
                  </a:lnTo>
                  <a:lnTo>
                    <a:pt x="21" y="8"/>
                  </a:lnTo>
                  <a:lnTo>
                    <a:pt x="23" y="12"/>
                  </a:lnTo>
                  <a:lnTo>
                    <a:pt x="18" y="11"/>
                  </a:lnTo>
                  <a:lnTo>
                    <a:pt x="19" y="14"/>
                  </a:lnTo>
                  <a:lnTo>
                    <a:pt x="16" y="13"/>
                  </a:lnTo>
                  <a:lnTo>
                    <a:pt x="16" y="16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0" y="8"/>
                  </a:lnTo>
                  <a:close/>
                  <a:moveTo>
                    <a:pt x="7" y="8"/>
                  </a:moveTo>
                  <a:lnTo>
                    <a:pt x="9" y="6"/>
                  </a:lnTo>
                  <a:lnTo>
                    <a:pt x="4" y="5"/>
                  </a:lnTo>
                  <a:lnTo>
                    <a:pt x="9" y="5"/>
                  </a:lnTo>
                  <a:lnTo>
                    <a:pt x="4" y="1"/>
                  </a:lnTo>
                  <a:lnTo>
                    <a:pt x="9" y="3"/>
                  </a:lnTo>
                  <a:lnTo>
                    <a:pt x="10" y="1"/>
                  </a:lnTo>
                  <a:lnTo>
                    <a:pt x="18" y="1"/>
                  </a:lnTo>
                  <a:lnTo>
                    <a:pt x="7" y="13"/>
                  </a:lnTo>
                  <a:lnTo>
                    <a:pt x="4" y="15"/>
                  </a:lnTo>
                  <a:lnTo>
                    <a:pt x="1" y="12"/>
                  </a:lnTo>
                  <a:lnTo>
                    <a:pt x="6" y="10"/>
                  </a:lnTo>
                  <a:lnTo>
                    <a:pt x="6" y="7"/>
                  </a:lnTo>
                  <a:lnTo>
                    <a:pt x="7" y="8"/>
                  </a:lnTo>
                  <a:close/>
                  <a:moveTo>
                    <a:pt x="1" y="1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52" name="Freeform 402">
              <a:extLst>
                <a:ext uri="{FF2B5EF4-FFF2-40B4-BE49-F238E27FC236}">
                  <a16:creationId xmlns:a16="http://schemas.microsoft.com/office/drawing/2014/main" xmlns="" id="{BF0D47B6-9197-43B8-B506-C5541F5180C3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gray">
            <a:xfrm>
              <a:off x="2936006" y="3677939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grpSp>
          <p:nvGrpSpPr>
            <p:cNvPr id="253" name="Group 195">
              <a:extLst>
                <a:ext uri="{FF2B5EF4-FFF2-40B4-BE49-F238E27FC236}">
                  <a16:creationId xmlns:a16="http://schemas.microsoft.com/office/drawing/2014/main" xmlns="" id="{7DC9DD4C-6851-49C3-95A8-C98F3F868D52}"/>
                </a:ext>
              </a:extLst>
            </p:cNvPr>
            <p:cNvGrpSpPr>
              <a:grpSpLocks/>
            </p:cNvGrpSpPr>
            <p:nvPr>
              <p:custDataLst>
                <p:tags r:id="rId205"/>
              </p:custDataLst>
            </p:nvPr>
          </p:nvGrpSpPr>
          <p:grpSpPr bwMode="gray">
            <a:xfrm>
              <a:off x="4665259" y="4201460"/>
              <a:ext cx="490894" cy="474580"/>
              <a:chOff x="3035" y="2705"/>
              <a:chExt cx="331" cy="320"/>
            </a:xfrm>
            <a:grpFill/>
          </p:grpSpPr>
          <p:sp>
            <p:nvSpPr>
              <p:cNvPr id="262" name="Freeform 196">
                <a:extLst>
                  <a:ext uri="{FF2B5EF4-FFF2-40B4-BE49-F238E27FC236}">
                    <a16:creationId xmlns:a16="http://schemas.microsoft.com/office/drawing/2014/main" xmlns="" id="{C3DB2F64-6967-4CD1-9F9A-B61F1BAD84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35" y="2705"/>
                <a:ext cx="36" cy="36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4" y="8"/>
                  </a:cxn>
                  <a:cxn ang="0">
                    <a:pos x="0" y="8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8" y="16"/>
                  </a:cxn>
                  <a:cxn ang="0">
                    <a:pos x="32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2" y="28"/>
                  </a:cxn>
                  <a:cxn ang="0">
                    <a:pos x="32" y="28"/>
                  </a:cxn>
                  <a:cxn ang="0">
                    <a:pos x="28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16" y="32"/>
                  </a:cxn>
                  <a:cxn ang="0">
                    <a:pos x="12" y="24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36" h="36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/>
              </a:p>
            </p:txBody>
          </p:sp>
          <p:sp>
            <p:nvSpPr>
              <p:cNvPr id="263" name="Freeform 197">
                <a:extLst>
                  <a:ext uri="{FF2B5EF4-FFF2-40B4-BE49-F238E27FC236}">
                    <a16:creationId xmlns:a16="http://schemas.microsoft.com/office/drawing/2014/main" xmlns="" id="{5B561DDC-9D5D-4BFA-BC7E-AC9A723DB9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8" y="2965"/>
                <a:ext cx="48" cy="6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32" y="0"/>
                  </a:cxn>
                  <a:cxn ang="0">
                    <a:pos x="36" y="4"/>
                  </a:cxn>
                  <a:cxn ang="0">
                    <a:pos x="36" y="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44" y="12"/>
                  </a:cxn>
                  <a:cxn ang="0">
                    <a:pos x="40" y="8"/>
                  </a:cxn>
                  <a:cxn ang="0">
                    <a:pos x="48" y="8"/>
                  </a:cxn>
                  <a:cxn ang="0">
                    <a:pos x="44" y="12"/>
                  </a:cxn>
                  <a:cxn ang="0">
                    <a:pos x="40" y="16"/>
                  </a:cxn>
                  <a:cxn ang="0">
                    <a:pos x="36" y="16"/>
                  </a:cxn>
                  <a:cxn ang="0">
                    <a:pos x="40" y="24"/>
                  </a:cxn>
                  <a:cxn ang="0">
                    <a:pos x="36" y="28"/>
                  </a:cxn>
                  <a:cxn ang="0">
                    <a:pos x="36" y="32"/>
                  </a:cxn>
                  <a:cxn ang="0">
                    <a:pos x="32" y="32"/>
                  </a:cxn>
                  <a:cxn ang="0">
                    <a:pos x="32" y="40"/>
                  </a:cxn>
                  <a:cxn ang="0">
                    <a:pos x="24" y="40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2" y="44"/>
                  </a:cxn>
                  <a:cxn ang="0">
                    <a:pos x="28" y="48"/>
                  </a:cxn>
                  <a:cxn ang="0">
                    <a:pos x="24" y="52"/>
                  </a:cxn>
                  <a:cxn ang="0">
                    <a:pos x="20" y="48"/>
                  </a:cxn>
                  <a:cxn ang="0">
                    <a:pos x="20" y="56"/>
                  </a:cxn>
                  <a:cxn ang="0">
                    <a:pos x="16" y="60"/>
                  </a:cxn>
                  <a:cxn ang="0">
                    <a:pos x="20" y="56"/>
                  </a:cxn>
                  <a:cxn ang="0">
                    <a:pos x="16" y="52"/>
                  </a:cxn>
                  <a:cxn ang="0">
                    <a:pos x="16" y="52"/>
                  </a:cxn>
                  <a:cxn ang="0">
                    <a:pos x="12" y="48"/>
                  </a:cxn>
                  <a:cxn ang="0">
                    <a:pos x="8" y="52"/>
                  </a:cxn>
                  <a:cxn ang="0">
                    <a:pos x="4" y="56"/>
                  </a:cxn>
                  <a:cxn ang="0">
                    <a:pos x="4" y="52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0" y="32"/>
                  </a:cxn>
                  <a:cxn ang="0">
                    <a:pos x="4" y="28"/>
                  </a:cxn>
                  <a:cxn ang="0">
                    <a:pos x="0" y="20"/>
                  </a:cxn>
                  <a:cxn ang="0">
                    <a:pos x="4" y="12"/>
                  </a:cxn>
                  <a:cxn ang="0">
                    <a:pos x="8" y="8"/>
                  </a:cxn>
                  <a:cxn ang="0">
                    <a:pos x="12" y="4"/>
                  </a:cxn>
                  <a:cxn ang="0">
                    <a:pos x="16" y="0"/>
                  </a:cxn>
                  <a:cxn ang="0">
                    <a:pos x="20" y="4"/>
                  </a:cxn>
                  <a:cxn ang="0">
                    <a:pos x="24" y="0"/>
                  </a:cxn>
                </a:cxnLst>
                <a:rect l="0" t="0" r="r" b="b"/>
                <a:pathLst>
                  <a:path w="48" h="60">
                    <a:moveTo>
                      <a:pt x="24" y="0"/>
                    </a:moveTo>
                    <a:lnTo>
                      <a:pt x="28" y="0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32" y="48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0" y="48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0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0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/>
              </a:p>
            </p:txBody>
          </p:sp>
        </p:grpSp>
        <p:sp>
          <p:nvSpPr>
            <p:cNvPr id="254" name="Freeform 405">
              <a:extLst>
                <a:ext uri="{FF2B5EF4-FFF2-40B4-BE49-F238E27FC236}">
                  <a16:creationId xmlns:a16="http://schemas.microsoft.com/office/drawing/2014/main" xmlns="" id="{A4C0358F-A756-42A7-9840-D7B5DFAAAC7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3441" y="2734710"/>
              <a:ext cx="71187" cy="69704"/>
            </a:xfrm>
            <a:custGeom>
              <a:avLst/>
              <a:gdLst/>
              <a:ahLst/>
              <a:cxnLst>
                <a:cxn ang="0">
                  <a:pos x="20" y="43"/>
                </a:cxn>
                <a:cxn ang="0">
                  <a:pos x="20" y="43"/>
                </a:cxn>
                <a:cxn ang="0">
                  <a:pos x="20" y="39"/>
                </a:cxn>
                <a:cxn ang="0">
                  <a:pos x="16" y="35"/>
                </a:cxn>
                <a:cxn ang="0">
                  <a:pos x="16" y="35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19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7"/>
                </a:cxn>
                <a:cxn ang="0">
                  <a:pos x="12" y="7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7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28" y="7"/>
                </a:cxn>
                <a:cxn ang="0">
                  <a:pos x="28" y="11"/>
                </a:cxn>
                <a:cxn ang="0">
                  <a:pos x="28" y="11"/>
                </a:cxn>
                <a:cxn ang="0">
                  <a:pos x="32" y="15"/>
                </a:cxn>
                <a:cxn ang="0">
                  <a:pos x="40" y="15"/>
                </a:cxn>
                <a:cxn ang="0">
                  <a:pos x="44" y="19"/>
                </a:cxn>
                <a:cxn ang="0">
                  <a:pos x="44" y="19"/>
                </a:cxn>
                <a:cxn ang="0">
                  <a:pos x="44" y="23"/>
                </a:cxn>
                <a:cxn ang="0">
                  <a:pos x="48" y="23"/>
                </a:cxn>
                <a:cxn ang="0">
                  <a:pos x="44" y="27"/>
                </a:cxn>
                <a:cxn ang="0">
                  <a:pos x="48" y="27"/>
                </a:cxn>
                <a:cxn ang="0">
                  <a:pos x="48" y="31"/>
                </a:cxn>
                <a:cxn ang="0">
                  <a:pos x="48" y="31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4" y="35"/>
                </a:cxn>
                <a:cxn ang="0">
                  <a:pos x="44" y="35"/>
                </a:cxn>
                <a:cxn ang="0">
                  <a:pos x="44" y="39"/>
                </a:cxn>
                <a:cxn ang="0">
                  <a:pos x="40" y="43"/>
                </a:cxn>
                <a:cxn ang="0">
                  <a:pos x="36" y="39"/>
                </a:cxn>
                <a:cxn ang="0">
                  <a:pos x="36" y="39"/>
                </a:cxn>
                <a:cxn ang="0">
                  <a:pos x="28" y="39"/>
                </a:cxn>
                <a:cxn ang="0">
                  <a:pos x="28" y="43"/>
                </a:cxn>
                <a:cxn ang="0">
                  <a:pos x="28" y="43"/>
                </a:cxn>
                <a:cxn ang="0">
                  <a:pos x="28" y="47"/>
                </a:cxn>
                <a:cxn ang="0">
                  <a:pos x="24" y="47"/>
                </a:cxn>
                <a:cxn ang="0">
                  <a:pos x="20" y="47"/>
                </a:cxn>
              </a:cxnLst>
              <a:rect l="0" t="0" r="r" b="b"/>
              <a:pathLst>
                <a:path w="48" h="47">
                  <a:moveTo>
                    <a:pt x="20" y="47"/>
                  </a:moveTo>
                  <a:lnTo>
                    <a:pt x="20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8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4" y="35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55" name="Freeform 207">
              <a:extLst>
                <a:ext uri="{FF2B5EF4-FFF2-40B4-BE49-F238E27FC236}">
                  <a16:creationId xmlns:a16="http://schemas.microsoft.com/office/drawing/2014/main" xmlns="" id="{0C8D650C-240E-45D1-B516-DA13876F0328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gray">
            <a:xfrm>
              <a:off x="5423105" y="3243400"/>
              <a:ext cx="182416" cy="324791"/>
            </a:xfrm>
            <a:custGeom>
              <a:avLst/>
              <a:gdLst/>
              <a:ahLst/>
              <a:cxnLst>
                <a:cxn ang="0">
                  <a:pos x="40" y="155"/>
                </a:cxn>
                <a:cxn ang="0">
                  <a:pos x="52" y="143"/>
                </a:cxn>
                <a:cxn ang="0">
                  <a:pos x="48" y="139"/>
                </a:cxn>
                <a:cxn ang="0">
                  <a:pos x="40" y="127"/>
                </a:cxn>
                <a:cxn ang="0">
                  <a:pos x="32" y="115"/>
                </a:cxn>
                <a:cxn ang="0">
                  <a:pos x="24" y="99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32" y="24"/>
                </a:cxn>
                <a:cxn ang="0">
                  <a:pos x="40" y="16"/>
                </a:cxn>
                <a:cxn ang="0">
                  <a:pos x="48" y="12"/>
                </a:cxn>
                <a:cxn ang="0">
                  <a:pos x="64" y="4"/>
                </a:cxn>
                <a:cxn ang="0">
                  <a:pos x="75" y="4"/>
                </a:cxn>
                <a:cxn ang="0">
                  <a:pos x="91" y="4"/>
                </a:cxn>
                <a:cxn ang="0">
                  <a:pos x="99" y="16"/>
                </a:cxn>
                <a:cxn ang="0">
                  <a:pos x="95" y="36"/>
                </a:cxn>
                <a:cxn ang="0">
                  <a:pos x="83" y="36"/>
                </a:cxn>
                <a:cxn ang="0">
                  <a:pos x="68" y="40"/>
                </a:cxn>
                <a:cxn ang="0">
                  <a:pos x="68" y="52"/>
                </a:cxn>
                <a:cxn ang="0">
                  <a:pos x="68" y="56"/>
                </a:cxn>
                <a:cxn ang="0">
                  <a:pos x="56" y="60"/>
                </a:cxn>
                <a:cxn ang="0">
                  <a:pos x="68" y="72"/>
                </a:cxn>
                <a:cxn ang="0">
                  <a:pos x="79" y="88"/>
                </a:cxn>
                <a:cxn ang="0">
                  <a:pos x="91" y="92"/>
                </a:cxn>
                <a:cxn ang="0">
                  <a:pos x="87" y="107"/>
                </a:cxn>
                <a:cxn ang="0">
                  <a:pos x="87" y="119"/>
                </a:cxn>
                <a:cxn ang="0">
                  <a:pos x="91" y="119"/>
                </a:cxn>
                <a:cxn ang="0">
                  <a:pos x="95" y="107"/>
                </a:cxn>
                <a:cxn ang="0">
                  <a:pos x="111" y="111"/>
                </a:cxn>
                <a:cxn ang="0">
                  <a:pos x="119" y="123"/>
                </a:cxn>
                <a:cxn ang="0">
                  <a:pos x="115" y="135"/>
                </a:cxn>
                <a:cxn ang="0">
                  <a:pos x="107" y="131"/>
                </a:cxn>
                <a:cxn ang="0">
                  <a:pos x="95" y="131"/>
                </a:cxn>
                <a:cxn ang="0">
                  <a:pos x="95" y="135"/>
                </a:cxn>
                <a:cxn ang="0">
                  <a:pos x="91" y="151"/>
                </a:cxn>
                <a:cxn ang="0">
                  <a:pos x="95" y="151"/>
                </a:cxn>
                <a:cxn ang="0">
                  <a:pos x="107" y="155"/>
                </a:cxn>
                <a:cxn ang="0">
                  <a:pos x="99" y="159"/>
                </a:cxn>
                <a:cxn ang="0">
                  <a:pos x="107" y="167"/>
                </a:cxn>
                <a:cxn ang="0">
                  <a:pos x="107" y="183"/>
                </a:cxn>
                <a:cxn ang="0">
                  <a:pos x="111" y="203"/>
                </a:cxn>
                <a:cxn ang="0">
                  <a:pos x="103" y="215"/>
                </a:cxn>
                <a:cxn ang="0">
                  <a:pos x="107" y="211"/>
                </a:cxn>
                <a:cxn ang="0">
                  <a:pos x="87" y="215"/>
                </a:cxn>
                <a:cxn ang="0">
                  <a:pos x="72" y="215"/>
                </a:cxn>
                <a:cxn ang="0">
                  <a:pos x="56" y="203"/>
                </a:cxn>
                <a:cxn ang="0">
                  <a:pos x="36" y="199"/>
                </a:cxn>
                <a:cxn ang="0">
                  <a:pos x="32" y="175"/>
                </a:cxn>
                <a:cxn ang="0">
                  <a:pos x="36" y="171"/>
                </a:cxn>
              </a:cxnLst>
              <a:rect l="0" t="0" r="r" b="b"/>
              <a:pathLst>
                <a:path w="123" h="219">
                  <a:moveTo>
                    <a:pt x="40" y="167"/>
                  </a:moveTo>
                  <a:lnTo>
                    <a:pt x="40" y="163"/>
                  </a:lnTo>
                  <a:lnTo>
                    <a:pt x="44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44" y="151"/>
                  </a:lnTo>
                  <a:lnTo>
                    <a:pt x="44" y="147"/>
                  </a:lnTo>
                  <a:lnTo>
                    <a:pt x="44" y="143"/>
                  </a:lnTo>
                  <a:lnTo>
                    <a:pt x="48" y="143"/>
                  </a:lnTo>
                  <a:lnTo>
                    <a:pt x="52" y="143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2" y="135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6" y="119"/>
                  </a:lnTo>
                  <a:lnTo>
                    <a:pt x="36" y="115"/>
                  </a:lnTo>
                  <a:lnTo>
                    <a:pt x="32" y="115"/>
                  </a:lnTo>
                  <a:lnTo>
                    <a:pt x="32" y="111"/>
                  </a:lnTo>
                  <a:lnTo>
                    <a:pt x="28" y="111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99"/>
                  </a:lnTo>
                  <a:lnTo>
                    <a:pt x="20" y="99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9" y="4"/>
                  </a:lnTo>
                  <a:lnTo>
                    <a:pt x="99" y="8"/>
                  </a:lnTo>
                  <a:lnTo>
                    <a:pt x="95" y="12"/>
                  </a:lnTo>
                  <a:lnTo>
                    <a:pt x="99" y="16"/>
                  </a:lnTo>
                  <a:lnTo>
                    <a:pt x="99" y="20"/>
                  </a:lnTo>
                  <a:lnTo>
                    <a:pt x="95" y="24"/>
                  </a:lnTo>
                  <a:lnTo>
                    <a:pt x="95" y="28"/>
                  </a:lnTo>
                  <a:lnTo>
                    <a:pt x="91" y="32"/>
                  </a:lnTo>
                  <a:lnTo>
                    <a:pt x="95" y="36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91" y="36"/>
                  </a:lnTo>
                  <a:lnTo>
                    <a:pt x="87" y="36"/>
                  </a:lnTo>
                  <a:lnTo>
                    <a:pt x="83" y="36"/>
                  </a:lnTo>
                  <a:lnTo>
                    <a:pt x="79" y="36"/>
                  </a:lnTo>
                  <a:lnTo>
                    <a:pt x="75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5" y="84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7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9"/>
                  </a:lnTo>
                  <a:lnTo>
                    <a:pt x="87" y="99"/>
                  </a:lnTo>
                  <a:lnTo>
                    <a:pt x="87" y="103"/>
                  </a:lnTo>
                  <a:lnTo>
                    <a:pt x="87" y="107"/>
                  </a:lnTo>
                  <a:lnTo>
                    <a:pt x="87" y="111"/>
                  </a:lnTo>
                  <a:lnTo>
                    <a:pt x="87" y="115"/>
                  </a:lnTo>
                  <a:lnTo>
                    <a:pt x="91" y="115"/>
                  </a:lnTo>
                  <a:lnTo>
                    <a:pt x="87" y="115"/>
                  </a:lnTo>
                  <a:lnTo>
                    <a:pt x="87" y="119"/>
                  </a:lnTo>
                  <a:lnTo>
                    <a:pt x="91" y="119"/>
                  </a:lnTo>
                  <a:lnTo>
                    <a:pt x="91" y="123"/>
                  </a:lnTo>
                  <a:lnTo>
                    <a:pt x="95" y="127"/>
                  </a:lnTo>
                  <a:lnTo>
                    <a:pt x="95" y="123"/>
                  </a:lnTo>
                  <a:lnTo>
                    <a:pt x="91" y="119"/>
                  </a:lnTo>
                  <a:lnTo>
                    <a:pt x="95" y="119"/>
                  </a:lnTo>
                  <a:lnTo>
                    <a:pt x="95" y="115"/>
                  </a:lnTo>
                  <a:lnTo>
                    <a:pt x="91" y="115"/>
                  </a:lnTo>
                  <a:lnTo>
                    <a:pt x="95" y="111"/>
                  </a:lnTo>
                  <a:lnTo>
                    <a:pt x="95" y="107"/>
                  </a:lnTo>
                  <a:lnTo>
                    <a:pt x="99" y="107"/>
                  </a:lnTo>
                  <a:lnTo>
                    <a:pt x="103" y="103"/>
                  </a:lnTo>
                  <a:lnTo>
                    <a:pt x="107" y="103"/>
                  </a:lnTo>
                  <a:lnTo>
                    <a:pt x="111" y="107"/>
                  </a:lnTo>
                  <a:lnTo>
                    <a:pt x="111" y="111"/>
                  </a:lnTo>
                  <a:lnTo>
                    <a:pt x="111" y="115"/>
                  </a:lnTo>
                  <a:lnTo>
                    <a:pt x="111" y="119"/>
                  </a:lnTo>
                  <a:lnTo>
                    <a:pt x="115" y="119"/>
                  </a:lnTo>
                  <a:lnTo>
                    <a:pt x="115" y="123"/>
                  </a:lnTo>
                  <a:lnTo>
                    <a:pt x="119" y="123"/>
                  </a:lnTo>
                  <a:lnTo>
                    <a:pt x="123" y="127"/>
                  </a:lnTo>
                  <a:lnTo>
                    <a:pt x="123" y="131"/>
                  </a:lnTo>
                  <a:lnTo>
                    <a:pt x="119" y="131"/>
                  </a:lnTo>
                  <a:lnTo>
                    <a:pt x="115" y="131"/>
                  </a:lnTo>
                  <a:lnTo>
                    <a:pt x="115" y="135"/>
                  </a:lnTo>
                  <a:lnTo>
                    <a:pt x="119" y="135"/>
                  </a:lnTo>
                  <a:lnTo>
                    <a:pt x="115" y="135"/>
                  </a:lnTo>
                  <a:lnTo>
                    <a:pt x="111" y="135"/>
                  </a:lnTo>
                  <a:lnTo>
                    <a:pt x="107" y="135"/>
                  </a:lnTo>
                  <a:lnTo>
                    <a:pt x="107" y="131"/>
                  </a:lnTo>
                  <a:lnTo>
                    <a:pt x="103" y="131"/>
                  </a:lnTo>
                  <a:lnTo>
                    <a:pt x="103" y="135"/>
                  </a:lnTo>
                  <a:lnTo>
                    <a:pt x="103" y="131"/>
                  </a:lnTo>
                  <a:lnTo>
                    <a:pt x="99" y="131"/>
                  </a:lnTo>
                  <a:lnTo>
                    <a:pt x="95" y="131"/>
                  </a:lnTo>
                  <a:lnTo>
                    <a:pt x="95" y="127"/>
                  </a:lnTo>
                  <a:lnTo>
                    <a:pt x="95" y="131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1" y="139"/>
                  </a:lnTo>
                  <a:lnTo>
                    <a:pt x="91" y="143"/>
                  </a:lnTo>
                  <a:lnTo>
                    <a:pt x="91" y="147"/>
                  </a:lnTo>
                  <a:lnTo>
                    <a:pt x="91" y="151"/>
                  </a:lnTo>
                  <a:lnTo>
                    <a:pt x="95" y="151"/>
                  </a:lnTo>
                  <a:lnTo>
                    <a:pt x="95" y="155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5" y="151"/>
                  </a:lnTo>
                  <a:lnTo>
                    <a:pt x="99" y="151"/>
                  </a:lnTo>
                  <a:lnTo>
                    <a:pt x="103" y="147"/>
                  </a:lnTo>
                  <a:lnTo>
                    <a:pt x="103" y="151"/>
                  </a:lnTo>
                  <a:lnTo>
                    <a:pt x="103" y="155"/>
                  </a:lnTo>
                  <a:lnTo>
                    <a:pt x="107" y="155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9"/>
                  </a:lnTo>
                  <a:lnTo>
                    <a:pt x="99" y="155"/>
                  </a:lnTo>
                  <a:lnTo>
                    <a:pt x="99" y="159"/>
                  </a:lnTo>
                  <a:lnTo>
                    <a:pt x="99" y="163"/>
                  </a:lnTo>
                  <a:lnTo>
                    <a:pt x="99" y="167"/>
                  </a:lnTo>
                  <a:lnTo>
                    <a:pt x="99" y="163"/>
                  </a:lnTo>
                  <a:lnTo>
                    <a:pt x="103" y="163"/>
                  </a:lnTo>
                  <a:lnTo>
                    <a:pt x="107" y="167"/>
                  </a:lnTo>
                  <a:lnTo>
                    <a:pt x="111" y="171"/>
                  </a:lnTo>
                  <a:lnTo>
                    <a:pt x="111" y="175"/>
                  </a:lnTo>
                  <a:lnTo>
                    <a:pt x="107" y="175"/>
                  </a:lnTo>
                  <a:lnTo>
                    <a:pt x="107" y="179"/>
                  </a:lnTo>
                  <a:lnTo>
                    <a:pt x="107" y="183"/>
                  </a:lnTo>
                  <a:lnTo>
                    <a:pt x="107" y="187"/>
                  </a:lnTo>
                  <a:lnTo>
                    <a:pt x="107" y="191"/>
                  </a:lnTo>
                  <a:lnTo>
                    <a:pt x="107" y="195"/>
                  </a:lnTo>
                  <a:lnTo>
                    <a:pt x="107" y="199"/>
                  </a:lnTo>
                  <a:lnTo>
                    <a:pt x="111" y="203"/>
                  </a:lnTo>
                  <a:lnTo>
                    <a:pt x="111" y="207"/>
                  </a:lnTo>
                  <a:lnTo>
                    <a:pt x="111" y="211"/>
                  </a:lnTo>
                  <a:lnTo>
                    <a:pt x="111" y="215"/>
                  </a:lnTo>
                  <a:lnTo>
                    <a:pt x="107" y="215"/>
                  </a:lnTo>
                  <a:lnTo>
                    <a:pt x="103" y="215"/>
                  </a:lnTo>
                  <a:lnTo>
                    <a:pt x="107" y="211"/>
                  </a:lnTo>
                  <a:lnTo>
                    <a:pt x="107" y="215"/>
                  </a:lnTo>
                  <a:lnTo>
                    <a:pt x="107" y="211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3" y="211"/>
                  </a:lnTo>
                  <a:lnTo>
                    <a:pt x="99" y="215"/>
                  </a:lnTo>
                  <a:lnTo>
                    <a:pt x="95" y="215"/>
                  </a:lnTo>
                  <a:lnTo>
                    <a:pt x="91" y="215"/>
                  </a:lnTo>
                  <a:lnTo>
                    <a:pt x="87" y="215"/>
                  </a:lnTo>
                  <a:lnTo>
                    <a:pt x="83" y="219"/>
                  </a:lnTo>
                  <a:lnTo>
                    <a:pt x="79" y="219"/>
                  </a:lnTo>
                  <a:lnTo>
                    <a:pt x="75" y="219"/>
                  </a:lnTo>
                  <a:lnTo>
                    <a:pt x="72" y="219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4" y="215"/>
                  </a:lnTo>
                  <a:lnTo>
                    <a:pt x="60" y="211"/>
                  </a:lnTo>
                  <a:lnTo>
                    <a:pt x="56" y="207"/>
                  </a:lnTo>
                  <a:lnTo>
                    <a:pt x="56" y="203"/>
                  </a:lnTo>
                  <a:lnTo>
                    <a:pt x="52" y="203"/>
                  </a:lnTo>
                  <a:lnTo>
                    <a:pt x="48" y="203"/>
                  </a:lnTo>
                  <a:lnTo>
                    <a:pt x="44" y="199"/>
                  </a:lnTo>
                  <a:lnTo>
                    <a:pt x="40" y="199"/>
                  </a:lnTo>
                  <a:lnTo>
                    <a:pt x="36" y="199"/>
                  </a:lnTo>
                  <a:lnTo>
                    <a:pt x="36" y="195"/>
                  </a:lnTo>
                  <a:lnTo>
                    <a:pt x="36" y="191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2" y="175"/>
                  </a:lnTo>
                  <a:lnTo>
                    <a:pt x="36" y="171"/>
                  </a:lnTo>
                  <a:lnTo>
                    <a:pt x="36" y="167"/>
                  </a:lnTo>
                  <a:lnTo>
                    <a:pt x="40" y="167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40" y="171"/>
                  </a:lnTo>
                  <a:lnTo>
                    <a:pt x="40" y="16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56" name="Freeform 208">
              <a:extLst>
                <a:ext uri="{FF2B5EF4-FFF2-40B4-BE49-F238E27FC236}">
                  <a16:creationId xmlns:a16="http://schemas.microsoft.com/office/drawing/2014/main" xmlns="" id="{F437037A-0FBE-444F-95BA-CD860660685C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gray">
            <a:xfrm>
              <a:off x="5682640" y="3249333"/>
              <a:ext cx="83052" cy="112713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0" y="24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44" y="28"/>
                </a:cxn>
                <a:cxn ang="0">
                  <a:pos x="48" y="36"/>
                </a:cxn>
                <a:cxn ang="0">
                  <a:pos x="56" y="36"/>
                </a:cxn>
                <a:cxn ang="0">
                  <a:pos x="52" y="40"/>
                </a:cxn>
                <a:cxn ang="0">
                  <a:pos x="52" y="44"/>
                </a:cxn>
                <a:cxn ang="0">
                  <a:pos x="48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60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44" y="68"/>
                </a:cxn>
                <a:cxn ang="0">
                  <a:pos x="36" y="72"/>
                </a:cxn>
                <a:cxn ang="0">
                  <a:pos x="32" y="68"/>
                </a:cxn>
                <a:cxn ang="0">
                  <a:pos x="28" y="72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12" y="68"/>
                </a:cxn>
                <a:cxn ang="0">
                  <a:pos x="8" y="64"/>
                </a:cxn>
                <a:cxn ang="0">
                  <a:pos x="8" y="64"/>
                </a:cxn>
                <a:cxn ang="0">
                  <a:pos x="12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40"/>
                </a:cxn>
                <a:cxn ang="0">
                  <a:pos x="4" y="32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0"/>
                </a:cxn>
                <a:cxn ang="0">
                  <a:pos x="52" y="8"/>
                </a:cxn>
                <a:cxn ang="0">
                  <a:pos x="44" y="12"/>
                </a:cxn>
                <a:cxn ang="0">
                  <a:pos x="40" y="16"/>
                </a:cxn>
              </a:cxnLst>
              <a:rect l="0" t="0" r="r" b="b"/>
              <a:pathLst>
                <a:path w="56" h="76">
                  <a:moveTo>
                    <a:pt x="40" y="16"/>
                  </a:moveTo>
                  <a:lnTo>
                    <a:pt x="44" y="20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0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/>
            </a:p>
          </p:txBody>
        </p:sp>
        <p:sp>
          <p:nvSpPr>
            <p:cNvPr id="257" name="Freeform 379">
              <a:extLst>
                <a:ext uri="{FF2B5EF4-FFF2-40B4-BE49-F238E27FC236}">
                  <a16:creationId xmlns:a16="http://schemas.microsoft.com/office/drawing/2014/main" xmlns="" id="{8305713D-663D-49DC-A672-4864A5977040}"/>
                </a:ext>
              </a:extLst>
            </p:cNvPr>
            <p:cNvSpPr>
              <a:spLocks noEditPoints="1"/>
            </p:cNvSpPr>
            <p:nvPr>
              <p:custDataLst>
                <p:tags r:id="rId208"/>
              </p:custDataLst>
            </p:nvPr>
          </p:nvSpPr>
          <p:spPr bwMode="gray">
            <a:xfrm>
              <a:off x="2305705" y="3178146"/>
              <a:ext cx="176485" cy="83052"/>
            </a:xfrm>
            <a:custGeom>
              <a:avLst/>
              <a:gdLst/>
              <a:ahLst/>
              <a:cxnLst>
                <a:cxn ang="0">
                  <a:pos x="107" y="56"/>
                </a:cxn>
                <a:cxn ang="0">
                  <a:pos x="103" y="52"/>
                </a:cxn>
                <a:cxn ang="0">
                  <a:pos x="91" y="52"/>
                </a:cxn>
                <a:cxn ang="0">
                  <a:pos x="79" y="56"/>
                </a:cxn>
                <a:cxn ang="0">
                  <a:pos x="71" y="52"/>
                </a:cxn>
                <a:cxn ang="0">
                  <a:pos x="63" y="48"/>
                </a:cxn>
                <a:cxn ang="0">
                  <a:pos x="59" y="44"/>
                </a:cxn>
                <a:cxn ang="0">
                  <a:pos x="56" y="52"/>
                </a:cxn>
                <a:cxn ang="0">
                  <a:pos x="56" y="40"/>
                </a:cxn>
                <a:cxn ang="0">
                  <a:pos x="48" y="44"/>
                </a:cxn>
                <a:cxn ang="0">
                  <a:pos x="36" y="48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2" y="48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12" y="40"/>
                </a:cxn>
                <a:cxn ang="0">
                  <a:pos x="20" y="32"/>
                </a:cxn>
                <a:cxn ang="0">
                  <a:pos x="32" y="28"/>
                </a:cxn>
                <a:cxn ang="0">
                  <a:pos x="44" y="20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56" y="12"/>
                </a:cxn>
                <a:cxn ang="0">
                  <a:pos x="59" y="4"/>
                </a:cxn>
                <a:cxn ang="0">
                  <a:pos x="56" y="12"/>
                </a:cxn>
                <a:cxn ang="0">
                  <a:pos x="59" y="8"/>
                </a:cxn>
                <a:cxn ang="0">
                  <a:pos x="59" y="4"/>
                </a:cxn>
                <a:cxn ang="0">
                  <a:pos x="63" y="4"/>
                </a:cxn>
                <a:cxn ang="0">
                  <a:pos x="75" y="8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20"/>
                </a:cxn>
                <a:cxn ang="0">
                  <a:pos x="103" y="24"/>
                </a:cxn>
                <a:cxn ang="0">
                  <a:pos x="111" y="28"/>
                </a:cxn>
                <a:cxn ang="0">
                  <a:pos x="111" y="36"/>
                </a:cxn>
                <a:cxn ang="0">
                  <a:pos x="111" y="40"/>
                </a:cxn>
                <a:cxn ang="0">
                  <a:pos x="119" y="48"/>
                </a:cxn>
                <a:cxn ang="0">
                  <a:pos x="119" y="52"/>
                </a:cxn>
                <a:cxn ang="0">
                  <a:pos x="56" y="20"/>
                </a:cxn>
                <a:cxn ang="0">
                  <a:pos x="44" y="24"/>
                </a:cxn>
                <a:cxn ang="0">
                  <a:pos x="48" y="24"/>
                </a:cxn>
                <a:cxn ang="0">
                  <a:pos x="56" y="20"/>
                </a:cxn>
                <a:cxn ang="0">
                  <a:pos x="56" y="40"/>
                </a:cxn>
                <a:cxn ang="0">
                  <a:pos x="59" y="44"/>
                </a:cxn>
                <a:cxn ang="0">
                  <a:pos x="63" y="36"/>
                </a:cxn>
                <a:cxn ang="0">
                  <a:pos x="59" y="36"/>
                </a:cxn>
              </a:cxnLst>
              <a:rect l="0" t="0" r="r" b="b"/>
              <a:pathLst>
                <a:path w="119" h="56">
                  <a:moveTo>
                    <a:pt x="115" y="56"/>
                  </a:moveTo>
                  <a:lnTo>
                    <a:pt x="111" y="56"/>
                  </a:lnTo>
                  <a:lnTo>
                    <a:pt x="107" y="56"/>
                  </a:lnTo>
                  <a:lnTo>
                    <a:pt x="107" y="52"/>
                  </a:lnTo>
                  <a:lnTo>
                    <a:pt x="107" y="48"/>
                  </a:lnTo>
                  <a:lnTo>
                    <a:pt x="103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1" y="52"/>
                  </a:lnTo>
                  <a:lnTo>
                    <a:pt x="87" y="56"/>
                  </a:lnTo>
                  <a:lnTo>
                    <a:pt x="83" y="56"/>
                  </a:lnTo>
                  <a:lnTo>
                    <a:pt x="79" y="56"/>
                  </a:lnTo>
                  <a:lnTo>
                    <a:pt x="75" y="56"/>
                  </a:lnTo>
                  <a:lnTo>
                    <a:pt x="71" y="56"/>
                  </a:lnTo>
                  <a:lnTo>
                    <a:pt x="71" y="52"/>
                  </a:lnTo>
                  <a:lnTo>
                    <a:pt x="71" y="48"/>
                  </a:lnTo>
                  <a:lnTo>
                    <a:pt x="67" y="48"/>
                  </a:lnTo>
                  <a:lnTo>
                    <a:pt x="63" y="48"/>
                  </a:lnTo>
                  <a:lnTo>
                    <a:pt x="59" y="48"/>
                  </a:lnTo>
                  <a:lnTo>
                    <a:pt x="63" y="44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9" y="4"/>
                  </a:lnTo>
                  <a:lnTo>
                    <a:pt x="59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9" y="8"/>
                  </a:lnTo>
                  <a:lnTo>
                    <a:pt x="59" y="12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4"/>
                  </a:lnTo>
                  <a:lnTo>
                    <a:pt x="59" y="4"/>
                  </a:lnTo>
                  <a:lnTo>
                    <a:pt x="59" y="0"/>
                  </a:lnTo>
                  <a:lnTo>
                    <a:pt x="63" y="0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71" y="4"/>
                  </a:lnTo>
                  <a:lnTo>
                    <a:pt x="75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103" y="24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8"/>
                  </a:lnTo>
                  <a:lnTo>
                    <a:pt x="107" y="32"/>
                  </a:lnTo>
                  <a:lnTo>
                    <a:pt x="111" y="32"/>
                  </a:lnTo>
                  <a:lnTo>
                    <a:pt x="111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1" y="40"/>
                  </a:lnTo>
                  <a:lnTo>
                    <a:pt x="111" y="44"/>
                  </a:lnTo>
                  <a:lnTo>
                    <a:pt x="115" y="48"/>
                  </a:lnTo>
                  <a:lnTo>
                    <a:pt x="119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2"/>
                  </a:lnTo>
                  <a:lnTo>
                    <a:pt x="115" y="56"/>
                  </a:lnTo>
                  <a:close/>
                  <a:moveTo>
                    <a:pt x="56" y="20"/>
                  </a:moveTo>
                  <a:lnTo>
                    <a:pt x="52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0"/>
                  </a:lnTo>
                  <a:close/>
                  <a:moveTo>
                    <a:pt x="56" y="40"/>
                  </a:moveTo>
                  <a:lnTo>
                    <a:pt x="56" y="44"/>
                  </a:lnTo>
                  <a:lnTo>
                    <a:pt x="56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9" y="44"/>
                  </a:lnTo>
                  <a:lnTo>
                    <a:pt x="59" y="40"/>
                  </a:lnTo>
                  <a:lnTo>
                    <a:pt x="63" y="40"/>
                  </a:lnTo>
                  <a:lnTo>
                    <a:pt x="63" y="36"/>
                  </a:lnTo>
                  <a:lnTo>
                    <a:pt x="67" y="36"/>
                  </a:lnTo>
                  <a:lnTo>
                    <a:pt x="63" y="36"/>
                  </a:lnTo>
                  <a:lnTo>
                    <a:pt x="59" y="36"/>
                  </a:lnTo>
                  <a:lnTo>
                    <a:pt x="56" y="36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58" name="Freeform 380">
              <a:extLst>
                <a:ext uri="{FF2B5EF4-FFF2-40B4-BE49-F238E27FC236}">
                  <a16:creationId xmlns:a16="http://schemas.microsoft.com/office/drawing/2014/main" xmlns="" id="{8F2C0919-6701-451D-929B-8E20D3107F8A}"/>
                </a:ext>
              </a:extLst>
            </p:cNvPr>
            <p:cNvSpPr>
              <a:spLocks noEditPoints="1"/>
            </p:cNvSpPr>
            <p:nvPr>
              <p:custDataLst>
                <p:tags r:id="rId209"/>
              </p:custDataLst>
            </p:nvPr>
          </p:nvSpPr>
          <p:spPr bwMode="gray">
            <a:xfrm>
              <a:off x="2399139" y="3273062"/>
              <a:ext cx="71187" cy="140892"/>
            </a:xfrm>
            <a:custGeom>
              <a:avLst/>
              <a:gdLst/>
              <a:ahLst/>
              <a:cxnLst>
                <a:cxn ang="0">
                  <a:pos x="48" y="8"/>
                </a:cxn>
                <a:cxn ang="0">
                  <a:pos x="48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40" y="24"/>
                </a:cxn>
                <a:cxn ang="0">
                  <a:pos x="36" y="28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8" y="68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8" y="95"/>
                </a:cxn>
                <a:cxn ang="0">
                  <a:pos x="4" y="87"/>
                </a:cxn>
                <a:cxn ang="0">
                  <a:pos x="4" y="79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0" y="36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4" y="4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6" y="20"/>
                </a:cxn>
              </a:cxnLst>
              <a:rect l="0" t="0" r="r" b="b"/>
              <a:pathLst>
                <a:path w="48" h="95">
                  <a:moveTo>
                    <a:pt x="48" y="8"/>
                  </a:move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59" name="Freeform 381">
              <a:extLst>
                <a:ext uri="{FF2B5EF4-FFF2-40B4-BE49-F238E27FC236}">
                  <a16:creationId xmlns:a16="http://schemas.microsoft.com/office/drawing/2014/main" xmlns="" id="{B76F1DD0-FDEB-41B9-A576-324C0FE7C219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2583038" y="3326452"/>
              <a:ext cx="88984" cy="41526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56" y="4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6" y="8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20"/>
                </a:cxn>
                <a:cxn ang="0">
                  <a:pos x="52" y="20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44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0" y="24"/>
                </a:cxn>
                <a:cxn ang="0">
                  <a:pos x="16" y="24"/>
                </a:cxn>
              </a:cxnLst>
              <a:rect l="0" t="0" r="r" b="b"/>
              <a:pathLst>
                <a:path w="60" h="28"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60" name="Freeform 382">
              <a:extLst>
                <a:ext uri="{FF2B5EF4-FFF2-40B4-BE49-F238E27FC236}">
                  <a16:creationId xmlns:a16="http://schemas.microsoft.com/office/drawing/2014/main" xmlns="" id="{FE5BEFC5-12BC-40AD-AC4F-2B906F227813}"/>
                </a:ext>
              </a:extLst>
            </p:cNvPr>
            <p:cNvSpPr>
              <a:spLocks noEditPoints="1"/>
            </p:cNvSpPr>
            <p:nvPr>
              <p:custDataLst>
                <p:tags r:id="rId211"/>
              </p:custDataLst>
            </p:nvPr>
          </p:nvSpPr>
          <p:spPr bwMode="gray">
            <a:xfrm>
              <a:off x="2470326" y="3261197"/>
              <a:ext cx="118645" cy="112713"/>
            </a:xfrm>
            <a:custGeom>
              <a:avLst/>
              <a:gdLst/>
              <a:ahLst/>
              <a:cxnLst>
                <a:cxn ang="0">
                  <a:pos x="36" y="68"/>
                </a:cxn>
                <a:cxn ang="0">
                  <a:pos x="32" y="60"/>
                </a:cxn>
                <a:cxn ang="0">
                  <a:pos x="28" y="52"/>
                </a:cxn>
                <a:cxn ang="0">
                  <a:pos x="20" y="60"/>
                </a:cxn>
                <a:cxn ang="0">
                  <a:pos x="12" y="60"/>
                </a:cxn>
                <a:cxn ang="0">
                  <a:pos x="16" y="52"/>
                </a:cxn>
                <a:cxn ang="0">
                  <a:pos x="24" y="48"/>
                </a:cxn>
                <a:cxn ang="0">
                  <a:pos x="24" y="36"/>
                </a:cxn>
                <a:cxn ang="0">
                  <a:pos x="24" y="28"/>
                </a:cxn>
                <a:cxn ang="0">
                  <a:pos x="20" y="24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16" y="12"/>
                </a:cxn>
                <a:cxn ang="0">
                  <a:pos x="12" y="8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60" y="12"/>
                </a:cxn>
                <a:cxn ang="0">
                  <a:pos x="64" y="20"/>
                </a:cxn>
                <a:cxn ang="0">
                  <a:pos x="72" y="24"/>
                </a:cxn>
                <a:cxn ang="0">
                  <a:pos x="76" y="32"/>
                </a:cxn>
                <a:cxn ang="0">
                  <a:pos x="76" y="36"/>
                </a:cxn>
                <a:cxn ang="0">
                  <a:pos x="72" y="44"/>
                </a:cxn>
                <a:cxn ang="0">
                  <a:pos x="64" y="40"/>
                </a:cxn>
                <a:cxn ang="0">
                  <a:pos x="60" y="32"/>
                </a:cxn>
                <a:cxn ang="0">
                  <a:pos x="48" y="28"/>
                </a:cxn>
                <a:cxn ang="0">
                  <a:pos x="56" y="40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4" y="72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20"/>
                </a:cxn>
                <a:cxn ang="0">
                  <a:pos x="44" y="12"/>
                </a:cxn>
                <a:cxn ang="0">
                  <a:pos x="32" y="16"/>
                </a:cxn>
              </a:cxnLst>
              <a:rect l="0" t="0" r="r" b="b"/>
              <a:pathLst>
                <a:path w="80" h="76">
                  <a:moveTo>
                    <a:pt x="36" y="76"/>
                  </a:moveTo>
                  <a:lnTo>
                    <a:pt x="36" y="72"/>
                  </a:lnTo>
                  <a:lnTo>
                    <a:pt x="36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0" y="60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68" y="44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52" y="32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6"/>
                  </a:lnTo>
                  <a:close/>
                  <a:moveTo>
                    <a:pt x="28" y="12"/>
                  </a:move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61" name="Freeform 383">
              <a:extLst>
                <a:ext uri="{FF2B5EF4-FFF2-40B4-BE49-F238E27FC236}">
                  <a16:creationId xmlns:a16="http://schemas.microsoft.com/office/drawing/2014/main" xmlns="" id="{C9F14396-A26C-4256-84E0-C7D5B4F55A5E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gray">
            <a:xfrm>
              <a:off x="2499987" y="3373910"/>
              <a:ext cx="106781" cy="45975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60" y="11"/>
                </a:cxn>
                <a:cxn ang="0">
                  <a:pos x="56" y="15"/>
                </a:cxn>
                <a:cxn ang="0">
                  <a:pos x="48" y="19"/>
                </a:cxn>
                <a:cxn ang="0">
                  <a:pos x="44" y="19"/>
                </a:cxn>
                <a:cxn ang="0">
                  <a:pos x="36" y="23"/>
                </a:cxn>
                <a:cxn ang="0">
                  <a:pos x="32" y="27"/>
                </a:cxn>
                <a:cxn ang="0">
                  <a:pos x="28" y="31"/>
                </a:cxn>
                <a:cxn ang="0">
                  <a:pos x="24" y="31"/>
                </a:cxn>
                <a:cxn ang="0">
                  <a:pos x="24" y="31"/>
                </a:cxn>
                <a:cxn ang="0">
                  <a:pos x="20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27"/>
                </a:cxn>
                <a:cxn ang="0">
                  <a:pos x="8" y="27"/>
                </a:cxn>
                <a:cxn ang="0">
                  <a:pos x="4" y="27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19"/>
                </a:cxn>
                <a:cxn ang="0">
                  <a:pos x="8" y="19"/>
                </a:cxn>
                <a:cxn ang="0">
                  <a:pos x="12" y="19"/>
                </a:cxn>
                <a:cxn ang="0">
                  <a:pos x="12" y="19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20" y="15"/>
                </a:cxn>
                <a:cxn ang="0">
                  <a:pos x="28" y="11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72" y="0"/>
                </a:cxn>
              </a:cxnLst>
              <a:rect l="0" t="0" r="r" b="b"/>
              <a:pathLst>
                <a:path w="72" h="31">
                  <a:moveTo>
                    <a:pt x="72" y="0"/>
                  </a:move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2" y="15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0" y="19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20" y="15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>
                <a:ln>
                  <a:solidFill>
                    <a:schemeClr val="accent4"/>
                  </a:solidFill>
                </a:ln>
              </a:endParaRPr>
            </a:p>
          </p:txBody>
        </p:sp>
      </p:grpSp>
      <p:sp>
        <p:nvSpPr>
          <p:cNvPr id="7" name="Ellipse 6">
            <a:extLst>
              <a:ext uri="{FF2B5EF4-FFF2-40B4-BE49-F238E27FC236}">
                <a16:creationId xmlns:a16="http://schemas.microsoft.com/office/drawing/2014/main" xmlns="" id="{597F21EB-C34E-4492-9A32-3B6FCED1E187}"/>
              </a:ext>
            </a:extLst>
          </p:cNvPr>
          <p:cNvSpPr/>
          <p:nvPr/>
        </p:nvSpPr>
        <p:spPr>
          <a:xfrm>
            <a:off x="9111357" y="4138100"/>
            <a:ext cx="1316362" cy="942721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200" err="1"/>
          </a:p>
        </p:txBody>
      </p:sp>
      <p:sp>
        <p:nvSpPr>
          <p:cNvPr id="266" name="Tittel 1">
            <a:extLst>
              <a:ext uri="{FF2B5EF4-FFF2-40B4-BE49-F238E27FC236}">
                <a16:creationId xmlns:a16="http://schemas.microsoft.com/office/drawing/2014/main" xmlns="" id="{E87A6547-54CE-4B36-B93E-A3E2AA1E51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568" y="391028"/>
            <a:ext cx="10836932" cy="1285875"/>
          </a:xfrm>
        </p:spPr>
        <p:txBody>
          <a:bodyPr/>
          <a:lstStyle/>
          <a:p>
            <a:r>
              <a:rPr lang="en-GB"/>
              <a:t>The Nordic Region - home to 27 million</a:t>
            </a:r>
          </a:p>
        </p:txBody>
      </p:sp>
      <p:cxnSp>
        <p:nvCxnSpPr>
          <p:cNvPr id="5" name="Rett pilkobling 4">
            <a:extLst>
              <a:ext uri="{FF2B5EF4-FFF2-40B4-BE49-F238E27FC236}">
                <a16:creationId xmlns:a16="http://schemas.microsoft.com/office/drawing/2014/main" xmlns="" id="{F2097CA6-D6A2-4D22-AE19-9A3E55BEE29F}"/>
              </a:ext>
            </a:extLst>
          </p:cNvPr>
          <p:cNvCxnSpPr>
            <a:cxnSpLocks/>
          </p:cNvCxnSpPr>
          <p:nvPr/>
        </p:nvCxnSpPr>
        <p:spPr>
          <a:xfrm flipH="1" flipV="1">
            <a:off x="8059413" y="4156284"/>
            <a:ext cx="1045604" cy="280718"/>
          </a:xfrm>
          <a:prstGeom prst="straightConnector1">
            <a:avLst/>
          </a:prstGeom>
          <a:ln w="19050" cmpd="sng">
            <a:solidFill>
              <a:schemeClr val="accent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Bue 12">
            <a:extLst>
              <a:ext uri="{FF2B5EF4-FFF2-40B4-BE49-F238E27FC236}">
                <a16:creationId xmlns:a16="http://schemas.microsoft.com/office/drawing/2014/main" xmlns="" id="{44D2A0B4-BCDE-40BC-BF4E-C94C926587A3}"/>
              </a:ext>
            </a:extLst>
          </p:cNvPr>
          <p:cNvSpPr/>
          <p:nvPr/>
        </p:nvSpPr>
        <p:spPr>
          <a:xfrm>
            <a:off x="-2915018" y="-489565"/>
            <a:ext cx="10964065" cy="8104313"/>
          </a:xfrm>
          <a:prstGeom prst="arc">
            <a:avLst>
              <a:gd name="adj1" fmla="val 19792265"/>
              <a:gd name="adj2" fmla="val 2761838"/>
            </a:avLst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7995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xmlns="" id="{C203FF6A-3CFD-40AE-B700-D0BE8AFEA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mbined we make up a large economy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xmlns="" id="{537B0E1A-9852-42F3-A021-42D84DF20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03/01/2019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xmlns="" id="{4A7E785E-12A8-453E-827B-EC177F9D76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3</a:t>
            </a:fld>
            <a:endParaRPr lang="en-GB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xmlns="" id="{9DDCCBDF-485C-4AED-A66E-694DBE78A00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913"/>
          <a:stretch/>
        </p:blipFill>
        <p:spPr>
          <a:xfrm>
            <a:off x="1008669" y="1033965"/>
            <a:ext cx="9945278" cy="525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53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07.09.2017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4</a:t>
            </a:fld>
            <a:endParaRPr lang="en-GB" dirty="0"/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700" y="0"/>
            <a:ext cx="10163175" cy="6775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436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Corbel"/>
                <a:ea typeface="+mn-ea"/>
                <a:cs typeface="+mn-cs"/>
              </a:rPr>
              <a:t>07.09.2017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D37B1E-C366-494F-A587-962AD9AABC83}" type="slidenum">
              <a:rPr kumimoji="0" lang="en-GB" sz="950" b="0" i="0" u="none" strike="noStrike" kern="1200" cap="none" spc="0" normalizeH="0" baseline="0" noProof="0" smtClean="0">
                <a:ln>
                  <a:noFill/>
                </a:ln>
                <a:solidFill>
                  <a:srgbClr val="006EB6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50" b="0" i="0" u="none" strike="noStrike" kern="1200" cap="none" spc="0" normalizeH="0" baseline="0" noProof="0">
              <a:ln>
                <a:noFill/>
              </a:ln>
              <a:solidFill>
                <a:srgbClr val="006EB6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All of the Nordic countries score consistently well on global surveys intended to measure how innovative and innovation-friendly countries are. </a:t>
            </a:r>
          </a:p>
        </p:txBody>
      </p:sp>
    </p:spTree>
    <p:extLst>
      <p:ext uri="{BB962C8B-B14F-4D97-AF65-F5344CB8AC3E}">
        <p14:creationId xmlns:p14="http://schemas.microsoft.com/office/powerpoint/2010/main" val="3548610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56566" y="693031"/>
            <a:ext cx="10836932" cy="1285875"/>
          </a:xfrm>
        </p:spPr>
        <p:txBody>
          <a:bodyPr/>
          <a:lstStyle/>
          <a:p>
            <a:pPr algn="ctr"/>
            <a:r>
              <a:rPr lang="en-GB" dirty="0"/>
              <a:t>Why Nordic 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3"/>
          </p:nvPr>
        </p:nvSpPr>
        <p:spPr>
          <a:xfrm>
            <a:off x="503340" y="1853215"/>
            <a:ext cx="6507060" cy="3524127"/>
          </a:xfrm>
        </p:spPr>
        <p:txBody>
          <a:bodyPr/>
          <a:lstStyle/>
          <a:p>
            <a:pPr>
              <a:lnSpc>
                <a:spcPct val="100000"/>
              </a:lnSpc>
              <a:buNone/>
              <a:defRPr/>
            </a:pPr>
            <a:r>
              <a:rPr lang="en-GB" kern="0" dirty="0">
                <a:solidFill>
                  <a:schemeClr val="accent2"/>
                </a:solidFill>
                <a:latin typeface="Corbel" panose="020B0503020204020204" pitchFamily="34" charset="0"/>
              </a:rPr>
              <a:t>Nordic added Value – together we can more  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GB" sz="2400" kern="0" dirty="0">
              <a:solidFill>
                <a:schemeClr val="accent2"/>
              </a:solidFill>
              <a:latin typeface="Corbel" panose="020B0503020204020204" pitchFamily="34" charset="0"/>
            </a:endParaRP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sz="2400" kern="0" dirty="0">
                <a:solidFill>
                  <a:schemeClr val="accent2"/>
                </a:solidFill>
                <a:latin typeface="Corbel" panose="020B0503020204020204" pitchFamily="34" charset="0"/>
              </a:rPr>
              <a:t>We are seen as one region by others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GB" sz="2400" kern="0" dirty="0">
              <a:solidFill>
                <a:schemeClr val="accent2"/>
              </a:solidFill>
              <a:latin typeface="Corbel" panose="020B0503020204020204" pitchFamily="34" charset="0"/>
            </a:endParaRP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sz="2400" kern="0" dirty="0">
                <a:solidFill>
                  <a:schemeClr val="accent2"/>
                </a:solidFill>
                <a:latin typeface="Corbel" panose="020B0503020204020204" pitchFamily="34" charset="0"/>
              </a:rPr>
              <a:t>Makes business sense; critical mass, costs, broader product portfolios 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GB" sz="2400" kern="0" dirty="0">
              <a:solidFill>
                <a:schemeClr val="accent2"/>
              </a:solidFill>
              <a:latin typeface="Corbel" panose="020B0503020204020204" pitchFamily="34" charset="0"/>
            </a:endParaRP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sz="2400" kern="0" dirty="0">
                <a:solidFill>
                  <a:schemeClr val="accent2"/>
                </a:solidFill>
                <a:latin typeface="Corbel" panose="020B0503020204020204" pitchFamily="34" charset="0"/>
              </a:rPr>
              <a:t>More attention and better access 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endParaRPr lang="en-GB" sz="2400" kern="0" dirty="0">
              <a:solidFill>
                <a:schemeClr val="accent2"/>
              </a:solidFill>
              <a:latin typeface="Corbel" panose="020B0503020204020204" pitchFamily="34" charset="0"/>
            </a:endParaRP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sz="2400" kern="0" dirty="0">
                <a:solidFill>
                  <a:schemeClr val="accent2"/>
                </a:solidFill>
                <a:latin typeface="Corbel" panose="020B0503020204020204" pitchFamily="34" charset="0"/>
              </a:rPr>
              <a:t>Nordic is a strong brand</a:t>
            </a:r>
          </a:p>
          <a:p>
            <a:r>
              <a:rPr lang="en-GB" sz="1000" dirty="0">
                <a:solidFill>
                  <a:schemeClr val="accent2"/>
                </a:solidFill>
              </a:rPr>
              <a:t>. </a:t>
            </a:r>
          </a:p>
          <a:p>
            <a:endParaRPr lang="en-GB" dirty="0">
              <a:solidFill>
                <a:schemeClr val="accent2"/>
              </a:solidFill>
            </a:endParaRPr>
          </a:p>
        </p:txBody>
      </p:sp>
      <p:graphicFrame>
        <p:nvGraphicFramePr>
          <p:cNvPr id="8" name="Diagram 7"/>
          <p:cNvGraphicFramePr/>
          <p:nvPr/>
        </p:nvGraphicFramePr>
        <p:xfrm>
          <a:off x="6841286" y="1853215"/>
          <a:ext cx="4525410" cy="42111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55332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DCF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r miss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24-04-2019</a:t>
            </a:r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D37B1E-C366-494F-A587-962AD9AABC83}" type="slidenum">
              <a:rPr kumimoji="0" lang="en-GB" sz="950" b="0" i="0" u="none" strike="noStrike" kern="1200" cap="none" spc="0" normalizeH="0" baseline="0" noProof="0">
                <a:ln>
                  <a:noFill/>
                </a:ln>
                <a:solidFill>
                  <a:srgbClr val="006EB6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50" b="0" i="0" u="none" strike="noStrike" kern="1200" cap="none" spc="0" normalizeH="0" baseline="0" noProof="0" dirty="0">
              <a:ln>
                <a:noFill/>
              </a:ln>
              <a:solidFill>
                <a:srgbClr val="006EB6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4800" i="1" dirty="0"/>
              <a:t>To contribute to sustainable growth, increased entrepreneurship, innovation and competitiveness of Nordic businesses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8358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04169" y="391028"/>
            <a:ext cx="5970374" cy="1285875"/>
          </a:xfrm>
        </p:spPr>
        <p:txBody>
          <a:bodyPr/>
          <a:lstStyle/>
          <a:p>
            <a:r>
              <a:rPr lang="en-GB" dirty="0"/>
              <a:t>Nordic Innov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59801" y="1574800"/>
            <a:ext cx="6120399" cy="4635500"/>
          </a:xfrm>
        </p:spPr>
        <p:txBody>
          <a:bodyPr/>
          <a:lstStyle/>
          <a:p>
            <a:pPr marL="355600" indent="-355600">
              <a:buFont typeface="+mj-lt"/>
              <a:buAutoNum type="arabicPeriod"/>
            </a:pPr>
            <a:r>
              <a:rPr lang="sv-SE" b="1" dirty="0"/>
              <a:t>Preserve our ability to adapt quickly to technological changes</a:t>
            </a:r>
          </a:p>
          <a:p>
            <a:pPr marL="723900" lvl="1" indent="-368300">
              <a:buFont typeface="Corbel" panose="020B0503020204020204" pitchFamily="34" charset="0"/>
              <a:buChar char="—"/>
            </a:pPr>
            <a:r>
              <a:rPr lang="sv-SE" dirty="0"/>
              <a:t>Nordic cooperation to face technological change</a:t>
            </a:r>
          </a:p>
          <a:p>
            <a:pPr marL="723900" lvl="1" indent="-368300">
              <a:buFont typeface="Corbel" panose="020B0503020204020204" pitchFamily="34" charset="0"/>
              <a:buChar char="—"/>
            </a:pPr>
            <a:r>
              <a:rPr lang="sv-SE" dirty="0"/>
              <a:t>Digitalisation and new green business models</a:t>
            </a:r>
            <a:br>
              <a:rPr lang="sv-SE" dirty="0"/>
            </a:br>
            <a:endParaRPr lang="sv-SE" dirty="0"/>
          </a:p>
          <a:p>
            <a:pPr marL="355600" indent="-355600">
              <a:buFont typeface="+mj-lt"/>
              <a:buAutoNum type="arabicPeriod"/>
            </a:pPr>
            <a:r>
              <a:rPr lang="sv-SE" b="1" dirty="0"/>
              <a:t>Boost innovation and competitiveness</a:t>
            </a:r>
          </a:p>
          <a:p>
            <a:pPr marL="723900" indent="-368300">
              <a:buFont typeface="Corbel" panose="020B0503020204020204" pitchFamily="34" charset="0"/>
              <a:buChar char="—"/>
            </a:pPr>
            <a:r>
              <a:rPr lang="sv-SE" dirty="0"/>
              <a:t>The public sector as a driver for innovation</a:t>
            </a:r>
          </a:p>
          <a:p>
            <a:pPr marL="723900" indent="-368300">
              <a:buFont typeface="Corbel" panose="020B0503020204020204" pitchFamily="34" charset="0"/>
              <a:buChar char="—"/>
            </a:pPr>
            <a:r>
              <a:rPr lang="sv-SE" dirty="0"/>
              <a:t>Better access to risk capital across borders</a:t>
            </a:r>
            <a:br>
              <a:rPr lang="sv-SE" dirty="0"/>
            </a:br>
            <a:endParaRPr lang="sv-SE" dirty="0"/>
          </a:p>
          <a:p>
            <a:pPr marL="355600" indent="-355600">
              <a:buFont typeface="+mj-lt"/>
              <a:buAutoNum type="arabicPeriod" startAt="3"/>
            </a:pPr>
            <a:r>
              <a:rPr lang="sv-SE" b="1" dirty="0"/>
              <a:t>Improve global market opportunities</a:t>
            </a:r>
          </a:p>
          <a:p>
            <a:pPr marL="723900" indent="-368300">
              <a:buFont typeface="Corbel" panose="020B0503020204020204" pitchFamily="34" charset="0"/>
              <a:buChar char="—"/>
              <a:tabLst>
                <a:tab pos="723900" algn="l"/>
              </a:tabLst>
            </a:pPr>
            <a:r>
              <a:rPr lang="sv-SE" dirty="0"/>
              <a:t>The Nordic region as a global innovation hub</a:t>
            </a:r>
          </a:p>
          <a:p>
            <a:pPr marL="723900" indent="-368300">
              <a:buFont typeface="Corbel" panose="020B0503020204020204" pitchFamily="34" charset="0"/>
              <a:buChar char="—"/>
              <a:tabLst>
                <a:tab pos="723900" algn="l"/>
              </a:tabLst>
            </a:pPr>
            <a:r>
              <a:rPr lang="sv-SE" dirty="0"/>
              <a:t>Cooperation on international markets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Corbel"/>
                <a:ea typeface="+mn-ea"/>
                <a:cs typeface="+mn-cs"/>
              </a:rPr>
              <a:t>08/12/2017</a:t>
            </a:r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D37B1E-C366-494F-A587-962AD9AABC83}" type="slidenum">
              <a:rPr kumimoji="0" lang="en-GB" sz="950" b="0" i="0" u="none" strike="noStrike" kern="1200" cap="none" spc="0" normalizeH="0" baseline="0" noProof="0">
                <a:ln>
                  <a:noFill/>
                </a:ln>
                <a:solidFill>
                  <a:srgbClr val="ADCFF1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50" b="0" i="0" u="none" strike="noStrike" kern="1200" cap="none" spc="0" normalizeH="0" baseline="0" noProof="0" dirty="0">
              <a:ln>
                <a:noFill/>
              </a:ln>
              <a:solidFill>
                <a:srgbClr val="ADCFF1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pic>
        <p:nvPicPr>
          <p:cNvPr id="8" name="Plassholder for bilde 7">
            <a:extLst>
              <a:ext uri="{FF2B5EF4-FFF2-40B4-BE49-F238E27FC236}">
                <a16:creationId xmlns:a16="http://schemas.microsoft.com/office/drawing/2014/main" xmlns="" id="{8038390A-1F6C-489B-87F3-5A17324C994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0" r="1370"/>
          <a:stretch>
            <a:fillRect/>
          </a:stretch>
        </p:blipFill>
        <p:spPr>
          <a:xfrm>
            <a:off x="7158038" y="0"/>
            <a:ext cx="5030787" cy="6858000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6599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xmlns="" id="{4BB45AC4-9BC3-4816-A341-A34311A257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295960" cy="69619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02503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a3e57b22-dcf2-4a52-87be-770900345f7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0BYvwH3UOPgDpKIi7mC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XvGFx_tUCihRabhHnR9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6q8jLMtUa7lBa.7PT7j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.wNEcztEmM_hvjT0WvU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E1qOho9U.hz88jGHDj9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98qeL9LkukwsxiPvUVS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WI9JrgBk2TpZq2zwPOh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arx0c48kqVPWT4n3sn9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PPNzTg9Uy1G3bYBtA.U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RyPAOKkeF7IRzI0Fu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zODpTgvUyZGhj3.I2a9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qUGiTqsUuJwTa.yL2Wx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xqi99ekGq2SEQyzvUr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rTyyqE3kGbWacavtH4i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6Gbe3kv0ubDw4rf4IMb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f2ddyWXUSqVWCP65qJg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r.xf7FdEWkVdLL632Nb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9I9mLJUWyQjNFxsueB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pM4rDFQUq5XzwXiYjHU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aZ1aTfG0yY9v2WVfRhL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lmw9vdzUWpXNRL1NQeo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4sgX3Vd0mF1HazEAu6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oYvYxLZk2wicPJX9sXJ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xpKY3xEkCayAhYjqaHu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as7BhceEisyEfepZxVT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9gChV26Ee5oq0h5DNMu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8Uu5gHEkejqy9N3lr4C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FTRAn_70GmH1mAsXtuH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zekjFrVUGRwy8R0VFy6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75fFUIUiAOxM7VXMF8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ivV9WZ_kWqKsv6sNYy4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rAvQNzrUmYALV9FCe9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V3SN.wUGxWCPhhp0is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jWo2jM.kOWkUU6c5qp6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V0rWLyOUC6tID4W957I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93z_8Ick6qe_UzNQdEP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o3qZNCBkGoqmD6XL9QR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S3e_wf70i8MYkF813GU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UVqhwLEe62xNe1ZuGC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oN52m1BUWrsygoP.2KG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YKDOpI02Jz1FpQ.zVg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sb7R41JEqYygwAIcxIx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P.5wtt5UaTjOwojk6yS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BPOxrOqEuokMp1GuW3o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8LvlhPfESt0iMdfaV.S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05ZpJdd0uPDB8deEBi2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.xS5N5kWR4sg0cMhYE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fFk7b.UGrgNWgqQCVI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GLAgNxv025NsHTKwRNW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5WYo9GBkOlf1_3jflcg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dOgr22EWyK4WUty4Jf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qJbkobzkus6Eg8IGoi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VRSxrk30y9VzUvlOTe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dK5Z8mEke8yInPKal.3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g62mhVGE.HBVZW5fgdM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2Rf.dIUaoqHht1vAJY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f4UBJlQkmFwSFMcLgCz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5AzXIsjU2JaRHdRwo52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ygvsdKk0Ki9LLKJDLTR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kJt9fOHUCZN0gLMbB9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33HcdsXE6rqHKOIZY_.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_yJCnk6UyOxZq1EVkVu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EkZ5OTdk.f5GTugukBJ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Fjl64CPUmrZkY4sdQry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891103794189518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38165c64-0a89-4562-a44e-e9121ed5033b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kb\AppData\Local\Temp\Templafy\PowerPointVsto\Assets\flag low.jp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891103794502413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t\AppData\Local\Temp\Templafy\PowerPointVsto\Assets\ligestilling2.jp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fa251f13-58e4-4489-a9f6-fc3f7976e47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nVIQn9.kmJhBjCC.15i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fe7b218f-3bcc-4213-97f9-f85c8d83128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LYQCns0i79xAYHrKJ7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DgUh5mEizEawou1nt6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pqZnjh5E2B9YfFzivn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lRN_j0gUuyavLRLseT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JMsv_oT0e8OnA4Jcfn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ytRPKlvkaI4KjNLMJb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SW2l8n20CVmsG914Uq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0c4HP1ZE6owArRiSOaD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2GGmAVjUmMISjS2tQq9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CMjwc1iEiaPSrHnuwcx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EDQ1.qEkiw6dvG15Qqf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055sjgvEumJLPRcQwe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UtYa40kKJaLhtxYN4c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kf826scUiO7yMKxKB.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cibOivwEODKI8S1ZCnk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zKsf3XPECJSe.GgAGN1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LUGJZyFEaoaYBZJfbpx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Lg1qK5s0eGdInH3wQH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LlPsNv0WqV70KZrM7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5R8G7TFE.SQ12uSNqA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IR48c.gUKnaILiqo4SH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Ak8faxc0eQL9Lw68Pn5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hrt_41ckWxw1z2lomN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2LFJBKq0uASO25kOFW8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.LGHMI0KKvyKchcOh5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isv6Hx0mjG8oW32X8H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tnCkiStEGwpSANr8LKU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ozvyDcSEm4LrdfPttU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9MBK0cbUeYZlHldT5Y4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7H5qDPO02DTVAG7qESe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z7XbJ_ka69KlHSdGz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Y3sAXyp0uqiUpRipXIO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fSqN0bb0mufLY487zDv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nAisVO0WDL1yE3NZw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CC.y5uQE6NgrYH1qJzo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wLTq0KUkW8VdJRIJTUJ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n1e29mlUWYdfIu4c8SA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3UuMmqt0mT8sQB5aYm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osOk5B1EqNG5I3A9XC_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PRZgBi7UavnqmVhSZ.g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ysosoUuk6gcm7D5hFzB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U7qCPflEKhj8uHD2aGM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b.wSdEWUqutz2Pe9TUx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dolOluS0WZ77Q2gpmEY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WJSvEy5U.mJmZBJoEyi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4wvNmbykKxbeTpWniYI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tHBxiwYEeofz2GmaNU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rwEM_tOESCtvjircCJs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VkpBXUeEu3o3QO26X8L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2YdXgn4EWtye.Bs0WAZ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H6LIVFYEG45zn8zU1b4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SS4r4Cr0mt_.bMEXtzT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xdv5tA.kqJZwl8IVLiF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xtxmihV02tVdUOMYMcj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s3gAnvUCHPkJPwfjBs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p0diOSn0efp7VEDrWKzQ"/>
</p:tagLst>
</file>

<file path=ppt/theme/theme1.xml><?xml version="1.0" encoding="utf-8"?>
<a:theme xmlns:a="http://schemas.openxmlformats.org/drawingml/2006/main" name="Blank">
  <a:themeElements>
    <a:clrScheme name="Nordic Innovation">
      <a:dk1>
        <a:srgbClr val="000000"/>
      </a:dk1>
      <a:lt1>
        <a:sysClr val="window" lastClr="FFFFFF"/>
      </a:lt1>
      <a:dk2>
        <a:srgbClr val="BCBDE2"/>
      </a:dk2>
      <a:lt2>
        <a:srgbClr val="FFF0BE"/>
      </a:lt2>
      <a:accent1>
        <a:srgbClr val="385988"/>
      </a:accent1>
      <a:accent2>
        <a:srgbClr val="006EB6"/>
      </a:accent2>
      <a:accent3>
        <a:srgbClr val="ADCFF1"/>
      </a:accent3>
      <a:accent4>
        <a:srgbClr val="F42941"/>
      </a:accent4>
      <a:accent5>
        <a:srgbClr val="FBA9B3"/>
      </a:accent5>
      <a:accent6>
        <a:srgbClr val="FDCF41"/>
      </a:accent6>
      <a:hlink>
        <a:srgbClr val="006EB6"/>
      </a:hlink>
      <a:folHlink>
        <a:srgbClr val="ADCFF1"/>
      </a:folHlink>
    </a:clrScheme>
    <a:fontScheme name="Nordic Innovation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2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200" dirty="0" err="1">
            <a:solidFill>
              <a:srgbClr val="006EB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ordisk Ministerad 16-9 skabelon UK.potx" id="{807943BC-83A0-48BF-A001-5EDF5F5DFAF7}" vid="{B893AAA3-6A1D-4AAC-9768-CF8FCC258013}"/>
    </a:ext>
  </a:extLst>
</a:theme>
</file>

<file path=ppt/theme/theme2.xml><?xml version="1.0" encoding="utf-8"?>
<a:theme xmlns:a="http://schemas.openxmlformats.org/drawingml/2006/main" name="Statsministerinitiativet 16-9">
  <a:themeElements>
    <a:clrScheme name="NCM red">
      <a:dk1>
        <a:srgbClr val="000000"/>
      </a:dk1>
      <a:lt1>
        <a:sysClr val="window" lastClr="FFFFFF"/>
      </a:lt1>
      <a:dk2>
        <a:srgbClr val="BFBFBF"/>
      </a:dk2>
      <a:lt2>
        <a:srgbClr val="FFF0BE"/>
      </a:lt2>
      <a:accent1>
        <a:srgbClr val="F42941"/>
      </a:accent1>
      <a:accent2>
        <a:srgbClr val="FBA9B3"/>
      </a:accent2>
      <a:accent3>
        <a:srgbClr val="FDCF41"/>
      </a:accent3>
      <a:accent4>
        <a:srgbClr val="595959"/>
      </a:accent4>
      <a:accent5>
        <a:srgbClr val="7F7F7F"/>
      </a:accent5>
      <a:accent6>
        <a:srgbClr val="A6A6A6"/>
      </a:accent6>
      <a:hlink>
        <a:srgbClr val="F42941"/>
      </a:hlink>
      <a:folHlink>
        <a:srgbClr val="FBA9B3"/>
      </a:folHlink>
    </a:clrScheme>
    <a:fontScheme name="Corbel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76200">
          <a:solidFill>
            <a:schemeClr val="accent1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ordisk Ministerad 16-9 skabelon UK.potx" id="{807943BC-83A0-48BF-A001-5EDF5F5DFAF7}" vid="{B893AAA3-6A1D-4AAC-9768-CF8FCC258013}"/>
    </a:ext>
  </a:extLst>
</a:theme>
</file>

<file path=ppt/theme/theme3.xml><?xml version="1.0" encoding="utf-8"?>
<a:theme xmlns:a="http://schemas.openxmlformats.org/drawingml/2006/main" name="3_Statsministerinitiativet 16-9">
  <a:themeElements>
    <a:clrScheme name="NCM red">
      <a:dk1>
        <a:srgbClr val="000000"/>
      </a:dk1>
      <a:lt1>
        <a:sysClr val="window" lastClr="FFFFFF"/>
      </a:lt1>
      <a:dk2>
        <a:srgbClr val="BFBFBF"/>
      </a:dk2>
      <a:lt2>
        <a:srgbClr val="FFF0BE"/>
      </a:lt2>
      <a:accent1>
        <a:srgbClr val="F42941"/>
      </a:accent1>
      <a:accent2>
        <a:srgbClr val="FBA9B3"/>
      </a:accent2>
      <a:accent3>
        <a:srgbClr val="FDCF41"/>
      </a:accent3>
      <a:accent4>
        <a:srgbClr val="595959"/>
      </a:accent4>
      <a:accent5>
        <a:srgbClr val="7F7F7F"/>
      </a:accent5>
      <a:accent6>
        <a:srgbClr val="A6A6A6"/>
      </a:accent6>
      <a:hlink>
        <a:srgbClr val="F42941"/>
      </a:hlink>
      <a:folHlink>
        <a:srgbClr val="FBA9B3"/>
      </a:folHlink>
    </a:clrScheme>
    <a:fontScheme name="Corbel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76200">
          <a:solidFill>
            <a:schemeClr val="accent1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ordisk Ministerad 16-9 skabelon UK.potx" id="{807943BC-83A0-48BF-A001-5EDF5F5DFAF7}" vid="{B893AAA3-6A1D-4AAC-9768-CF8FCC258013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rDocumentType xmlns="f0b9b1ec-955e-4e62-a265-d8be4b123311">Documentation</arDocumentType>
    <SharedWithUsers xmlns="80e81a04-923a-4ece-92df-cc952e9578db">
      <UserInfo>
        <DisplayName>Thordur Reynisson</DisplayName>
        <AccountId>2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BBF0583C4CABB429BC9E83AE26510BF" ma:contentTypeVersion="9" ma:contentTypeDescription="Create a new document." ma:contentTypeScope="" ma:versionID="a50613bca5273f54de0510190db42693">
  <xsd:schema xmlns:xsd="http://www.w3.org/2001/XMLSchema" xmlns:xs="http://www.w3.org/2001/XMLSchema" xmlns:p="http://schemas.microsoft.com/office/2006/metadata/properties" xmlns:ns2="f0b9b1ec-955e-4e62-a265-d8be4b123311" xmlns:ns3="80e81a04-923a-4ece-92df-cc952e9578db" targetNamespace="http://schemas.microsoft.com/office/2006/metadata/properties" ma:root="true" ma:fieldsID="53383cb42d43cdc0c82c859dd4dde0c3" ns2:_="" ns3:_="">
    <xsd:import namespace="f0b9b1ec-955e-4e62-a265-d8be4b123311"/>
    <xsd:import namespace="80e81a04-923a-4ece-92df-cc952e9578db"/>
    <xsd:element name="properties">
      <xsd:complexType>
        <xsd:sequence>
          <xsd:element name="documentManagement">
            <xsd:complexType>
              <xsd:all>
                <xsd:element ref="ns2:arDocumentType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b9b1ec-955e-4e62-a265-d8be4b123311" elementFormDefault="qualified">
    <xsd:import namespace="http://schemas.microsoft.com/office/2006/documentManagement/types"/>
    <xsd:import namespace="http://schemas.microsoft.com/office/infopath/2007/PartnerControls"/>
    <xsd:element name="arDocumentType" ma:index="8" nillable="true" ma:displayName="Document Type" ma:default="Documentation" ma:format="Dropdown" ma:internalName="arDocumentType">
      <xsd:simpleType>
        <xsd:restriction base="dms:Choice">
          <xsd:enumeration value="Document template"/>
          <xsd:enumeration value="Economy"/>
          <xsd:enumeration value="How to"/>
          <xsd:enumeration value="Informaiton"/>
          <xsd:enumeration value="Meeting document"/>
          <xsd:enumeration value="Project administration"/>
          <xsd:enumeration value="Report"/>
          <xsd:enumeration value="Technical document"/>
          <xsd:enumeration value="Documentation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e81a04-923a-4ece-92df-cc952e9578d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0E59D49-2FD5-4BDA-899B-8429ADD45461}">
  <ds:schemaRefs>
    <ds:schemaRef ds:uri="http://schemas.openxmlformats.org/package/2006/metadata/core-properties"/>
    <ds:schemaRef ds:uri="f0b9b1ec-955e-4e62-a265-d8be4b123311"/>
    <ds:schemaRef ds:uri="http://purl.org/dc/dcmitype/"/>
    <ds:schemaRef ds:uri="http://schemas.microsoft.com/office/2006/metadata/properties"/>
    <ds:schemaRef ds:uri="80e81a04-923a-4ece-92df-cc952e9578db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AE2C8E97-58EA-4698-88CE-EF64CC10C3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0b9b1ec-955e-4e62-a265-d8be4b123311"/>
    <ds:schemaRef ds:uri="80e81a04-923a-4ece-92df-cc952e9578d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6B28987-BA27-487D-B061-E12EC28B068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19</TotalTime>
  <Words>365</Words>
  <Application>Microsoft Office PowerPoint</Application>
  <PresentationFormat>Personnalisé</PresentationFormat>
  <Paragraphs>144</Paragraphs>
  <Slides>18</Slides>
  <Notes>18</Notes>
  <HiddenSlides>0</HiddenSlides>
  <MMClips>0</MMClips>
  <ScaleCrop>false</ScaleCrop>
  <HeadingPairs>
    <vt:vector size="4" baseType="variant">
      <vt:variant>
        <vt:lpstr>Thème</vt:lpstr>
      </vt:variant>
      <vt:variant>
        <vt:i4>3</vt:i4>
      </vt:variant>
      <vt:variant>
        <vt:lpstr>Titres des diapositives</vt:lpstr>
      </vt:variant>
      <vt:variant>
        <vt:i4>18</vt:i4>
      </vt:variant>
    </vt:vector>
  </HeadingPairs>
  <TitlesOfParts>
    <vt:vector size="21" baseType="lpstr">
      <vt:lpstr>Blank</vt:lpstr>
      <vt:lpstr>Statsministerinitiativet 16-9</vt:lpstr>
      <vt:lpstr>3_Statsministerinitiativet 16-9</vt:lpstr>
      <vt:lpstr>Nordic Innovation  We connect people, businesses and organizations for a sustainable future  </vt:lpstr>
      <vt:lpstr>The Nordic Region - home to 27 million</vt:lpstr>
      <vt:lpstr>Combined we make up a large economy</vt:lpstr>
      <vt:lpstr>Présentation PowerPoint</vt:lpstr>
      <vt:lpstr>Présentation PowerPoint</vt:lpstr>
      <vt:lpstr>Why Nordic </vt:lpstr>
      <vt:lpstr>Our mission</vt:lpstr>
      <vt:lpstr>Nordic Innovation</vt:lpstr>
      <vt:lpstr>Présentation PowerPoint</vt:lpstr>
      <vt:lpstr>How Nordic Innovation works</vt:lpstr>
      <vt:lpstr> Health,  Demography  and  Quality of Life  - We connect people, data and innovation for a better life    </vt:lpstr>
      <vt:lpstr>Présentation PowerPoint</vt:lpstr>
      <vt:lpstr>Health, Demography &amp; Quality of Life 2018-2021</vt:lpstr>
      <vt:lpstr>Activities 2019 </vt:lpstr>
      <vt:lpstr>Activities 2019</vt:lpstr>
      <vt:lpstr>Ambition</vt:lpstr>
      <vt:lpstr>Présentation PowerPoint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rdic Innovation  We connect people, businesses and organisations for a more sustainable future.</dc:title>
  <dc:creator>Rasmus Malmborg</dc:creator>
  <cp:lastModifiedBy>perchr01</cp:lastModifiedBy>
  <cp:revision>17</cp:revision>
  <dcterms:created xsi:type="dcterms:W3CDTF">2019-04-03T06:49:10Z</dcterms:created>
  <dcterms:modified xsi:type="dcterms:W3CDTF">2019-10-15T14:4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BBF0583C4CABB429BC9E83AE26510BF</vt:lpwstr>
  </property>
  <property fmtid="{D5CDD505-2E9C-101B-9397-08002B2CF9AE}" pid="3" name="AuthorIds_UIVersion_5">
    <vt:lpwstr>9</vt:lpwstr>
  </property>
</Properties>
</file>